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theme/theme3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1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2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3.xml" ContentType="application/vnd.openxmlformats-officedocument.presentationml.notesSlide+xml"/>
  <Override PartName="/ppt/tags/tag24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saveSubsetFonts="1" autoCompressPictures="0">
  <p:sldMasterIdLst>
    <p:sldMasterId id="2147483839" r:id="rId1"/>
  </p:sldMasterIdLst>
  <p:notesMasterIdLst>
    <p:notesMasterId r:id="rId20"/>
  </p:notesMasterIdLst>
  <p:handoutMasterIdLst>
    <p:handoutMasterId r:id="rId21"/>
  </p:handoutMasterIdLst>
  <p:sldIdLst>
    <p:sldId id="1353" r:id="rId2"/>
    <p:sldId id="1368" r:id="rId3"/>
    <p:sldId id="1367" r:id="rId4"/>
    <p:sldId id="1275" r:id="rId5"/>
    <p:sldId id="1327" r:id="rId6"/>
    <p:sldId id="1206" r:id="rId7"/>
    <p:sldId id="1306" r:id="rId8"/>
    <p:sldId id="1323" r:id="rId9"/>
    <p:sldId id="1360" r:id="rId10"/>
    <p:sldId id="1226" r:id="rId11"/>
    <p:sldId id="1254" r:id="rId12"/>
    <p:sldId id="1354" r:id="rId13"/>
    <p:sldId id="1362" r:id="rId14"/>
    <p:sldId id="1363" r:id="rId15"/>
    <p:sldId id="1364" r:id="rId16"/>
    <p:sldId id="1320" r:id="rId17"/>
    <p:sldId id="1369" r:id="rId18"/>
    <p:sldId id="1370" r:id="rId19"/>
  </p:sldIdLst>
  <p:sldSz cx="9144000" cy="5143500" type="screen16x9"/>
  <p:notesSz cx="7099300" cy="10234613"/>
  <p:embeddedFontLst>
    <p:embeddedFont>
      <p:font typeface="Arial Unicode MS" panose="020B0604020202020204" pitchFamily="34" charset="-128"/>
      <p:regular r:id="rId22"/>
    </p:embeddedFont>
    <p:embeddedFont>
      <p:font typeface="TeleGrotesk Headline" pitchFamily="2" charset="0"/>
      <p:regular r:id="rId23"/>
    </p:embeddedFont>
    <p:embeddedFont>
      <p:font typeface="Tele-GroteskEENor" pitchFamily="2" charset="0"/>
      <p:regular r:id="rId24"/>
    </p:embeddedFont>
    <p:embeddedFont>
      <p:font typeface="Tele-GroteskNor" pitchFamily="2" charset="0"/>
      <p:regular r:id="rId25"/>
    </p:embeddedFont>
    <p:embeddedFont>
      <p:font typeface="ＭＳ Ｐゴシック" panose="020B0600070205080204" pitchFamily="34" charset="-128"/>
      <p:regular r:id="rId26"/>
    </p:embeddedFont>
    <p:embeddedFont>
      <p:font typeface="Tele-GroteskFet" pitchFamily="2" charset="0"/>
      <p:bold r:id="rId27"/>
    </p:embeddedFont>
    <p:embeddedFont>
      <p:font typeface="Calibri" panose="020F0502020204030204" pitchFamily="34" charset="0"/>
      <p:regular r:id="rId28"/>
      <p:bold r:id="rId29"/>
      <p:italic r:id="rId30"/>
      <p:boldItalic r:id="rId31"/>
    </p:embeddedFont>
    <p:embeddedFont>
      <p:font typeface="Tele-GroteskHal" pitchFamily="2" charset="0"/>
      <p:regular r:id="rId32"/>
    </p:embeddedFont>
    <p:embeddedFont>
      <p:font typeface="TeleGrotesk Headline Ultra" pitchFamily="2" charset="0"/>
      <p:bold r:id="rId33"/>
    </p:embeddedFont>
    <p:embeddedFont>
      <p:font typeface="Tele-GroteskUlt" pitchFamily="2" charset="0"/>
      <p:bold r:id="rId34"/>
    </p:embeddedFont>
  </p:embeddedFontLst>
  <p:custDataLst>
    <p:tags r:id="rId35"/>
  </p:custDataLst>
  <p:defaultTextStyle>
    <a:defPPr>
      <a:defRPr lang="de-DE"/>
    </a:defPPr>
    <a:lvl1pPr algn="l" defTabSz="456996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1pPr>
    <a:lvl2pPr marL="456996" algn="l" defTabSz="456996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2pPr>
    <a:lvl3pPr marL="913991" algn="l" defTabSz="456996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3pPr>
    <a:lvl4pPr marL="1370985" algn="l" defTabSz="456996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4pPr>
    <a:lvl5pPr marL="1827981" algn="l" defTabSz="456996" rtl="0" fontAlgn="base">
      <a:lnSpc>
        <a:spcPts val="18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5pPr>
    <a:lvl6pPr marL="2284978" algn="l" defTabSz="913991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6pPr>
    <a:lvl7pPr marL="2741970" algn="l" defTabSz="913991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7pPr>
    <a:lvl8pPr marL="3198966" algn="l" defTabSz="913991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8pPr>
    <a:lvl9pPr marL="3655962" algn="l" defTabSz="913991" rtl="0" eaLnBrk="1" latinLnBrk="0" hangingPunct="1">
      <a:defRPr kern="1200">
        <a:solidFill>
          <a:schemeClr val="tx1"/>
        </a:solidFill>
        <a:latin typeface="Tele-GroteskFet" pitchFamily="2" charset="0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123">
          <p15:clr>
            <a:srgbClr val="A4A3A4"/>
          </p15:clr>
        </p15:guide>
        <p15:guide id="2" orient="horz" pos="1960" userDrawn="1">
          <p15:clr>
            <a:srgbClr val="A4A3A4"/>
          </p15:clr>
        </p15:guide>
        <p15:guide id="3" orient="horz" pos="1620">
          <p15:clr>
            <a:srgbClr val="A4A3A4"/>
          </p15:clr>
        </p15:guide>
        <p15:guide id="4" orient="horz" pos="3026">
          <p15:clr>
            <a:srgbClr val="A4A3A4"/>
          </p15:clr>
        </p15:guide>
        <p15:guide id="5" orient="horz">
          <p15:clr>
            <a:srgbClr val="A4A3A4"/>
          </p15:clr>
        </p15:guide>
        <p15:guide id="6" orient="horz" pos="667">
          <p15:clr>
            <a:srgbClr val="A4A3A4"/>
          </p15:clr>
        </p15:guide>
        <p15:guide id="7" orient="horz" pos="3239">
          <p15:clr>
            <a:srgbClr val="A4A3A4"/>
          </p15:clr>
        </p15:guide>
        <p15:guide id="8" pos="204">
          <p15:clr>
            <a:srgbClr val="A4A3A4"/>
          </p15:clr>
        </p15:guide>
        <p15:guide id="9" pos="5556">
          <p15:clr>
            <a:srgbClr val="A4A3A4"/>
          </p15:clr>
        </p15:guide>
        <p15:guide id="10" pos="2835">
          <p15:clr>
            <a:srgbClr val="A4A3A4"/>
          </p15:clr>
        </p15:guide>
        <p15:guide id="11" pos="1565">
          <p15:clr>
            <a:srgbClr val="A4A3A4"/>
          </p15:clr>
        </p15:guide>
        <p15:guide id="12" pos="1474">
          <p15:clr>
            <a:srgbClr val="A4A3A4"/>
          </p15:clr>
        </p15:guide>
        <p15:guide id="13" pos="4195">
          <p15:clr>
            <a:srgbClr val="A4A3A4"/>
          </p15:clr>
        </p15:guide>
        <p15:guide id="14" pos="4286">
          <p15:clr>
            <a:srgbClr val="A4A3A4"/>
          </p15:clr>
        </p15:guide>
        <p15:guide id="15" pos="2925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224">
          <p15:clr>
            <a:srgbClr val="A4A3A4"/>
          </p15:clr>
        </p15:guide>
        <p15:guide id="2" pos="309">
          <p15:clr>
            <a:srgbClr val="A4A3A4"/>
          </p15:clr>
        </p15:guide>
        <p15:guide id="3" pos="4163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0000"/>
    <a:srgbClr val="E20074"/>
    <a:srgbClr val="EC0074"/>
    <a:srgbClr val="FD0F0F"/>
    <a:srgbClr val="B48062"/>
    <a:srgbClr val="A90057"/>
    <a:srgbClr val="B4B4B4"/>
    <a:srgbClr val="FF2929"/>
    <a:srgbClr val="BABD5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309" autoAdjust="0"/>
    <p:restoredTop sz="93671" autoAdjust="0"/>
  </p:normalViewPr>
  <p:slideViewPr>
    <p:cSldViewPr snapToGrid="0" snapToObjects="1" showGuides="1">
      <p:cViewPr varScale="1">
        <p:scale>
          <a:sx n="95" d="100"/>
          <a:sy n="95" d="100"/>
        </p:scale>
        <p:origin x="-90" y="-570"/>
      </p:cViewPr>
      <p:guideLst>
        <p:guide orient="horz" pos="160"/>
        <p:guide orient="horz" pos="3026"/>
        <p:guide orient="horz" pos="861"/>
        <p:guide orient="horz" pos="3239"/>
        <p:guide orient="horz"/>
        <p:guide pos="204"/>
        <p:guide pos="5556"/>
        <p:guide pos="1571"/>
        <p:guide pos="4213"/>
        <p:guide pos="4286"/>
        <p:guide pos="2929"/>
        <p:guide pos="2827"/>
        <p:guide pos="5759"/>
        <p:guide/>
        <p:guide pos="1493"/>
      </p:guideLst>
    </p:cSldViewPr>
  </p:slideViewPr>
  <p:outlineViewPr>
    <p:cViewPr>
      <p:scale>
        <a:sx n="33" d="100"/>
        <a:sy n="33" d="100"/>
      </p:scale>
      <p:origin x="0" y="30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74" d="100"/>
          <a:sy n="74" d="100"/>
        </p:scale>
        <p:origin x="-3306" y="-102"/>
      </p:cViewPr>
      <p:guideLst>
        <p:guide orient="horz" pos="3224"/>
        <p:guide pos="309"/>
        <p:guide pos="4163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font" Target="fonts/font5.fntdata"/><Relationship Id="rId39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34" Type="http://schemas.openxmlformats.org/officeDocument/2006/relationships/font" Target="fonts/font13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font" Target="fonts/font4.fntdata"/><Relationship Id="rId33" Type="http://schemas.openxmlformats.org/officeDocument/2006/relationships/font" Target="fonts/font12.fntdata"/><Relationship Id="rId38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29" Type="http://schemas.openxmlformats.org/officeDocument/2006/relationships/font" Target="fonts/font8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3.fntdata"/><Relationship Id="rId32" Type="http://schemas.openxmlformats.org/officeDocument/2006/relationships/font" Target="fonts/font11.fntdata"/><Relationship Id="rId37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2.fntdata"/><Relationship Id="rId28" Type="http://schemas.openxmlformats.org/officeDocument/2006/relationships/font" Target="fonts/font7.fntdata"/><Relationship Id="rId36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font" Target="fonts/font10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1.fntdata"/><Relationship Id="rId27" Type="http://schemas.openxmlformats.org/officeDocument/2006/relationships/font" Target="fonts/font6.fntdata"/><Relationship Id="rId30" Type="http://schemas.openxmlformats.org/officeDocument/2006/relationships/font" Target="fonts/font9.fntdata"/><Relationship Id="rId35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tags" Target="../tags/tag12.xml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068888" y="9647238"/>
            <a:ext cx="1150937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r>
              <a:rPr lang="de-DE" smtClean="0"/>
              <a:t>June 8, 2015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r>
              <a:rPr lang="en-US" dirty="0" smtClean="0"/>
              <a:t>-internal-                                     Jörn Kellermann | IM Call CSS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 bwMode="gray">
          <a:xfrm>
            <a:off x="6362700" y="9647238"/>
            <a:ext cx="490538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smtClean="0">
                <a:latin typeface="+mn-lt"/>
              </a:defRPr>
            </a:lvl1pPr>
          </a:lstStyle>
          <a:p>
            <a:pPr>
              <a:defRPr/>
            </a:pPr>
            <a:fld id="{7B42A9D2-7084-448E-A231-6A2CD9EF7439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34" name="Freeform 5"/>
          <p:cNvSpPr>
            <a:spLocks noChangeAspect="1" noEditPoints="1"/>
          </p:cNvSpPr>
          <p:nvPr userDrawn="1"/>
        </p:nvSpPr>
        <p:spPr bwMode="black">
          <a:xfrm>
            <a:off x="490538" y="169863"/>
            <a:ext cx="547687" cy="266700"/>
          </a:xfrm>
          <a:custGeom>
            <a:avLst/>
            <a:gdLst/>
            <a:ahLst/>
            <a:cxnLst>
              <a:cxn ang="0">
                <a:pos x="1" y="604"/>
              </a:cxn>
              <a:cxn ang="0">
                <a:pos x="274" y="604"/>
              </a:cxn>
              <a:cxn ang="0">
                <a:pos x="274" y="871"/>
              </a:cxn>
              <a:cxn ang="0">
                <a:pos x="1" y="871"/>
              </a:cxn>
              <a:cxn ang="0">
                <a:pos x="1" y="604"/>
              </a:cxn>
              <a:cxn ang="0">
                <a:pos x="650" y="1032"/>
              </a:cxn>
              <a:cxn ang="0">
                <a:pos x="688" y="1197"/>
              </a:cxn>
              <a:cxn ang="0">
                <a:pos x="797" y="1237"/>
              </a:cxn>
              <a:cxn ang="0">
                <a:pos x="875" y="1238"/>
              </a:cxn>
              <a:cxn ang="0">
                <a:pos x="875" y="1313"/>
              </a:cxn>
              <a:cxn ang="0">
                <a:pos x="219" y="1313"/>
              </a:cxn>
              <a:cxn ang="0">
                <a:pos x="219" y="1238"/>
              </a:cxn>
              <a:cxn ang="0">
                <a:pos x="335" y="1231"/>
              </a:cxn>
              <a:cxn ang="0">
                <a:pos x="431" y="1144"/>
              </a:cxn>
              <a:cxn ang="0">
                <a:pos x="442" y="1032"/>
              </a:cxn>
              <a:cxn ang="0">
                <a:pos x="442" y="63"/>
              </a:cxn>
              <a:cxn ang="0">
                <a:pos x="180" y="171"/>
              </a:cxn>
              <a:cxn ang="0">
                <a:pos x="71" y="475"/>
              </a:cxn>
              <a:cxn ang="0">
                <a:pos x="0" y="463"/>
              </a:cxn>
              <a:cxn ang="0">
                <a:pos x="13" y="0"/>
              </a:cxn>
              <a:cxn ang="0">
                <a:pos x="1081" y="0"/>
              </a:cxn>
              <a:cxn ang="0">
                <a:pos x="1094" y="463"/>
              </a:cxn>
              <a:cxn ang="0">
                <a:pos x="1023" y="475"/>
              </a:cxn>
              <a:cxn ang="0">
                <a:pos x="913" y="171"/>
              </a:cxn>
              <a:cxn ang="0">
                <a:pos x="650" y="63"/>
              </a:cxn>
              <a:cxn ang="0">
                <a:pos x="650" y="1032"/>
              </a:cxn>
              <a:cxn ang="0">
                <a:pos x="824" y="604"/>
              </a:cxn>
              <a:cxn ang="0">
                <a:pos x="1096" y="604"/>
              </a:cxn>
              <a:cxn ang="0">
                <a:pos x="1096" y="871"/>
              </a:cxn>
              <a:cxn ang="0">
                <a:pos x="824" y="871"/>
              </a:cxn>
              <a:cxn ang="0">
                <a:pos x="824" y="604"/>
              </a:cxn>
              <a:cxn ang="0">
                <a:pos x="1641" y="604"/>
              </a:cxn>
              <a:cxn ang="0">
                <a:pos x="1914" y="604"/>
              </a:cxn>
              <a:cxn ang="0">
                <a:pos x="1914" y="871"/>
              </a:cxn>
              <a:cxn ang="0">
                <a:pos x="1641" y="871"/>
              </a:cxn>
              <a:cxn ang="0">
                <a:pos x="1641" y="604"/>
              </a:cxn>
              <a:cxn ang="0">
                <a:pos x="2459" y="604"/>
              </a:cxn>
              <a:cxn ang="0">
                <a:pos x="2731" y="604"/>
              </a:cxn>
              <a:cxn ang="0">
                <a:pos x="2731" y="871"/>
              </a:cxn>
              <a:cxn ang="0">
                <a:pos x="2459" y="871"/>
              </a:cxn>
              <a:cxn ang="0">
                <a:pos x="2459" y="604"/>
              </a:cxn>
            </a:cxnLst>
            <a:rect l="0" t="0" r="r" b="b"/>
            <a:pathLst>
              <a:path w="2731" h="1313">
                <a:moveTo>
                  <a:pt x="1" y="604"/>
                </a:moveTo>
                <a:lnTo>
                  <a:pt x="274" y="604"/>
                </a:lnTo>
                <a:lnTo>
                  <a:pt x="274" y="871"/>
                </a:lnTo>
                <a:lnTo>
                  <a:pt x="1" y="871"/>
                </a:lnTo>
                <a:lnTo>
                  <a:pt x="1" y="604"/>
                </a:lnTo>
                <a:close/>
                <a:moveTo>
                  <a:pt x="650" y="1032"/>
                </a:moveTo>
                <a:cubicBezTo>
                  <a:pt x="650" y="1117"/>
                  <a:pt x="663" y="1171"/>
                  <a:pt x="688" y="1197"/>
                </a:cubicBezTo>
                <a:cubicBezTo>
                  <a:pt x="710" y="1218"/>
                  <a:pt x="746" y="1232"/>
                  <a:pt x="797" y="1237"/>
                </a:cubicBezTo>
                <a:cubicBezTo>
                  <a:pt x="813" y="1238"/>
                  <a:pt x="838" y="1238"/>
                  <a:pt x="875" y="1238"/>
                </a:cubicBezTo>
                <a:lnTo>
                  <a:pt x="875" y="1313"/>
                </a:lnTo>
                <a:lnTo>
                  <a:pt x="219" y="1313"/>
                </a:lnTo>
                <a:lnTo>
                  <a:pt x="219" y="1238"/>
                </a:lnTo>
                <a:cubicBezTo>
                  <a:pt x="271" y="1238"/>
                  <a:pt x="310" y="1236"/>
                  <a:pt x="335" y="1231"/>
                </a:cubicBezTo>
                <a:cubicBezTo>
                  <a:pt x="386" y="1221"/>
                  <a:pt x="418" y="1192"/>
                  <a:pt x="431" y="1144"/>
                </a:cubicBezTo>
                <a:cubicBezTo>
                  <a:pt x="438" y="1119"/>
                  <a:pt x="442" y="1082"/>
                  <a:pt x="442" y="1032"/>
                </a:cubicBezTo>
                <a:lnTo>
                  <a:pt x="442" y="63"/>
                </a:lnTo>
                <a:cubicBezTo>
                  <a:pt x="330" y="66"/>
                  <a:pt x="243" y="102"/>
                  <a:pt x="180" y="171"/>
                </a:cubicBezTo>
                <a:cubicBezTo>
                  <a:pt x="121" y="238"/>
                  <a:pt x="84" y="339"/>
                  <a:pt x="71" y="475"/>
                </a:cubicBezTo>
                <a:lnTo>
                  <a:pt x="0" y="463"/>
                </a:lnTo>
                <a:lnTo>
                  <a:pt x="13" y="0"/>
                </a:lnTo>
                <a:lnTo>
                  <a:pt x="1081" y="0"/>
                </a:lnTo>
                <a:lnTo>
                  <a:pt x="1094" y="463"/>
                </a:lnTo>
                <a:lnTo>
                  <a:pt x="1023" y="475"/>
                </a:lnTo>
                <a:cubicBezTo>
                  <a:pt x="1010" y="339"/>
                  <a:pt x="973" y="238"/>
                  <a:pt x="913" y="171"/>
                </a:cubicBezTo>
                <a:cubicBezTo>
                  <a:pt x="850" y="102"/>
                  <a:pt x="762" y="66"/>
                  <a:pt x="650" y="63"/>
                </a:cubicBezTo>
                <a:lnTo>
                  <a:pt x="650" y="1032"/>
                </a:lnTo>
                <a:close/>
                <a:moveTo>
                  <a:pt x="824" y="604"/>
                </a:moveTo>
                <a:lnTo>
                  <a:pt x="1096" y="604"/>
                </a:lnTo>
                <a:lnTo>
                  <a:pt x="1096" y="871"/>
                </a:lnTo>
                <a:lnTo>
                  <a:pt x="824" y="871"/>
                </a:lnTo>
                <a:lnTo>
                  <a:pt x="824" y="604"/>
                </a:lnTo>
                <a:close/>
                <a:moveTo>
                  <a:pt x="1641" y="604"/>
                </a:moveTo>
                <a:lnTo>
                  <a:pt x="1914" y="604"/>
                </a:lnTo>
                <a:lnTo>
                  <a:pt x="1914" y="871"/>
                </a:lnTo>
                <a:lnTo>
                  <a:pt x="1641" y="871"/>
                </a:lnTo>
                <a:lnTo>
                  <a:pt x="1641" y="604"/>
                </a:lnTo>
                <a:close/>
                <a:moveTo>
                  <a:pt x="2459" y="604"/>
                </a:moveTo>
                <a:lnTo>
                  <a:pt x="2731" y="604"/>
                </a:lnTo>
                <a:lnTo>
                  <a:pt x="2731" y="871"/>
                </a:lnTo>
                <a:lnTo>
                  <a:pt x="2459" y="871"/>
                </a:lnTo>
                <a:lnTo>
                  <a:pt x="2459" y="604"/>
                </a:lnTo>
                <a:close/>
              </a:path>
            </a:pathLst>
          </a:custGeom>
          <a:solidFill>
            <a:srgbClr val="E20074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de-DE" dirty="0">
              <a:latin typeface="+mn-lt"/>
            </a:endParaRPr>
          </a:p>
        </p:txBody>
      </p:sp>
      <p:pic>
        <p:nvPicPr>
          <p:cNvPr id="8" name="Picture 9" descr="T_Logo_3c_Slogan_p_INT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5206"/>
          <a:stretch>
            <a:fillRect/>
          </a:stretch>
        </p:blipFill>
        <p:spPr bwMode="black">
          <a:xfrm>
            <a:off x="5656263" y="169863"/>
            <a:ext cx="952500" cy="25876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357905857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tags" Target="../tags/tag11.xml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-541338" y="1012825"/>
            <a:ext cx="8151813" cy="4586288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vert="horz" lIns="99048" tIns="49524" rIns="99048" bIns="49524" rtlCol="0" anchor="ctr"/>
          <a:lstStyle/>
          <a:p>
            <a:pPr lvl="0"/>
            <a:endParaRPr lang="de-DE" noProof="0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482600" y="5765800"/>
            <a:ext cx="6127750" cy="3743325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8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5070475" y="9647238"/>
            <a:ext cx="1150938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r>
              <a:rPr lang="de-DE" smtClean="0"/>
              <a:t>June 8, 2015</a:t>
            </a:r>
            <a:endParaRPr lang="de-DE" dirty="0"/>
          </a:p>
        </p:txBody>
      </p:sp>
      <p:sp>
        <p:nvSpPr>
          <p:cNvPr id="9" name="Fußzeilenplatzhalter 3"/>
          <p:cNvSpPr>
            <a:spLocks noGrp="1"/>
          </p:cNvSpPr>
          <p:nvPr>
            <p:ph type="ftr" sz="quarter" idx="4"/>
          </p:nvPr>
        </p:nvSpPr>
        <p:spPr bwMode="gray">
          <a:xfrm>
            <a:off x="492125" y="9647238"/>
            <a:ext cx="4679950" cy="28892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r>
              <a:rPr lang="en-US" dirty="0" smtClean="0"/>
              <a:t>-internal-                                     Jörn Kellermann | IM Call CSS</a:t>
            </a:r>
            <a:endParaRPr lang="de-DE" dirty="0"/>
          </a:p>
        </p:txBody>
      </p:sp>
      <p:sp>
        <p:nvSpPr>
          <p:cNvPr id="10" name="Foliennummernplatzhalter 4"/>
          <p:cNvSpPr>
            <a:spLocks noGrp="1"/>
          </p:cNvSpPr>
          <p:nvPr>
            <p:ph type="sldNum" sz="quarter" idx="5"/>
          </p:nvPr>
        </p:nvSpPr>
        <p:spPr bwMode="gray">
          <a:xfrm>
            <a:off x="6364288" y="9647238"/>
            <a:ext cx="490537" cy="2889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 smtClean="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35FB5E73-64F8-4318-A630-D2C50FB79A4B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  <p:sp>
        <p:nvSpPr>
          <p:cNvPr id="40" name="Freeform 5"/>
          <p:cNvSpPr>
            <a:spLocks noChangeAspect="1" noEditPoints="1"/>
          </p:cNvSpPr>
          <p:nvPr userDrawn="1"/>
        </p:nvSpPr>
        <p:spPr bwMode="black">
          <a:xfrm>
            <a:off x="490538" y="169863"/>
            <a:ext cx="547687" cy="266700"/>
          </a:xfrm>
          <a:custGeom>
            <a:avLst/>
            <a:gdLst/>
            <a:ahLst/>
            <a:cxnLst>
              <a:cxn ang="0">
                <a:pos x="1" y="604"/>
              </a:cxn>
              <a:cxn ang="0">
                <a:pos x="274" y="604"/>
              </a:cxn>
              <a:cxn ang="0">
                <a:pos x="274" y="871"/>
              </a:cxn>
              <a:cxn ang="0">
                <a:pos x="1" y="871"/>
              </a:cxn>
              <a:cxn ang="0">
                <a:pos x="1" y="604"/>
              </a:cxn>
              <a:cxn ang="0">
                <a:pos x="650" y="1032"/>
              </a:cxn>
              <a:cxn ang="0">
                <a:pos x="688" y="1197"/>
              </a:cxn>
              <a:cxn ang="0">
                <a:pos x="797" y="1237"/>
              </a:cxn>
              <a:cxn ang="0">
                <a:pos x="875" y="1238"/>
              </a:cxn>
              <a:cxn ang="0">
                <a:pos x="875" y="1313"/>
              </a:cxn>
              <a:cxn ang="0">
                <a:pos x="219" y="1313"/>
              </a:cxn>
              <a:cxn ang="0">
                <a:pos x="219" y="1238"/>
              </a:cxn>
              <a:cxn ang="0">
                <a:pos x="335" y="1231"/>
              </a:cxn>
              <a:cxn ang="0">
                <a:pos x="431" y="1144"/>
              </a:cxn>
              <a:cxn ang="0">
                <a:pos x="442" y="1032"/>
              </a:cxn>
              <a:cxn ang="0">
                <a:pos x="442" y="63"/>
              </a:cxn>
              <a:cxn ang="0">
                <a:pos x="180" y="171"/>
              </a:cxn>
              <a:cxn ang="0">
                <a:pos x="71" y="475"/>
              </a:cxn>
              <a:cxn ang="0">
                <a:pos x="0" y="463"/>
              </a:cxn>
              <a:cxn ang="0">
                <a:pos x="13" y="0"/>
              </a:cxn>
              <a:cxn ang="0">
                <a:pos x="1081" y="0"/>
              </a:cxn>
              <a:cxn ang="0">
                <a:pos x="1094" y="463"/>
              </a:cxn>
              <a:cxn ang="0">
                <a:pos x="1023" y="475"/>
              </a:cxn>
              <a:cxn ang="0">
                <a:pos x="913" y="171"/>
              </a:cxn>
              <a:cxn ang="0">
                <a:pos x="650" y="63"/>
              </a:cxn>
              <a:cxn ang="0">
                <a:pos x="650" y="1032"/>
              </a:cxn>
              <a:cxn ang="0">
                <a:pos x="824" y="604"/>
              </a:cxn>
              <a:cxn ang="0">
                <a:pos x="1096" y="604"/>
              </a:cxn>
              <a:cxn ang="0">
                <a:pos x="1096" y="871"/>
              </a:cxn>
              <a:cxn ang="0">
                <a:pos x="824" y="871"/>
              </a:cxn>
              <a:cxn ang="0">
                <a:pos x="824" y="604"/>
              </a:cxn>
              <a:cxn ang="0">
                <a:pos x="1641" y="604"/>
              </a:cxn>
              <a:cxn ang="0">
                <a:pos x="1914" y="604"/>
              </a:cxn>
              <a:cxn ang="0">
                <a:pos x="1914" y="871"/>
              </a:cxn>
              <a:cxn ang="0">
                <a:pos x="1641" y="871"/>
              </a:cxn>
              <a:cxn ang="0">
                <a:pos x="1641" y="604"/>
              </a:cxn>
              <a:cxn ang="0">
                <a:pos x="2459" y="604"/>
              </a:cxn>
              <a:cxn ang="0">
                <a:pos x="2731" y="604"/>
              </a:cxn>
              <a:cxn ang="0">
                <a:pos x="2731" y="871"/>
              </a:cxn>
              <a:cxn ang="0">
                <a:pos x="2459" y="871"/>
              </a:cxn>
              <a:cxn ang="0">
                <a:pos x="2459" y="604"/>
              </a:cxn>
            </a:cxnLst>
            <a:rect l="0" t="0" r="r" b="b"/>
            <a:pathLst>
              <a:path w="2731" h="1313">
                <a:moveTo>
                  <a:pt x="1" y="604"/>
                </a:moveTo>
                <a:lnTo>
                  <a:pt x="274" y="604"/>
                </a:lnTo>
                <a:lnTo>
                  <a:pt x="274" y="871"/>
                </a:lnTo>
                <a:lnTo>
                  <a:pt x="1" y="871"/>
                </a:lnTo>
                <a:lnTo>
                  <a:pt x="1" y="604"/>
                </a:lnTo>
                <a:close/>
                <a:moveTo>
                  <a:pt x="650" y="1032"/>
                </a:moveTo>
                <a:cubicBezTo>
                  <a:pt x="650" y="1117"/>
                  <a:pt x="663" y="1171"/>
                  <a:pt x="688" y="1197"/>
                </a:cubicBezTo>
                <a:cubicBezTo>
                  <a:pt x="710" y="1218"/>
                  <a:pt x="746" y="1232"/>
                  <a:pt x="797" y="1237"/>
                </a:cubicBezTo>
                <a:cubicBezTo>
                  <a:pt x="813" y="1238"/>
                  <a:pt x="838" y="1238"/>
                  <a:pt x="875" y="1238"/>
                </a:cubicBezTo>
                <a:lnTo>
                  <a:pt x="875" y="1313"/>
                </a:lnTo>
                <a:lnTo>
                  <a:pt x="219" y="1313"/>
                </a:lnTo>
                <a:lnTo>
                  <a:pt x="219" y="1238"/>
                </a:lnTo>
                <a:cubicBezTo>
                  <a:pt x="271" y="1238"/>
                  <a:pt x="310" y="1236"/>
                  <a:pt x="335" y="1231"/>
                </a:cubicBezTo>
                <a:cubicBezTo>
                  <a:pt x="386" y="1221"/>
                  <a:pt x="418" y="1192"/>
                  <a:pt x="431" y="1144"/>
                </a:cubicBezTo>
                <a:cubicBezTo>
                  <a:pt x="438" y="1119"/>
                  <a:pt x="442" y="1082"/>
                  <a:pt x="442" y="1032"/>
                </a:cubicBezTo>
                <a:lnTo>
                  <a:pt x="442" y="63"/>
                </a:lnTo>
                <a:cubicBezTo>
                  <a:pt x="330" y="66"/>
                  <a:pt x="243" y="102"/>
                  <a:pt x="180" y="171"/>
                </a:cubicBezTo>
                <a:cubicBezTo>
                  <a:pt x="121" y="238"/>
                  <a:pt x="84" y="339"/>
                  <a:pt x="71" y="475"/>
                </a:cubicBezTo>
                <a:lnTo>
                  <a:pt x="0" y="463"/>
                </a:lnTo>
                <a:lnTo>
                  <a:pt x="13" y="0"/>
                </a:lnTo>
                <a:lnTo>
                  <a:pt x="1081" y="0"/>
                </a:lnTo>
                <a:lnTo>
                  <a:pt x="1094" y="463"/>
                </a:lnTo>
                <a:lnTo>
                  <a:pt x="1023" y="475"/>
                </a:lnTo>
                <a:cubicBezTo>
                  <a:pt x="1010" y="339"/>
                  <a:pt x="973" y="238"/>
                  <a:pt x="913" y="171"/>
                </a:cubicBezTo>
                <a:cubicBezTo>
                  <a:pt x="850" y="102"/>
                  <a:pt x="762" y="66"/>
                  <a:pt x="650" y="63"/>
                </a:cubicBezTo>
                <a:lnTo>
                  <a:pt x="650" y="1032"/>
                </a:lnTo>
                <a:close/>
                <a:moveTo>
                  <a:pt x="824" y="604"/>
                </a:moveTo>
                <a:lnTo>
                  <a:pt x="1096" y="604"/>
                </a:lnTo>
                <a:lnTo>
                  <a:pt x="1096" y="871"/>
                </a:lnTo>
                <a:lnTo>
                  <a:pt x="824" y="871"/>
                </a:lnTo>
                <a:lnTo>
                  <a:pt x="824" y="604"/>
                </a:lnTo>
                <a:close/>
                <a:moveTo>
                  <a:pt x="1641" y="604"/>
                </a:moveTo>
                <a:lnTo>
                  <a:pt x="1914" y="604"/>
                </a:lnTo>
                <a:lnTo>
                  <a:pt x="1914" y="871"/>
                </a:lnTo>
                <a:lnTo>
                  <a:pt x="1641" y="871"/>
                </a:lnTo>
                <a:lnTo>
                  <a:pt x="1641" y="604"/>
                </a:lnTo>
                <a:close/>
                <a:moveTo>
                  <a:pt x="2459" y="604"/>
                </a:moveTo>
                <a:lnTo>
                  <a:pt x="2731" y="604"/>
                </a:lnTo>
                <a:lnTo>
                  <a:pt x="2731" y="871"/>
                </a:lnTo>
                <a:lnTo>
                  <a:pt x="2459" y="871"/>
                </a:lnTo>
                <a:lnTo>
                  <a:pt x="2459" y="604"/>
                </a:lnTo>
                <a:close/>
              </a:path>
            </a:pathLst>
          </a:custGeom>
          <a:solidFill>
            <a:srgbClr val="E20074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de-DE" dirty="0">
              <a:latin typeface="+mn-lt"/>
            </a:endParaRPr>
          </a:p>
        </p:txBody>
      </p:sp>
      <p:pic>
        <p:nvPicPr>
          <p:cNvPr id="11" name="Picture 9" descr="T_Logo_3c_Slogan_p_INT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3"/>
          <a:srcRect l="45206"/>
          <a:stretch>
            <a:fillRect/>
          </a:stretch>
        </p:blipFill>
        <p:spPr bwMode="black">
          <a:xfrm>
            <a:off x="5656263" y="169863"/>
            <a:ext cx="952500" cy="25876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735678774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141225" indent="-141225" algn="l" defTabSz="456996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1pPr>
    <a:lvl2pPr marL="269755" indent="-126944" algn="l" defTabSz="456996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437954" indent="-166612" algn="l" defTabSz="456996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617263" indent="-177720" algn="l" defTabSz="456996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785462" indent="-166612" algn="l" defTabSz="456996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4978" algn="l" defTabSz="45699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1970" algn="l" defTabSz="45699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8966" algn="l" defTabSz="45699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5962" algn="l" defTabSz="45699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2"/>
          <p:cNvSpPr>
            <a:spLocks noGrp="1" noRot="1" noChangeAspect="1" noTextEdit="1"/>
          </p:cNvSpPr>
          <p:nvPr>
            <p:ph type="sldImg"/>
          </p:nvPr>
        </p:nvSpPr>
        <p:spPr>
          <a:xfrm>
            <a:off x="-541338" y="1012825"/>
            <a:ext cx="8151813" cy="4586288"/>
          </a:xfrm>
          <a:noFill/>
          <a:ln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3795" name="Rectangle 3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hu-HU" dirty="0" smtClean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15401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542925" y="1012825"/>
            <a:ext cx="8153400" cy="45862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46431" indent="-146431" defTabSz="473842">
              <a:spcBef>
                <a:spcPts val="311"/>
              </a:spcBef>
              <a:spcAft>
                <a:spcPts val="311"/>
              </a:spcAft>
              <a:defRPr/>
            </a:pPr>
            <a:r>
              <a:rPr lang="de-DE" dirty="0" smtClean="0"/>
              <a:t>Zitat PAC 2015: </a:t>
            </a:r>
            <a:r>
              <a:rPr lang="de-DE" dirty="0" err="1" smtClean="0"/>
              <a:t>With</a:t>
            </a:r>
            <a:r>
              <a:rPr lang="de-DE" dirty="0" smtClean="0"/>
              <a:t> more </a:t>
            </a:r>
            <a:r>
              <a:rPr lang="de-DE" dirty="0" err="1" smtClean="0"/>
              <a:t>than</a:t>
            </a:r>
            <a:r>
              <a:rPr lang="de-DE" dirty="0" smtClean="0"/>
              <a:t> 40 </a:t>
            </a:r>
            <a:r>
              <a:rPr lang="de-DE" dirty="0" err="1" smtClean="0"/>
              <a:t>million</a:t>
            </a:r>
            <a:r>
              <a:rPr lang="de-DE" dirty="0" smtClean="0"/>
              <a:t> SAPS (SAP </a:t>
            </a:r>
            <a:r>
              <a:rPr lang="de-DE" dirty="0" err="1" smtClean="0"/>
              <a:t>Application</a:t>
            </a:r>
            <a:r>
              <a:rPr lang="de-DE" dirty="0" smtClean="0"/>
              <a:t> Performance Standard) </a:t>
            </a:r>
            <a:r>
              <a:rPr lang="de-DE" dirty="0" err="1" smtClean="0"/>
              <a:t>and</a:t>
            </a:r>
            <a:r>
              <a:rPr lang="de-DE" dirty="0" smtClean="0"/>
              <a:t> more </a:t>
            </a:r>
            <a:r>
              <a:rPr lang="de-DE" dirty="0" err="1" smtClean="0"/>
              <a:t>than</a:t>
            </a:r>
            <a:r>
              <a:rPr lang="de-DE" dirty="0" smtClean="0"/>
              <a:t> 2.6 </a:t>
            </a:r>
            <a:r>
              <a:rPr lang="de-DE" dirty="0" err="1" smtClean="0"/>
              <a:t>million</a:t>
            </a:r>
            <a:r>
              <a:rPr lang="de-DE" dirty="0" smtClean="0"/>
              <a:t> </a:t>
            </a:r>
            <a:r>
              <a:rPr lang="de-DE" dirty="0" err="1" smtClean="0"/>
              <a:t>productive</a:t>
            </a:r>
            <a:r>
              <a:rPr lang="de-DE" dirty="0" smtClean="0"/>
              <a:t> SAP </a:t>
            </a:r>
            <a:r>
              <a:rPr lang="de-DE" dirty="0" err="1" smtClean="0"/>
              <a:t>users</a:t>
            </a:r>
            <a:r>
              <a:rPr lang="de-DE" dirty="0" smtClean="0"/>
              <a:t> T-Systems </a:t>
            </a:r>
            <a:r>
              <a:rPr lang="de-DE" dirty="0" err="1" smtClean="0"/>
              <a:t>provides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basic</a:t>
            </a:r>
            <a:r>
              <a:rPr lang="de-DE" dirty="0" smtClean="0"/>
              <a:t> </a:t>
            </a:r>
            <a:r>
              <a:rPr lang="de-DE" dirty="0" err="1" smtClean="0"/>
              <a:t>operation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biggest</a:t>
            </a:r>
            <a:r>
              <a:rPr lang="de-DE" dirty="0" smtClean="0"/>
              <a:t> </a:t>
            </a:r>
            <a:r>
              <a:rPr lang="de-DE" dirty="0" err="1" smtClean="0"/>
              <a:t>cloud-hosting</a:t>
            </a:r>
            <a:r>
              <a:rPr lang="de-DE" dirty="0" smtClean="0"/>
              <a:t> </a:t>
            </a:r>
            <a:r>
              <a:rPr lang="de-DE" dirty="0" err="1" smtClean="0"/>
              <a:t>platform</a:t>
            </a:r>
            <a:r>
              <a:rPr lang="de-DE" dirty="0" smtClean="0"/>
              <a:t> for SAP </a:t>
            </a:r>
            <a:r>
              <a:rPr lang="de-DE" dirty="0" err="1" smtClean="0"/>
              <a:t>landscapes</a:t>
            </a:r>
            <a:r>
              <a:rPr lang="de-DE" dirty="0" smtClean="0"/>
              <a:t> worldwide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r>
              <a:rPr lang="de-DE" smtClean="0">
                <a:solidFill>
                  <a:srgbClr val="000000"/>
                </a:solidFill>
                <a:latin typeface="Calibri"/>
              </a:rPr>
              <a:t>2. Dezember 2014</a:t>
            </a:r>
            <a:endParaRPr lang="de-DE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000000"/>
                </a:solidFill>
                <a:latin typeface="Calibri"/>
              </a:rPr>
              <a:t>-intern-                                     Jörn Kellermann | </a:t>
            </a:r>
            <a:r>
              <a:rPr lang="en-US" dirty="0" err="1" smtClean="0">
                <a:solidFill>
                  <a:srgbClr val="000000"/>
                </a:solidFill>
                <a:latin typeface="Calibri"/>
              </a:rPr>
              <a:t>Plattformen</a:t>
            </a:r>
            <a:endParaRPr lang="de-DE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>
                <a:solidFill>
                  <a:srgbClr val="000000"/>
                </a:solidFill>
              </a:rPr>
              <a:pPr>
                <a:defRPr/>
              </a:pPr>
              <a:t>4</a:t>
            </a:fld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44453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quarter" idx="10"/>
          </p:nvPr>
        </p:nvSpPr>
        <p:spPr/>
        <p:txBody>
          <a:bodyPr/>
          <a:lstStyle/>
          <a:p>
            <a:r>
              <a:rPr lang="de-DE" smtClean="0"/>
              <a:t>June 8, 2015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-internal-                                     Jörn Kellermann | IM Call CSS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FB5E73-64F8-4318-A630-D2C50FB79A4B}" type="slidenum">
              <a:rPr lang="de-DE" smtClean="0"/>
              <a:pPr>
                <a:defRPr/>
              </a:pPr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5877142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541338" y="1012825"/>
            <a:ext cx="8151813" cy="45862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x-non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 rtl="0"/>
            <a:fld id="{321D33D7-8B2E-4BF7-A99C-93AA24DD1DF3}" type="slidenum">
              <a:rPr>
                <a:solidFill>
                  <a:prstClr val="black"/>
                </a:solidFill>
                <a:latin typeface="Calibri"/>
              </a:rPr>
              <a:pPr algn="l" rtl="0"/>
              <a:t>13</a:t>
            </a:fld>
            <a:endParaRPr lang="x-none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10170029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541338" y="1012825"/>
            <a:ext cx="8151813" cy="45862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x-non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 rtl="0"/>
            <a:fld id="{76E97663-D53D-4421-A2F3-0C076A0529F5}" type="slidenum">
              <a:rPr/>
              <a:pPr algn="l" rtl="0"/>
              <a:t>14</a:t>
            </a:fld>
            <a:endParaRPr lang="x-none" dirty="0"/>
          </a:p>
        </p:txBody>
      </p:sp>
    </p:spTree>
    <p:extLst>
      <p:ext uri="{BB962C8B-B14F-4D97-AF65-F5344CB8AC3E}">
        <p14:creationId xmlns:p14="http://schemas.microsoft.com/office/powerpoint/2010/main" val="10800326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4.xml"/><Relationship Id="rId7" Type="http://schemas.openxmlformats.org/officeDocument/2006/relationships/oleObject" Target="../embeddings/oleObject2.bin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6.xml"/><Relationship Id="rId10" Type="http://schemas.openxmlformats.org/officeDocument/2006/relationships/image" Target="../media/image4.emf"/><Relationship Id="rId4" Type="http://schemas.openxmlformats.org/officeDocument/2006/relationships/tags" Target="../tags/tag5.xml"/><Relationship Id="rId9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Zwei Inhalt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250031"/>
            <a:ext cx="8496300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331789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04800" y="250031"/>
            <a:ext cx="8496300" cy="41549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1051596"/>
              </p:ext>
            </p:extLst>
          </p:nvPr>
        </p:nvGraphicFramePr>
        <p:xfrm>
          <a:off x="1258" y="1265"/>
          <a:ext cx="1259" cy="12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2226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58" y="1265"/>
                        <a:ext cx="1259" cy="126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5078" name="Picture 22" hidden="1"/>
          <p:cNvPicPr>
            <a:picLocks noChangeAspect="1" noChangeArrowheads="1"/>
          </p:cNvPicPr>
          <p:nvPr userDrawn="1"/>
        </p:nvPicPr>
        <p:blipFill>
          <a:blip r:embed="rId9"/>
          <a:srcRect/>
          <a:stretch>
            <a:fillRect/>
          </a:stretch>
        </p:blipFill>
        <p:spPr bwMode="black">
          <a:xfrm>
            <a:off x="1262" y="1265"/>
            <a:ext cx="2520" cy="12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5" name="Titel 3"/>
          <p:cNvSpPr>
            <a:spLocks/>
          </p:cNvSpPr>
          <p:nvPr>
            <p:custDataLst>
              <p:tags r:id="rId3"/>
            </p:custDataLst>
          </p:nvPr>
        </p:nvSpPr>
        <p:spPr bwMode="gray">
          <a:xfrm>
            <a:off x="257142" y="3184133"/>
            <a:ext cx="8628855" cy="1702320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14170" tIns="57084" rIns="114170" bIns="57084"/>
          <a:lstStyle/>
          <a:p>
            <a:pPr defTabSz="456885" fontAlgn="base">
              <a:lnSpc>
                <a:spcPts val="3174"/>
              </a:lnSpc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srgbClr val="E20074"/>
              </a:solidFill>
              <a:latin typeface="TeleGrotesk Headline Ultra" pitchFamily="2" charset="0"/>
              <a:cs typeface="Arial Unicode MS" pitchFamily="34" charset="-128"/>
            </a:endParaRPr>
          </a:p>
        </p:txBody>
      </p:sp>
      <p:sp>
        <p:nvSpPr>
          <p:cNvPr id="16" name="Titel 3"/>
          <p:cNvSpPr>
            <a:spLocks/>
          </p:cNvSpPr>
          <p:nvPr>
            <p:custDataLst>
              <p:tags r:id="rId4"/>
            </p:custDataLst>
          </p:nvPr>
        </p:nvSpPr>
        <p:spPr bwMode="gray">
          <a:xfrm>
            <a:off x="257130" y="2341164"/>
            <a:ext cx="8294316" cy="2545289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14170" tIns="57084" rIns="114170" bIns="57084"/>
          <a:lstStyle/>
          <a:p>
            <a:pPr defTabSz="456885" fontAlgn="base">
              <a:lnSpc>
                <a:spcPts val="3174"/>
              </a:lnSpc>
              <a:spcBef>
                <a:spcPct val="0"/>
              </a:spcBef>
              <a:spcAft>
                <a:spcPct val="0"/>
              </a:spcAft>
            </a:pPr>
            <a:endParaRPr lang="en-US" sz="3200" dirty="0">
              <a:solidFill>
                <a:srgbClr val="E20074"/>
              </a:solidFill>
              <a:latin typeface="TeleGrotesk Headline Ultra" pitchFamily="2" charset="0"/>
              <a:cs typeface="Arial Unicode MS" pitchFamily="34" charset="-128"/>
            </a:endParaRPr>
          </a:p>
        </p:txBody>
      </p:sp>
      <p:sp>
        <p:nvSpPr>
          <p:cNvPr id="17" name="Rectangle 4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261956" y="2541510"/>
            <a:ext cx="7837541" cy="2344942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lIns="114170" tIns="57084" rIns="114170" bIns="57084" anchor="ctr"/>
          <a:lstStyle/>
          <a:p>
            <a:pPr defTabSz="362489" fontAlgn="base">
              <a:lnSpc>
                <a:spcPts val="1428"/>
              </a:lnSpc>
              <a:spcBef>
                <a:spcPct val="50000"/>
              </a:spcBef>
              <a:spcAft>
                <a:spcPct val="0"/>
              </a:spcAft>
              <a:buClr>
                <a:srgbClr val="E20074"/>
              </a:buClr>
              <a:buSzPct val="75000"/>
              <a:buFont typeface="Wingdings" pitchFamily="2" charset="2"/>
              <a:buChar char="§"/>
            </a:pPr>
            <a:endParaRPr lang="en-US" sz="1400" dirty="0">
              <a:solidFill>
                <a:srgbClr val="000000"/>
              </a:solidFill>
              <a:latin typeface="Tele-GroteskFet" pitchFamily="2" charset="0"/>
              <a:ea typeface="Arial Unicode MS" panose="020B0604020202020204" pitchFamily="34" charset="-128"/>
              <a:cs typeface="Arial Unicode MS" pitchFamily="34" charset="-128"/>
            </a:endParaRPr>
          </a:p>
        </p:txBody>
      </p:sp>
      <p:sp>
        <p:nvSpPr>
          <p:cNvPr id="18" name="Titelplatzhalter 1"/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257010" y="2540249"/>
            <a:ext cx="7846147" cy="879448"/>
          </a:xfrm>
          <a:prstGeom prst="rect">
            <a:avLst/>
          </a:prstGeom>
          <a:noFill/>
        </p:spPr>
        <p:txBody>
          <a:bodyPr wrap="square" lIns="114163">
            <a:spAutoFit/>
          </a:bodyPr>
          <a:lstStyle>
            <a:lvl1pPr>
              <a:defRPr sz="32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(Ultra)</a:t>
            </a:r>
            <a:br>
              <a:rPr lang="en-US" dirty="0" smtClean="0"/>
            </a:br>
            <a:r>
              <a:rPr kumimoji="0" lang="en-US" sz="3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2 lines, (40) 48 pt </a:t>
            </a:r>
            <a:endParaRPr lang="en-US" dirty="0" smtClean="0"/>
          </a:p>
        </p:txBody>
      </p:sp>
      <p:sp>
        <p:nvSpPr>
          <p:cNvPr id="19" name="Textplatzhalter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257043" y="3600355"/>
            <a:ext cx="7846146" cy="263835"/>
          </a:xfrm>
        </p:spPr>
        <p:txBody>
          <a:bodyPr wrap="square" lIns="114163">
            <a:spAutoFit/>
          </a:bodyPr>
          <a:lstStyle>
            <a:lvl1pPr>
              <a:spcBef>
                <a:spcPts val="0"/>
              </a:spcBef>
              <a:defRPr sz="19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smtClean="0"/>
              <a:t>Sub-heading: TeleGrotesk Normal, 24 pt</a:t>
            </a:r>
            <a:endParaRPr lang="en-US" dirty="0"/>
          </a:p>
        </p:txBody>
      </p:sp>
      <p:pic>
        <p:nvPicPr>
          <p:cNvPr id="20" name="Grafik 37" descr="T_Logo_3c_Slogan_p_INT.emf"/>
          <p:cNvPicPr>
            <a:picLocks noChangeAspect="1"/>
          </p:cNvPicPr>
          <p:nvPr userDrawn="1"/>
        </p:nvPicPr>
        <p:blipFill>
          <a:blip r:embed="rId10"/>
          <a:srcRect r="60924"/>
          <a:stretch>
            <a:fillRect/>
          </a:stretch>
        </p:blipFill>
        <p:spPr>
          <a:xfrm>
            <a:off x="391817" y="4351263"/>
            <a:ext cx="1039409" cy="397182"/>
          </a:xfrm>
          <a:prstGeom prst="rect">
            <a:avLst/>
          </a:prstGeom>
        </p:spPr>
      </p:pic>
      <p:pic>
        <p:nvPicPr>
          <p:cNvPr id="21" name="Grafik 38" descr="T_Logo_3c_Slogan_p_INT.emf"/>
          <p:cNvPicPr>
            <a:picLocks noChangeAspect="1"/>
          </p:cNvPicPr>
          <p:nvPr userDrawn="1"/>
        </p:nvPicPr>
        <p:blipFill>
          <a:blip r:embed="rId10"/>
          <a:srcRect l="41258"/>
          <a:stretch>
            <a:fillRect/>
          </a:stretch>
        </p:blipFill>
        <p:spPr>
          <a:xfrm>
            <a:off x="7184628" y="4351263"/>
            <a:ext cx="1562519" cy="3971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3292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3937618"/>
              </p:ext>
            </p:extLst>
          </p:nvPr>
        </p:nvGraphicFramePr>
        <p:xfrm>
          <a:off x="1264" y="1261"/>
          <a:ext cx="1259" cy="12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4274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64" y="1261"/>
                        <a:ext cx="1259" cy="126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26556" y="200021"/>
            <a:ext cx="8490331" cy="415498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de-DE" dirty="0" err="1" smtClean="0"/>
              <a:t>TeleGrotesk</a:t>
            </a:r>
            <a:r>
              <a:rPr lang="de-DE" dirty="0" smtClean="0"/>
              <a:t> Headline Ultra 28 (32) 40 </a:t>
            </a:r>
            <a:r>
              <a:rPr lang="de-DE" dirty="0" err="1" smtClean="0"/>
              <a:t>p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7168663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Csak cí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50032"/>
            <a:ext cx="8496300" cy="41549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hu-HU"/>
          </a:p>
        </p:txBody>
      </p:sp>
      <p:sp>
        <p:nvSpPr>
          <p:cNvPr id="3" name="Datumsplatzhalter 3"/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>
          <a:xfrm>
            <a:off x="6804026" y="4768454"/>
            <a:ext cx="1800225" cy="21550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hu-HU" smtClean="0"/>
              <a:t>19/11/2015</a:t>
            </a:r>
            <a:endParaRPr lang="hu-HU"/>
          </a:p>
        </p:txBody>
      </p:sp>
      <p:sp>
        <p:nvSpPr>
          <p:cNvPr id="4" name="Fußzeilenplatzhalt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2557463" y="4768454"/>
            <a:ext cx="4102100" cy="21550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– internal -    - ITSH Company Presentation / Chris Wilson -</a:t>
            </a:r>
            <a:endParaRPr lang="hu-HU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63AD15FD-4877-4C8D-ADB7-1458AAF15636}" type="slidenum">
              <a:rPr lang="hu-HU" smtClean="0"/>
              <a:pPr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4896096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75" name="Object 51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1587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5523" name="think-cell Folie" r:id="rId10" imgW="360" imgH="360" progId="TCLayout.ActiveDocument.1">
                  <p:embed/>
                </p:oleObj>
              </mc:Choice>
              <mc:Fallback>
                <p:oleObj name="think-cell Folie" r:id="rId10" imgW="360" imgH="360" progId="TCLayout.ActiveDocument.1">
                  <p:embed/>
                  <p:pic>
                    <p:nvPicPr>
                      <p:cNvPr id="0" name="Picture 6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gray">
          <a:xfrm>
            <a:off x="288000" y="252000"/>
            <a:ext cx="8496300" cy="41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dirty="0" smtClean="0"/>
              <a:t>MASTERTITELFORMAT BEARBEITEN</a:t>
            </a:r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288000" y="1329933"/>
            <a:ext cx="8496300" cy="32134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Mastertext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21" name="Foliennummernplatzhalter 3"/>
          <p:cNvSpPr>
            <a:spLocks noGrp="1"/>
          </p:cNvSpPr>
          <p:nvPr userDrawn="1">
            <p:ph type="sldNum" sz="quarter" idx="4"/>
          </p:nvPr>
        </p:nvSpPr>
        <p:spPr>
          <a:xfrm>
            <a:off x="8115302" y="4708379"/>
            <a:ext cx="742950" cy="358925"/>
          </a:xfrm>
          <a:prstGeom prst="rect">
            <a:avLst/>
          </a:prstGeom>
        </p:spPr>
        <p:txBody>
          <a:bodyPr lIns="91416" tIns="45708" rIns="91416" bIns="45708"/>
          <a:lstStyle>
            <a:lvl1pPr algn="r" defTabSz="457054">
              <a:buClr>
                <a:srgbClr val="E20074"/>
              </a:buClr>
              <a:defRPr sz="1400">
                <a:solidFill>
                  <a:schemeClr val="bg1"/>
                </a:solidFill>
              </a:defRPr>
            </a:lvl1pPr>
          </a:lstStyle>
          <a:p>
            <a:fld id="{B03C9E69-E43C-4763-8857-C1F967C53060}" type="slidenum">
              <a:rPr lang="de-DE" smtClean="0">
                <a:solidFill>
                  <a:srgbClr val="FFFFFF"/>
                </a:solidFill>
              </a:rPr>
              <a:pPr/>
              <a:t>‹#›</a:t>
            </a:fld>
            <a:endParaRPr lang="de-DE" dirty="0">
              <a:solidFill>
                <a:srgbClr val="FFFFFF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42" r:id="rId1"/>
    <p:sldLayoutId id="2147483843" r:id="rId2"/>
    <p:sldLayoutId id="2147483852" r:id="rId3"/>
    <p:sldLayoutId id="2147483853" r:id="rId4"/>
    <p:sldLayoutId id="2147483854" r:id="rId5"/>
    <p:sldLayoutId id="2147483855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054" rtl="0" fontAlgn="base">
        <a:lnSpc>
          <a:spcPct val="90000"/>
        </a:lnSpc>
        <a:spcBef>
          <a:spcPct val="0"/>
        </a:spcBef>
        <a:spcAft>
          <a:spcPct val="0"/>
        </a:spcAft>
        <a:defRPr lang="de-DE" sz="3000" kern="1200" dirty="0">
          <a:solidFill>
            <a:schemeClr val="bg1"/>
          </a:solidFill>
          <a:latin typeface="TeleGrotesk Headline Ultra" pitchFamily="2" charset="0"/>
          <a:ea typeface="+mj-ea"/>
          <a:cs typeface="TeleGrotesk Headline Ultra" pitchFamily="2" charset="0"/>
        </a:defRPr>
      </a:lvl1pPr>
      <a:lvl2pPr algn="l" defTabSz="457054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2pPr>
      <a:lvl3pPr algn="l" defTabSz="457054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3pPr>
      <a:lvl4pPr algn="l" defTabSz="457054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4pPr>
      <a:lvl5pPr algn="l" defTabSz="457054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5pPr>
      <a:lvl6pPr marL="457054" algn="l" defTabSz="457054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6pPr>
      <a:lvl7pPr marL="914108" algn="l" defTabSz="457054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7pPr>
      <a:lvl8pPr marL="1371160" algn="l" defTabSz="457054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8pPr>
      <a:lvl9pPr marL="1828215" algn="l" defTabSz="457054" rtl="0" fontAlgn="base">
        <a:lnSpc>
          <a:spcPct val="90000"/>
        </a:lnSpc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Tele-GroteskUlt" pitchFamily="2" charset="0"/>
        </a:defRPr>
      </a:lvl9pPr>
    </p:titleStyle>
    <p:bodyStyle>
      <a:lvl1pPr algn="l" defTabSz="457054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Font typeface="Wingdings" pitchFamily="2" charset="2"/>
        <a:defRPr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588" algn="l" defTabSz="457054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Font typeface="Wingdings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179331" indent="-176155" algn="l" defTabSz="457054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352312" indent="-171395" algn="l" defTabSz="457054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537989" indent="-184091" algn="l" defTabSz="457054" rtl="0" fontAlgn="base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3795" indent="-228525" algn="l" defTabSz="4570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850" indent="-228525" algn="l" defTabSz="4570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904" indent="-228525" algn="l" defTabSz="4570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956" indent="-228525" algn="l" defTabSz="4570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0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54" algn="l" defTabSz="4570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08" algn="l" defTabSz="4570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60" algn="l" defTabSz="4570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215" algn="l" defTabSz="4570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270" algn="l" defTabSz="4570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321" algn="l" defTabSz="4570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375" algn="l" defTabSz="4570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430" algn="l" defTabSz="4570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tags" Target="../tags/tag14.xml"/><Relationship Id="rId7" Type="http://schemas.openxmlformats.org/officeDocument/2006/relationships/image" Target="../media/image7.emf"/><Relationship Id="rId2" Type="http://schemas.openxmlformats.org/officeDocument/2006/relationships/tags" Target="../tags/tag13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15.xml"/><Relationship Id="rId9" Type="http://schemas.openxmlformats.org/officeDocument/2006/relationships/image" Target="../media/image9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3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4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9.bin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7" Type="http://schemas.openxmlformats.org/officeDocument/2006/relationships/slide" Target="slide4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Relationship Id="rId6" Type="http://schemas.openxmlformats.org/officeDocument/2006/relationships/slide" Target="slide5.xml"/><Relationship Id="rId5" Type="http://schemas.openxmlformats.org/officeDocument/2006/relationships/slide" Target="slide7.xml"/><Relationship Id="rId4" Type="http://schemas.openxmlformats.org/officeDocument/2006/relationships/slide" Target="slide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2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g"/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13" Type="http://schemas.openxmlformats.org/officeDocument/2006/relationships/image" Target="../media/image13.jpeg"/><Relationship Id="rId3" Type="http://schemas.openxmlformats.org/officeDocument/2006/relationships/tags" Target="../tags/tag17.xml"/><Relationship Id="rId7" Type="http://schemas.openxmlformats.org/officeDocument/2006/relationships/image" Target="../media/image10.jpg"/><Relationship Id="rId12" Type="http://schemas.openxmlformats.org/officeDocument/2006/relationships/image" Target="../media/image12.jpeg"/><Relationship Id="rId2" Type="http://schemas.openxmlformats.org/officeDocument/2006/relationships/tags" Target="../tags/tag16.xml"/><Relationship Id="rId1" Type="http://schemas.openxmlformats.org/officeDocument/2006/relationships/vmlDrawing" Target="../drawings/vmlDrawing5.vml"/><Relationship Id="rId6" Type="http://schemas.openxmlformats.org/officeDocument/2006/relationships/notesSlide" Target="../notesSlides/notesSlide1.xml"/><Relationship Id="rId11" Type="http://schemas.openxmlformats.org/officeDocument/2006/relationships/image" Target="../media/image11.gif"/><Relationship Id="rId5" Type="http://schemas.openxmlformats.org/officeDocument/2006/relationships/slideLayout" Target="../slideLayouts/slideLayout4.xml"/><Relationship Id="rId10" Type="http://schemas.openxmlformats.org/officeDocument/2006/relationships/image" Target="../media/image9.emf"/><Relationship Id="rId4" Type="http://schemas.openxmlformats.org/officeDocument/2006/relationships/tags" Target="../tags/tag18.xml"/><Relationship Id="rId9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20.xml"/><Relationship Id="rId7" Type="http://schemas.openxmlformats.org/officeDocument/2006/relationships/image" Target="../media/image15.emf"/><Relationship Id="rId2" Type="http://schemas.openxmlformats.org/officeDocument/2006/relationships/tags" Target="../tags/tag19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19.jpeg"/><Relationship Id="rId7" Type="http://schemas.openxmlformats.org/officeDocument/2006/relationships/image" Target="../media/image23.jpe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2.jpeg"/><Relationship Id="rId5" Type="http://schemas.openxmlformats.org/officeDocument/2006/relationships/image" Target="../media/image21.jpeg"/><Relationship Id="rId4" Type="http://schemas.openxmlformats.org/officeDocument/2006/relationships/image" Target="../media/image20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hyperlink" Target="http://www.traum-projekt.com/forum/attachments/16916d1087412714-bild-rand-abgerissen-aussehen-lassen-rand01.jpg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emf"/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95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0726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Object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95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4" descr="http://images03.kurier.at/46-77818961.jpg/179.910.189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</p:spPr>
      </p:pic>
      <p:sp>
        <p:nvSpPr>
          <p:cNvPr id="47" name="Shape 87"/>
          <p:cNvSpPr/>
          <p:nvPr/>
        </p:nvSpPr>
        <p:spPr>
          <a:xfrm>
            <a:off x="303754" y="1093905"/>
            <a:ext cx="6760238" cy="3204980"/>
          </a:xfrm>
          <a:prstGeom prst="rect">
            <a:avLst/>
          </a:prstGeom>
          <a:ln w="12700">
            <a:miter lim="400000"/>
          </a:ln>
          <a:effectLst>
            <a:outerShdw blurRad="88900" algn="tl" rotWithShape="0">
              <a:prstClr val="black"/>
            </a:outerShdw>
          </a:effectLst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50800" tIns="50800" rIns="50800" bIns="50800" anchor="ctr">
            <a:spAutoFit/>
          </a:bodyPr>
          <a:lstStyle/>
          <a:p>
            <a:pPr defTabSz="915741">
              <a:lnSpc>
                <a:spcPct val="90000"/>
              </a:lnSpc>
              <a:spcBef>
                <a:spcPts val="0"/>
              </a:spcBef>
              <a:buClr>
                <a:srgbClr val="A4A4A4"/>
              </a:buClr>
              <a:defRPr sz="1800">
                <a:solidFill>
                  <a:srgbClr val="000000"/>
                </a:solidFill>
              </a:defRPr>
            </a:pPr>
            <a:r>
              <a:rPr lang="hu-HU" sz="4400" cap="all" dirty="0" err="1" smtClean="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TeleGrotesk Headline Ultra" pitchFamily="2" charset="0"/>
                <a:ea typeface="Tele-GroteskUlt"/>
                <a:cs typeface="Tele-GroteskUlt"/>
                <a:sym typeface="Tele-GroteskUlt"/>
              </a:rPr>
              <a:t>Openstack</a:t>
            </a:r>
            <a:r>
              <a:rPr lang="hu-HU" sz="4400" cap="all" dirty="0" smtClean="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TeleGrotesk Headline Ultra" pitchFamily="2" charset="0"/>
                <a:ea typeface="Tele-GroteskUlt"/>
                <a:cs typeface="Tele-GroteskUlt"/>
                <a:sym typeface="Tele-GroteskUlt"/>
              </a:rPr>
              <a:t> alapú nyilvános felhő üzemeltetése Magyarországról</a:t>
            </a:r>
            <a:r>
              <a:rPr lang="hu-HU" sz="2800" cap="all" dirty="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Tele-GroteskNor" pitchFamily="2" charset="0"/>
                <a:ea typeface="Tele-GroteskNor" pitchFamily="2" charset="0"/>
                <a:cs typeface="Tele-GroteskNor" pitchFamily="2" charset="0"/>
                <a:sym typeface="Tele-GroteskHal"/>
              </a:rPr>
              <a:t/>
            </a:r>
            <a:br>
              <a:rPr lang="hu-HU" sz="2800" cap="all" dirty="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Tele-GroteskNor" pitchFamily="2" charset="0"/>
                <a:ea typeface="Tele-GroteskNor" pitchFamily="2" charset="0"/>
                <a:cs typeface="Tele-GroteskNor" pitchFamily="2" charset="0"/>
                <a:sym typeface="Tele-GroteskHal"/>
              </a:rPr>
            </a:br>
            <a:r>
              <a:rPr lang="hu-HU" sz="2800" cap="all" dirty="0" smtClean="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Tele-GroteskNor" pitchFamily="2" charset="0"/>
                <a:ea typeface="Tele-GroteskNor" pitchFamily="2" charset="0"/>
                <a:cs typeface="Tele-GroteskNor" pitchFamily="2" charset="0"/>
                <a:sym typeface="Tele-GroteskHal"/>
              </a:rPr>
              <a:t>Gerner Péter</a:t>
            </a:r>
          </a:p>
          <a:p>
            <a:pPr defTabSz="915741">
              <a:lnSpc>
                <a:spcPct val="90000"/>
              </a:lnSpc>
              <a:spcBef>
                <a:spcPts val="0"/>
              </a:spcBef>
              <a:buClr>
                <a:srgbClr val="A4A4A4"/>
              </a:buClr>
              <a:defRPr sz="1800">
                <a:solidFill>
                  <a:srgbClr val="000000"/>
                </a:solidFill>
              </a:defRPr>
            </a:pPr>
            <a:r>
              <a:rPr lang="hu-HU" sz="2000" cap="all" dirty="0" smtClean="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Tele-GroteskNor" pitchFamily="2" charset="0"/>
                <a:ea typeface="Tele-GroteskNor" pitchFamily="2" charset="0"/>
                <a:cs typeface="Tele-GroteskNor" pitchFamily="2" charset="0"/>
                <a:sym typeface="Tele-GroteskHal"/>
              </a:rPr>
              <a:t>2016. 06. 23</a:t>
            </a:r>
            <a:r>
              <a:rPr lang="hu-HU" sz="2000" cap="all" dirty="0" smtClean="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Tele-GroteskHal"/>
                <a:ea typeface="Tele-GroteskHal"/>
                <a:cs typeface="Tele-GroteskHal"/>
                <a:sym typeface="Tele-GroteskHal"/>
              </a:rPr>
              <a:t>.</a:t>
            </a:r>
            <a:endParaRPr lang="en-US" sz="2000" cap="all" dirty="0">
              <a:solidFill>
                <a:srgbClr val="FFFFFF"/>
              </a:solidFill>
              <a:uFill>
                <a:solidFill>
                  <a:srgbClr val="FFFFFF"/>
                </a:solidFill>
              </a:uFill>
              <a:latin typeface="Tele-GroteskHal"/>
              <a:ea typeface="Tele-GroteskHal"/>
              <a:cs typeface="Tele-GroteskHal"/>
              <a:sym typeface="Tele-GroteskHal"/>
            </a:endParaRPr>
          </a:p>
        </p:txBody>
      </p:sp>
      <p:pic>
        <p:nvPicPr>
          <p:cNvPr id="25" name="Picture 21" descr="T_Logo_3c_Slogan_n_INT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1938"/>
          <a:stretch>
            <a:fillRect/>
          </a:stretch>
        </p:blipFill>
        <p:spPr bwMode="auto">
          <a:xfrm>
            <a:off x="323850" y="4343930"/>
            <a:ext cx="1009650" cy="395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" name="Picture 22" descr="T_Logo_3c_Slogan_n_INT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840"/>
          <a:stretch>
            <a:fillRect/>
          </a:stretch>
        </p:blipFill>
        <p:spPr bwMode="auto">
          <a:xfrm>
            <a:off x="7391400" y="4343930"/>
            <a:ext cx="1436688" cy="395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049607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95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314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Picture 5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95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Rechteck 62"/>
          <p:cNvSpPr/>
          <p:nvPr/>
        </p:nvSpPr>
        <p:spPr>
          <a:xfrm>
            <a:off x="0" y="4011910"/>
            <a:ext cx="9144000" cy="1130003"/>
          </a:xfrm>
          <a:prstGeom prst="rect">
            <a:avLst/>
          </a:prstGeom>
          <a:solidFill>
            <a:srgbClr val="000000"/>
          </a:solidFill>
          <a:ln w="9525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A4A4A4"/>
              </a:buClr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ele-GroteskNor"/>
              <a:ea typeface="+mn-ea"/>
              <a:cs typeface="+mn-cs"/>
            </a:endParaRPr>
          </a:p>
        </p:txBody>
      </p:sp>
      <p:grpSp>
        <p:nvGrpSpPr>
          <p:cNvPr id="64" name="Gruppieren 4"/>
          <p:cNvGrpSpPr>
            <a:grpSpLocks noChangeAspect="1"/>
          </p:cNvGrpSpPr>
          <p:nvPr/>
        </p:nvGrpSpPr>
        <p:grpSpPr>
          <a:xfrm>
            <a:off x="1366798" y="813649"/>
            <a:ext cx="1834109" cy="1573711"/>
            <a:chOff x="1384101" y="1591304"/>
            <a:chExt cx="914244" cy="784444"/>
          </a:xfrm>
        </p:grpSpPr>
        <p:grpSp>
          <p:nvGrpSpPr>
            <p:cNvPr id="65" name="Gruppieren 61"/>
            <p:cNvGrpSpPr>
              <a:grpSpLocks noChangeAspect="1"/>
            </p:cNvGrpSpPr>
            <p:nvPr/>
          </p:nvGrpSpPr>
          <p:grpSpPr>
            <a:xfrm>
              <a:off x="1685964" y="1943746"/>
              <a:ext cx="353671" cy="432002"/>
              <a:chOff x="3603360" y="303833"/>
              <a:chExt cx="236538" cy="288925"/>
            </a:xfrm>
            <a:solidFill>
              <a:srgbClr val="000000">
                <a:lumMod val="75000"/>
              </a:srgbClr>
            </a:solidFill>
          </p:grpSpPr>
          <p:sp>
            <p:nvSpPr>
              <p:cNvPr id="67" name="Rectangle 5"/>
              <p:cNvSpPr>
                <a:spLocks noChangeArrowheads="1"/>
              </p:cNvSpPr>
              <p:nvPr/>
            </p:nvSpPr>
            <p:spPr bwMode="auto">
              <a:xfrm>
                <a:off x="3603360" y="437183"/>
                <a:ext cx="58738" cy="5715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Tele-GroteskNor"/>
                </a:endParaRPr>
              </a:p>
            </p:txBody>
          </p:sp>
          <p:sp>
            <p:nvSpPr>
              <p:cNvPr id="68" name="Rectangle 6"/>
              <p:cNvSpPr>
                <a:spLocks noChangeArrowheads="1"/>
              </p:cNvSpPr>
              <p:nvPr/>
            </p:nvSpPr>
            <p:spPr bwMode="auto">
              <a:xfrm>
                <a:off x="3781160" y="437183"/>
                <a:ext cx="58738" cy="5715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Tele-GroteskNor"/>
                </a:endParaRPr>
              </a:p>
            </p:txBody>
          </p:sp>
          <p:sp>
            <p:nvSpPr>
              <p:cNvPr id="69" name="Freeform 9"/>
              <p:cNvSpPr>
                <a:spLocks/>
              </p:cNvSpPr>
              <p:nvPr/>
            </p:nvSpPr>
            <p:spPr bwMode="auto">
              <a:xfrm>
                <a:off x="3603360" y="303833"/>
                <a:ext cx="236538" cy="288925"/>
              </a:xfrm>
              <a:custGeom>
                <a:avLst/>
                <a:gdLst>
                  <a:gd name="T0" fmla="*/ 850 w 861"/>
                  <a:gd name="T1" fmla="*/ 0 h 1050"/>
                  <a:gd name="T2" fmla="*/ 11 w 861"/>
                  <a:gd name="T3" fmla="*/ 0 h 1050"/>
                  <a:gd name="T4" fmla="*/ 0 w 861"/>
                  <a:gd name="T5" fmla="*/ 370 h 1050"/>
                  <a:gd name="T6" fmla="*/ 56 w 861"/>
                  <a:gd name="T7" fmla="*/ 380 h 1050"/>
                  <a:gd name="T8" fmla="*/ 142 w 861"/>
                  <a:gd name="T9" fmla="*/ 137 h 1050"/>
                  <a:gd name="T10" fmla="*/ 346 w 861"/>
                  <a:gd name="T11" fmla="*/ 50 h 1050"/>
                  <a:gd name="T12" fmla="*/ 346 w 861"/>
                  <a:gd name="T13" fmla="*/ 825 h 1050"/>
                  <a:gd name="T14" fmla="*/ 317 w 861"/>
                  <a:gd name="T15" fmla="*/ 957 h 1050"/>
                  <a:gd name="T16" fmla="*/ 232 w 861"/>
                  <a:gd name="T17" fmla="*/ 989 h 1050"/>
                  <a:gd name="T18" fmla="*/ 171 w 861"/>
                  <a:gd name="T19" fmla="*/ 991 h 1050"/>
                  <a:gd name="T20" fmla="*/ 171 w 861"/>
                  <a:gd name="T21" fmla="*/ 1050 h 1050"/>
                  <a:gd name="T22" fmla="*/ 690 w 861"/>
                  <a:gd name="T23" fmla="*/ 1050 h 1050"/>
                  <a:gd name="T24" fmla="*/ 690 w 861"/>
                  <a:gd name="T25" fmla="*/ 991 h 1050"/>
                  <a:gd name="T26" fmla="*/ 629 w 861"/>
                  <a:gd name="T27" fmla="*/ 989 h 1050"/>
                  <a:gd name="T28" fmla="*/ 544 w 861"/>
                  <a:gd name="T29" fmla="*/ 957 h 1050"/>
                  <a:gd name="T30" fmla="*/ 514 w 861"/>
                  <a:gd name="T31" fmla="*/ 825 h 1050"/>
                  <a:gd name="T32" fmla="*/ 514 w 861"/>
                  <a:gd name="T33" fmla="*/ 50 h 1050"/>
                  <a:gd name="T34" fmla="*/ 719 w 861"/>
                  <a:gd name="T35" fmla="*/ 137 h 1050"/>
                  <a:gd name="T36" fmla="*/ 805 w 861"/>
                  <a:gd name="T37" fmla="*/ 380 h 1050"/>
                  <a:gd name="T38" fmla="*/ 861 w 861"/>
                  <a:gd name="T39" fmla="*/ 370 h 1050"/>
                  <a:gd name="T40" fmla="*/ 850 w 861"/>
                  <a:gd name="T41" fmla="*/ 0 h 10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861" h="1050">
                    <a:moveTo>
                      <a:pt x="850" y="0"/>
                    </a:moveTo>
                    <a:lnTo>
                      <a:pt x="11" y="0"/>
                    </a:lnTo>
                    <a:lnTo>
                      <a:pt x="0" y="370"/>
                    </a:lnTo>
                    <a:lnTo>
                      <a:pt x="56" y="380"/>
                    </a:lnTo>
                    <a:cubicBezTo>
                      <a:pt x="66" y="271"/>
                      <a:pt x="95" y="190"/>
                      <a:pt x="142" y="137"/>
                    </a:cubicBezTo>
                    <a:cubicBezTo>
                      <a:pt x="191" y="82"/>
                      <a:pt x="259" y="53"/>
                      <a:pt x="346" y="50"/>
                    </a:cubicBezTo>
                    <a:lnTo>
                      <a:pt x="346" y="825"/>
                    </a:lnTo>
                    <a:cubicBezTo>
                      <a:pt x="346" y="893"/>
                      <a:pt x="337" y="937"/>
                      <a:pt x="317" y="957"/>
                    </a:cubicBezTo>
                    <a:cubicBezTo>
                      <a:pt x="300" y="975"/>
                      <a:pt x="272" y="985"/>
                      <a:pt x="232" y="989"/>
                    </a:cubicBezTo>
                    <a:cubicBezTo>
                      <a:pt x="220" y="990"/>
                      <a:pt x="200" y="991"/>
                      <a:pt x="171" y="991"/>
                    </a:cubicBezTo>
                    <a:lnTo>
                      <a:pt x="171" y="1050"/>
                    </a:lnTo>
                    <a:lnTo>
                      <a:pt x="690" y="1050"/>
                    </a:lnTo>
                    <a:lnTo>
                      <a:pt x="690" y="991"/>
                    </a:lnTo>
                    <a:cubicBezTo>
                      <a:pt x="661" y="991"/>
                      <a:pt x="641" y="990"/>
                      <a:pt x="629" y="989"/>
                    </a:cubicBezTo>
                    <a:cubicBezTo>
                      <a:pt x="589" y="985"/>
                      <a:pt x="560" y="975"/>
                      <a:pt x="544" y="957"/>
                    </a:cubicBezTo>
                    <a:cubicBezTo>
                      <a:pt x="524" y="937"/>
                      <a:pt x="514" y="893"/>
                      <a:pt x="514" y="825"/>
                    </a:cubicBezTo>
                    <a:lnTo>
                      <a:pt x="514" y="50"/>
                    </a:lnTo>
                    <a:cubicBezTo>
                      <a:pt x="602" y="53"/>
                      <a:pt x="670" y="82"/>
                      <a:pt x="719" y="137"/>
                    </a:cubicBezTo>
                    <a:cubicBezTo>
                      <a:pt x="766" y="190"/>
                      <a:pt x="795" y="271"/>
                      <a:pt x="805" y="380"/>
                    </a:cubicBezTo>
                    <a:lnTo>
                      <a:pt x="861" y="370"/>
                    </a:lnTo>
                    <a:lnTo>
                      <a:pt x="85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  <a:latin typeface="Tele-GroteskNor"/>
                </a:endParaRPr>
              </a:p>
            </p:txBody>
          </p:sp>
        </p:grpSp>
        <p:sp>
          <p:nvSpPr>
            <p:cNvPr id="66" name="Freeform 9"/>
            <p:cNvSpPr>
              <a:spLocks/>
            </p:cNvSpPr>
            <p:nvPr/>
          </p:nvSpPr>
          <p:spPr bwMode="auto">
            <a:xfrm>
              <a:off x="1384101" y="1591304"/>
              <a:ext cx="914244" cy="557947"/>
            </a:xfrm>
            <a:custGeom>
              <a:avLst/>
              <a:gdLst>
                <a:gd name="T0" fmla="*/ 2801 w 4350"/>
                <a:gd name="T1" fmla="*/ 29 h 2655"/>
                <a:gd name="T2" fmla="*/ 3127 w 4350"/>
                <a:gd name="T3" fmla="*/ 154 h 2655"/>
                <a:gd name="T4" fmla="*/ 3409 w 4350"/>
                <a:gd name="T5" fmla="*/ 372 h 2655"/>
                <a:gd name="T6" fmla="*/ 3625 w 4350"/>
                <a:gd name="T7" fmla="*/ 670 h 2655"/>
                <a:gd name="T8" fmla="*/ 3748 w 4350"/>
                <a:gd name="T9" fmla="*/ 1017 h 2655"/>
                <a:gd name="T10" fmla="*/ 4018 w 4350"/>
                <a:gd name="T11" fmla="*/ 1150 h 2655"/>
                <a:gd name="T12" fmla="*/ 4222 w 4350"/>
                <a:gd name="T13" fmla="*/ 1373 h 2655"/>
                <a:gd name="T14" fmla="*/ 4334 w 4350"/>
                <a:gd name="T15" fmla="*/ 1662 h 2655"/>
                <a:gd name="T16" fmla="*/ 4336 w 4350"/>
                <a:gd name="T17" fmla="*/ 1984 h 2655"/>
                <a:gd name="T18" fmla="*/ 4225 w 4350"/>
                <a:gd name="T19" fmla="*/ 2270 h 2655"/>
                <a:gd name="T20" fmla="*/ 4026 w 4350"/>
                <a:gd name="T21" fmla="*/ 2493 h 2655"/>
                <a:gd name="T22" fmla="*/ 3761 w 4350"/>
                <a:gd name="T23" fmla="*/ 2627 h 2655"/>
                <a:gd name="T24" fmla="*/ 3643 w 4350"/>
                <a:gd name="T25" fmla="*/ 2458 h 2655"/>
                <a:gd name="T26" fmla="*/ 3824 w 4350"/>
                <a:gd name="T27" fmla="*/ 2296 h 2655"/>
                <a:gd name="T28" fmla="*/ 3993 w 4350"/>
                <a:gd name="T29" fmla="*/ 2124 h 2655"/>
                <a:gd name="T30" fmla="*/ 4076 w 4350"/>
                <a:gd name="T31" fmla="*/ 1889 h 2655"/>
                <a:gd name="T32" fmla="*/ 4048 w 4350"/>
                <a:gd name="T33" fmla="*/ 1637 h 2655"/>
                <a:gd name="T34" fmla="*/ 3923 w 4350"/>
                <a:gd name="T35" fmla="*/ 1433 h 2655"/>
                <a:gd name="T36" fmla="*/ 3724 w 4350"/>
                <a:gd name="T37" fmla="*/ 1302 h 2655"/>
                <a:gd name="T38" fmla="*/ 3502 w 4350"/>
                <a:gd name="T39" fmla="*/ 1272 h 2655"/>
                <a:gd name="T40" fmla="*/ 3440 w 4350"/>
                <a:gd name="T41" fmla="*/ 926 h 2655"/>
                <a:gd name="T42" fmla="*/ 3273 w 4350"/>
                <a:gd name="T43" fmla="*/ 633 h 2655"/>
                <a:gd name="T44" fmla="*/ 3023 w 4350"/>
                <a:gd name="T45" fmla="*/ 417 h 2655"/>
                <a:gd name="T46" fmla="*/ 2710 w 4350"/>
                <a:gd name="T47" fmla="*/ 297 h 2655"/>
                <a:gd name="T48" fmla="*/ 2366 w 4350"/>
                <a:gd name="T49" fmla="*/ 297 h 2655"/>
                <a:gd name="T50" fmla="*/ 2058 w 4350"/>
                <a:gd name="T51" fmla="*/ 413 h 2655"/>
                <a:gd name="T52" fmla="*/ 1809 w 4350"/>
                <a:gd name="T53" fmla="*/ 625 h 2655"/>
                <a:gd name="T54" fmla="*/ 1640 w 4350"/>
                <a:gd name="T55" fmla="*/ 912 h 2655"/>
                <a:gd name="T56" fmla="*/ 1465 w 4350"/>
                <a:gd name="T57" fmla="*/ 795 h 2655"/>
                <a:gd name="T58" fmla="*/ 1247 w 4350"/>
                <a:gd name="T59" fmla="*/ 770 h 2655"/>
                <a:gd name="T60" fmla="*/ 1037 w 4350"/>
                <a:gd name="T61" fmla="*/ 853 h 2655"/>
                <a:gd name="T62" fmla="*/ 892 w 4350"/>
                <a:gd name="T63" fmla="*/ 1022 h 2655"/>
                <a:gd name="T64" fmla="*/ 837 w 4350"/>
                <a:gd name="T65" fmla="*/ 1251 h 2655"/>
                <a:gd name="T66" fmla="*/ 824 w 4350"/>
                <a:gd name="T67" fmla="*/ 1401 h 2655"/>
                <a:gd name="T68" fmla="*/ 624 w 4350"/>
                <a:gd name="T69" fmla="*/ 1408 h 2655"/>
                <a:gd name="T70" fmla="*/ 428 w 4350"/>
                <a:gd name="T71" fmla="*/ 1516 h 2655"/>
                <a:gd name="T72" fmla="*/ 302 w 4350"/>
                <a:gd name="T73" fmla="*/ 1703 h 2655"/>
                <a:gd name="T74" fmla="*/ 274 w 4350"/>
                <a:gd name="T75" fmla="*/ 1938 h 2655"/>
                <a:gd name="T76" fmla="*/ 355 w 4350"/>
                <a:gd name="T77" fmla="*/ 2155 h 2655"/>
                <a:gd name="T78" fmla="*/ 519 w 4350"/>
                <a:gd name="T79" fmla="*/ 2305 h 2655"/>
                <a:gd name="T80" fmla="*/ 740 w 4350"/>
                <a:gd name="T81" fmla="*/ 2362 h 2655"/>
                <a:gd name="T82" fmla="*/ 875 w 4350"/>
                <a:gd name="T83" fmla="*/ 2531 h 2655"/>
                <a:gd name="T84" fmla="*/ 663 w 4350"/>
                <a:gd name="T85" fmla="*/ 2639 h 2655"/>
                <a:gd name="T86" fmla="*/ 388 w 4350"/>
                <a:gd name="T87" fmla="*/ 2551 h 2655"/>
                <a:gd name="T88" fmla="*/ 169 w 4350"/>
                <a:gd name="T89" fmla="*/ 2365 h 2655"/>
                <a:gd name="T90" fmla="*/ 33 w 4350"/>
                <a:gd name="T91" fmla="*/ 2105 h 2655"/>
                <a:gd name="T92" fmla="*/ 4 w 4350"/>
                <a:gd name="T93" fmla="*/ 1801 h 2655"/>
                <a:gd name="T94" fmla="*/ 87 w 4350"/>
                <a:gd name="T95" fmla="*/ 1519 h 2655"/>
                <a:gd name="T96" fmla="*/ 262 w 4350"/>
                <a:gd name="T97" fmla="*/ 1294 h 2655"/>
                <a:gd name="T98" fmla="*/ 506 w 4350"/>
                <a:gd name="T99" fmla="*/ 1152 h 2655"/>
                <a:gd name="T100" fmla="*/ 643 w 4350"/>
                <a:gd name="T101" fmla="*/ 910 h 2655"/>
                <a:gd name="T102" fmla="*/ 823 w 4350"/>
                <a:gd name="T103" fmla="*/ 671 h 2655"/>
                <a:gd name="T104" fmla="*/ 1078 w 4350"/>
                <a:gd name="T105" fmla="*/ 522 h 2655"/>
                <a:gd name="T106" fmla="*/ 1366 w 4350"/>
                <a:gd name="T107" fmla="*/ 488 h 2655"/>
                <a:gd name="T108" fmla="*/ 1590 w 4350"/>
                <a:gd name="T109" fmla="*/ 458 h 2655"/>
                <a:gd name="T110" fmla="*/ 1835 w 4350"/>
                <a:gd name="T111" fmla="*/ 227 h 2655"/>
                <a:gd name="T112" fmla="*/ 2168 w 4350"/>
                <a:gd name="T113" fmla="*/ 58 h 2655"/>
                <a:gd name="T114" fmla="*/ 2538 w 4350"/>
                <a:gd name="T115" fmla="*/ 0 h 26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350" h="2655">
                  <a:moveTo>
                    <a:pt x="2538" y="0"/>
                  </a:moveTo>
                  <a:lnTo>
                    <a:pt x="2626" y="4"/>
                  </a:lnTo>
                  <a:lnTo>
                    <a:pt x="2714" y="13"/>
                  </a:lnTo>
                  <a:lnTo>
                    <a:pt x="2801" y="29"/>
                  </a:lnTo>
                  <a:lnTo>
                    <a:pt x="2886" y="51"/>
                  </a:lnTo>
                  <a:lnTo>
                    <a:pt x="2969" y="80"/>
                  </a:lnTo>
                  <a:lnTo>
                    <a:pt x="3049" y="114"/>
                  </a:lnTo>
                  <a:lnTo>
                    <a:pt x="3127" y="154"/>
                  </a:lnTo>
                  <a:lnTo>
                    <a:pt x="3202" y="200"/>
                  </a:lnTo>
                  <a:lnTo>
                    <a:pt x="3274" y="252"/>
                  </a:lnTo>
                  <a:lnTo>
                    <a:pt x="3343" y="310"/>
                  </a:lnTo>
                  <a:lnTo>
                    <a:pt x="3409" y="372"/>
                  </a:lnTo>
                  <a:lnTo>
                    <a:pt x="3471" y="440"/>
                  </a:lnTo>
                  <a:lnTo>
                    <a:pt x="3527" y="514"/>
                  </a:lnTo>
                  <a:lnTo>
                    <a:pt x="3579" y="591"/>
                  </a:lnTo>
                  <a:lnTo>
                    <a:pt x="3625" y="670"/>
                  </a:lnTo>
                  <a:lnTo>
                    <a:pt x="3665" y="753"/>
                  </a:lnTo>
                  <a:lnTo>
                    <a:pt x="3699" y="839"/>
                  </a:lnTo>
                  <a:lnTo>
                    <a:pt x="3727" y="926"/>
                  </a:lnTo>
                  <a:lnTo>
                    <a:pt x="3748" y="1017"/>
                  </a:lnTo>
                  <a:lnTo>
                    <a:pt x="3820" y="1041"/>
                  </a:lnTo>
                  <a:lnTo>
                    <a:pt x="3890" y="1071"/>
                  </a:lnTo>
                  <a:lnTo>
                    <a:pt x="3956" y="1107"/>
                  </a:lnTo>
                  <a:lnTo>
                    <a:pt x="4018" y="1150"/>
                  </a:lnTo>
                  <a:lnTo>
                    <a:pt x="4077" y="1198"/>
                  </a:lnTo>
                  <a:lnTo>
                    <a:pt x="4130" y="1252"/>
                  </a:lnTo>
                  <a:lnTo>
                    <a:pt x="4179" y="1310"/>
                  </a:lnTo>
                  <a:lnTo>
                    <a:pt x="4222" y="1373"/>
                  </a:lnTo>
                  <a:lnTo>
                    <a:pt x="4259" y="1441"/>
                  </a:lnTo>
                  <a:lnTo>
                    <a:pt x="4291" y="1511"/>
                  </a:lnTo>
                  <a:lnTo>
                    <a:pt x="4316" y="1586"/>
                  </a:lnTo>
                  <a:lnTo>
                    <a:pt x="4334" y="1662"/>
                  </a:lnTo>
                  <a:lnTo>
                    <a:pt x="4346" y="1742"/>
                  </a:lnTo>
                  <a:lnTo>
                    <a:pt x="4350" y="1825"/>
                  </a:lnTo>
                  <a:lnTo>
                    <a:pt x="4346" y="1905"/>
                  </a:lnTo>
                  <a:lnTo>
                    <a:pt x="4336" y="1984"/>
                  </a:lnTo>
                  <a:lnTo>
                    <a:pt x="4317" y="2060"/>
                  </a:lnTo>
                  <a:lnTo>
                    <a:pt x="4292" y="2134"/>
                  </a:lnTo>
                  <a:lnTo>
                    <a:pt x="4262" y="2204"/>
                  </a:lnTo>
                  <a:lnTo>
                    <a:pt x="4225" y="2270"/>
                  </a:lnTo>
                  <a:lnTo>
                    <a:pt x="4183" y="2333"/>
                  </a:lnTo>
                  <a:lnTo>
                    <a:pt x="4135" y="2391"/>
                  </a:lnTo>
                  <a:lnTo>
                    <a:pt x="4084" y="2444"/>
                  </a:lnTo>
                  <a:lnTo>
                    <a:pt x="4026" y="2493"/>
                  </a:lnTo>
                  <a:lnTo>
                    <a:pt x="3965" y="2535"/>
                  </a:lnTo>
                  <a:lnTo>
                    <a:pt x="3901" y="2572"/>
                  </a:lnTo>
                  <a:lnTo>
                    <a:pt x="3832" y="2603"/>
                  </a:lnTo>
                  <a:lnTo>
                    <a:pt x="3761" y="2627"/>
                  </a:lnTo>
                  <a:lnTo>
                    <a:pt x="3687" y="2646"/>
                  </a:lnTo>
                  <a:lnTo>
                    <a:pt x="3611" y="2655"/>
                  </a:lnTo>
                  <a:lnTo>
                    <a:pt x="3629" y="2556"/>
                  </a:lnTo>
                  <a:lnTo>
                    <a:pt x="3643" y="2458"/>
                  </a:lnTo>
                  <a:lnTo>
                    <a:pt x="3655" y="2366"/>
                  </a:lnTo>
                  <a:lnTo>
                    <a:pt x="3715" y="2349"/>
                  </a:lnTo>
                  <a:lnTo>
                    <a:pt x="3771" y="2325"/>
                  </a:lnTo>
                  <a:lnTo>
                    <a:pt x="3824" y="2296"/>
                  </a:lnTo>
                  <a:lnTo>
                    <a:pt x="3873" y="2260"/>
                  </a:lnTo>
                  <a:lnTo>
                    <a:pt x="3918" y="2221"/>
                  </a:lnTo>
                  <a:lnTo>
                    <a:pt x="3959" y="2175"/>
                  </a:lnTo>
                  <a:lnTo>
                    <a:pt x="3993" y="2124"/>
                  </a:lnTo>
                  <a:lnTo>
                    <a:pt x="4023" y="2072"/>
                  </a:lnTo>
                  <a:lnTo>
                    <a:pt x="4047" y="2014"/>
                  </a:lnTo>
                  <a:lnTo>
                    <a:pt x="4064" y="1953"/>
                  </a:lnTo>
                  <a:lnTo>
                    <a:pt x="4076" y="1889"/>
                  </a:lnTo>
                  <a:lnTo>
                    <a:pt x="4078" y="1825"/>
                  </a:lnTo>
                  <a:lnTo>
                    <a:pt x="4076" y="1760"/>
                  </a:lnTo>
                  <a:lnTo>
                    <a:pt x="4065" y="1697"/>
                  </a:lnTo>
                  <a:lnTo>
                    <a:pt x="4048" y="1637"/>
                  </a:lnTo>
                  <a:lnTo>
                    <a:pt x="4024" y="1581"/>
                  </a:lnTo>
                  <a:lnTo>
                    <a:pt x="3995" y="1528"/>
                  </a:lnTo>
                  <a:lnTo>
                    <a:pt x="3961" y="1478"/>
                  </a:lnTo>
                  <a:lnTo>
                    <a:pt x="3923" y="1433"/>
                  </a:lnTo>
                  <a:lnTo>
                    <a:pt x="3878" y="1392"/>
                  </a:lnTo>
                  <a:lnTo>
                    <a:pt x="3831" y="1356"/>
                  </a:lnTo>
                  <a:lnTo>
                    <a:pt x="3779" y="1327"/>
                  </a:lnTo>
                  <a:lnTo>
                    <a:pt x="3724" y="1302"/>
                  </a:lnTo>
                  <a:lnTo>
                    <a:pt x="3667" y="1285"/>
                  </a:lnTo>
                  <a:lnTo>
                    <a:pt x="3607" y="1274"/>
                  </a:lnTo>
                  <a:lnTo>
                    <a:pt x="3545" y="1271"/>
                  </a:lnTo>
                  <a:lnTo>
                    <a:pt x="3502" y="1272"/>
                  </a:lnTo>
                  <a:lnTo>
                    <a:pt x="3498" y="1182"/>
                  </a:lnTo>
                  <a:lnTo>
                    <a:pt x="3487" y="1094"/>
                  </a:lnTo>
                  <a:lnTo>
                    <a:pt x="3467" y="1008"/>
                  </a:lnTo>
                  <a:lnTo>
                    <a:pt x="3440" y="926"/>
                  </a:lnTo>
                  <a:lnTo>
                    <a:pt x="3408" y="847"/>
                  </a:lnTo>
                  <a:lnTo>
                    <a:pt x="3368" y="772"/>
                  </a:lnTo>
                  <a:lnTo>
                    <a:pt x="3323" y="700"/>
                  </a:lnTo>
                  <a:lnTo>
                    <a:pt x="3273" y="633"/>
                  </a:lnTo>
                  <a:lnTo>
                    <a:pt x="3218" y="571"/>
                  </a:lnTo>
                  <a:lnTo>
                    <a:pt x="3157" y="514"/>
                  </a:lnTo>
                  <a:lnTo>
                    <a:pt x="3092" y="462"/>
                  </a:lnTo>
                  <a:lnTo>
                    <a:pt x="3023" y="417"/>
                  </a:lnTo>
                  <a:lnTo>
                    <a:pt x="2949" y="376"/>
                  </a:lnTo>
                  <a:lnTo>
                    <a:pt x="2872" y="343"/>
                  </a:lnTo>
                  <a:lnTo>
                    <a:pt x="2793" y="316"/>
                  </a:lnTo>
                  <a:lnTo>
                    <a:pt x="2710" y="297"/>
                  </a:lnTo>
                  <a:lnTo>
                    <a:pt x="2625" y="285"/>
                  </a:lnTo>
                  <a:lnTo>
                    <a:pt x="2538" y="281"/>
                  </a:lnTo>
                  <a:lnTo>
                    <a:pt x="2451" y="285"/>
                  </a:lnTo>
                  <a:lnTo>
                    <a:pt x="2366" y="297"/>
                  </a:lnTo>
                  <a:lnTo>
                    <a:pt x="2284" y="315"/>
                  </a:lnTo>
                  <a:lnTo>
                    <a:pt x="2205" y="341"/>
                  </a:lnTo>
                  <a:lnTo>
                    <a:pt x="2130" y="374"/>
                  </a:lnTo>
                  <a:lnTo>
                    <a:pt x="2058" y="413"/>
                  </a:lnTo>
                  <a:lnTo>
                    <a:pt x="1989" y="458"/>
                  </a:lnTo>
                  <a:lnTo>
                    <a:pt x="1925" y="508"/>
                  </a:lnTo>
                  <a:lnTo>
                    <a:pt x="1864" y="564"/>
                  </a:lnTo>
                  <a:lnTo>
                    <a:pt x="1809" y="625"/>
                  </a:lnTo>
                  <a:lnTo>
                    <a:pt x="1757" y="691"/>
                  </a:lnTo>
                  <a:lnTo>
                    <a:pt x="1712" y="761"/>
                  </a:lnTo>
                  <a:lnTo>
                    <a:pt x="1673" y="835"/>
                  </a:lnTo>
                  <a:lnTo>
                    <a:pt x="1640" y="912"/>
                  </a:lnTo>
                  <a:lnTo>
                    <a:pt x="1602" y="876"/>
                  </a:lnTo>
                  <a:lnTo>
                    <a:pt x="1559" y="844"/>
                  </a:lnTo>
                  <a:lnTo>
                    <a:pt x="1513" y="817"/>
                  </a:lnTo>
                  <a:lnTo>
                    <a:pt x="1465" y="795"/>
                  </a:lnTo>
                  <a:lnTo>
                    <a:pt x="1414" y="780"/>
                  </a:lnTo>
                  <a:lnTo>
                    <a:pt x="1360" y="769"/>
                  </a:lnTo>
                  <a:lnTo>
                    <a:pt x="1305" y="766"/>
                  </a:lnTo>
                  <a:lnTo>
                    <a:pt x="1247" y="770"/>
                  </a:lnTo>
                  <a:lnTo>
                    <a:pt x="1190" y="781"/>
                  </a:lnTo>
                  <a:lnTo>
                    <a:pt x="1136" y="799"/>
                  </a:lnTo>
                  <a:lnTo>
                    <a:pt x="1085" y="823"/>
                  </a:lnTo>
                  <a:lnTo>
                    <a:pt x="1037" y="853"/>
                  </a:lnTo>
                  <a:lnTo>
                    <a:pt x="994" y="889"/>
                  </a:lnTo>
                  <a:lnTo>
                    <a:pt x="956" y="929"/>
                  </a:lnTo>
                  <a:lnTo>
                    <a:pt x="921" y="974"/>
                  </a:lnTo>
                  <a:lnTo>
                    <a:pt x="892" y="1022"/>
                  </a:lnTo>
                  <a:lnTo>
                    <a:pt x="869" y="1075"/>
                  </a:lnTo>
                  <a:lnTo>
                    <a:pt x="852" y="1132"/>
                  </a:lnTo>
                  <a:lnTo>
                    <a:pt x="841" y="1190"/>
                  </a:lnTo>
                  <a:lnTo>
                    <a:pt x="837" y="1251"/>
                  </a:lnTo>
                  <a:lnTo>
                    <a:pt x="840" y="1306"/>
                  </a:lnTo>
                  <a:lnTo>
                    <a:pt x="849" y="1359"/>
                  </a:lnTo>
                  <a:lnTo>
                    <a:pt x="863" y="1410"/>
                  </a:lnTo>
                  <a:lnTo>
                    <a:pt x="824" y="1401"/>
                  </a:lnTo>
                  <a:lnTo>
                    <a:pt x="782" y="1396"/>
                  </a:lnTo>
                  <a:lnTo>
                    <a:pt x="740" y="1393"/>
                  </a:lnTo>
                  <a:lnTo>
                    <a:pt x="680" y="1397"/>
                  </a:lnTo>
                  <a:lnTo>
                    <a:pt x="624" y="1408"/>
                  </a:lnTo>
                  <a:lnTo>
                    <a:pt x="569" y="1426"/>
                  </a:lnTo>
                  <a:lnTo>
                    <a:pt x="519" y="1450"/>
                  </a:lnTo>
                  <a:lnTo>
                    <a:pt x="472" y="1480"/>
                  </a:lnTo>
                  <a:lnTo>
                    <a:pt x="428" y="1516"/>
                  </a:lnTo>
                  <a:lnTo>
                    <a:pt x="389" y="1556"/>
                  </a:lnTo>
                  <a:lnTo>
                    <a:pt x="355" y="1602"/>
                  </a:lnTo>
                  <a:lnTo>
                    <a:pt x="326" y="1651"/>
                  </a:lnTo>
                  <a:lnTo>
                    <a:pt x="302" y="1703"/>
                  </a:lnTo>
                  <a:lnTo>
                    <a:pt x="285" y="1759"/>
                  </a:lnTo>
                  <a:lnTo>
                    <a:pt x="274" y="1817"/>
                  </a:lnTo>
                  <a:lnTo>
                    <a:pt x="272" y="1878"/>
                  </a:lnTo>
                  <a:lnTo>
                    <a:pt x="274" y="1938"/>
                  </a:lnTo>
                  <a:lnTo>
                    <a:pt x="285" y="1998"/>
                  </a:lnTo>
                  <a:lnTo>
                    <a:pt x="302" y="2053"/>
                  </a:lnTo>
                  <a:lnTo>
                    <a:pt x="326" y="2106"/>
                  </a:lnTo>
                  <a:lnTo>
                    <a:pt x="355" y="2155"/>
                  </a:lnTo>
                  <a:lnTo>
                    <a:pt x="389" y="2200"/>
                  </a:lnTo>
                  <a:lnTo>
                    <a:pt x="428" y="2241"/>
                  </a:lnTo>
                  <a:lnTo>
                    <a:pt x="472" y="2275"/>
                  </a:lnTo>
                  <a:lnTo>
                    <a:pt x="519" y="2305"/>
                  </a:lnTo>
                  <a:lnTo>
                    <a:pt x="569" y="2330"/>
                  </a:lnTo>
                  <a:lnTo>
                    <a:pt x="624" y="2347"/>
                  </a:lnTo>
                  <a:lnTo>
                    <a:pt x="680" y="2358"/>
                  </a:lnTo>
                  <a:lnTo>
                    <a:pt x="740" y="2362"/>
                  </a:lnTo>
                  <a:lnTo>
                    <a:pt x="796" y="2359"/>
                  </a:lnTo>
                  <a:lnTo>
                    <a:pt x="852" y="2349"/>
                  </a:lnTo>
                  <a:lnTo>
                    <a:pt x="862" y="2437"/>
                  </a:lnTo>
                  <a:lnTo>
                    <a:pt x="875" y="2531"/>
                  </a:lnTo>
                  <a:lnTo>
                    <a:pt x="892" y="2626"/>
                  </a:lnTo>
                  <a:lnTo>
                    <a:pt x="816" y="2639"/>
                  </a:lnTo>
                  <a:lnTo>
                    <a:pt x="740" y="2643"/>
                  </a:lnTo>
                  <a:lnTo>
                    <a:pt x="663" y="2639"/>
                  </a:lnTo>
                  <a:lnTo>
                    <a:pt x="591" y="2627"/>
                  </a:lnTo>
                  <a:lnTo>
                    <a:pt x="519" y="2609"/>
                  </a:lnTo>
                  <a:lnTo>
                    <a:pt x="452" y="2582"/>
                  </a:lnTo>
                  <a:lnTo>
                    <a:pt x="388" y="2551"/>
                  </a:lnTo>
                  <a:lnTo>
                    <a:pt x="326" y="2512"/>
                  </a:lnTo>
                  <a:lnTo>
                    <a:pt x="269" y="2467"/>
                  </a:lnTo>
                  <a:lnTo>
                    <a:pt x="216" y="2419"/>
                  </a:lnTo>
                  <a:lnTo>
                    <a:pt x="169" y="2365"/>
                  </a:lnTo>
                  <a:lnTo>
                    <a:pt x="127" y="2305"/>
                  </a:lnTo>
                  <a:lnTo>
                    <a:pt x="90" y="2242"/>
                  </a:lnTo>
                  <a:lnTo>
                    <a:pt x="58" y="2176"/>
                  </a:lnTo>
                  <a:lnTo>
                    <a:pt x="33" y="2105"/>
                  </a:lnTo>
                  <a:lnTo>
                    <a:pt x="15" y="2032"/>
                  </a:lnTo>
                  <a:lnTo>
                    <a:pt x="4" y="1955"/>
                  </a:lnTo>
                  <a:lnTo>
                    <a:pt x="0" y="1878"/>
                  </a:lnTo>
                  <a:lnTo>
                    <a:pt x="4" y="1801"/>
                  </a:lnTo>
                  <a:lnTo>
                    <a:pt x="15" y="1726"/>
                  </a:lnTo>
                  <a:lnTo>
                    <a:pt x="33" y="1655"/>
                  </a:lnTo>
                  <a:lnTo>
                    <a:pt x="57" y="1585"/>
                  </a:lnTo>
                  <a:lnTo>
                    <a:pt x="87" y="1519"/>
                  </a:lnTo>
                  <a:lnTo>
                    <a:pt x="123" y="1457"/>
                  </a:lnTo>
                  <a:lnTo>
                    <a:pt x="165" y="1397"/>
                  </a:lnTo>
                  <a:lnTo>
                    <a:pt x="211" y="1343"/>
                  </a:lnTo>
                  <a:lnTo>
                    <a:pt x="262" y="1294"/>
                  </a:lnTo>
                  <a:lnTo>
                    <a:pt x="318" y="1249"/>
                  </a:lnTo>
                  <a:lnTo>
                    <a:pt x="377" y="1211"/>
                  </a:lnTo>
                  <a:lnTo>
                    <a:pt x="440" y="1178"/>
                  </a:lnTo>
                  <a:lnTo>
                    <a:pt x="506" y="1152"/>
                  </a:lnTo>
                  <a:lnTo>
                    <a:pt x="575" y="1132"/>
                  </a:lnTo>
                  <a:lnTo>
                    <a:pt x="591" y="1055"/>
                  </a:lnTo>
                  <a:lnTo>
                    <a:pt x="614" y="982"/>
                  </a:lnTo>
                  <a:lnTo>
                    <a:pt x="643" y="910"/>
                  </a:lnTo>
                  <a:lnTo>
                    <a:pt x="680" y="844"/>
                  </a:lnTo>
                  <a:lnTo>
                    <a:pt x="722" y="782"/>
                  </a:lnTo>
                  <a:lnTo>
                    <a:pt x="770" y="724"/>
                  </a:lnTo>
                  <a:lnTo>
                    <a:pt x="823" y="671"/>
                  </a:lnTo>
                  <a:lnTo>
                    <a:pt x="881" y="625"/>
                  </a:lnTo>
                  <a:lnTo>
                    <a:pt x="943" y="584"/>
                  </a:lnTo>
                  <a:lnTo>
                    <a:pt x="1010" y="550"/>
                  </a:lnTo>
                  <a:lnTo>
                    <a:pt x="1078" y="522"/>
                  </a:lnTo>
                  <a:lnTo>
                    <a:pt x="1152" y="502"/>
                  </a:lnTo>
                  <a:lnTo>
                    <a:pt x="1227" y="489"/>
                  </a:lnTo>
                  <a:lnTo>
                    <a:pt x="1305" y="485"/>
                  </a:lnTo>
                  <a:lnTo>
                    <a:pt x="1366" y="488"/>
                  </a:lnTo>
                  <a:lnTo>
                    <a:pt x="1425" y="496"/>
                  </a:lnTo>
                  <a:lnTo>
                    <a:pt x="1483" y="508"/>
                  </a:lnTo>
                  <a:lnTo>
                    <a:pt x="1540" y="525"/>
                  </a:lnTo>
                  <a:lnTo>
                    <a:pt x="1590" y="458"/>
                  </a:lnTo>
                  <a:lnTo>
                    <a:pt x="1645" y="394"/>
                  </a:lnTo>
                  <a:lnTo>
                    <a:pt x="1704" y="335"/>
                  </a:lnTo>
                  <a:lnTo>
                    <a:pt x="1768" y="278"/>
                  </a:lnTo>
                  <a:lnTo>
                    <a:pt x="1835" y="227"/>
                  </a:lnTo>
                  <a:lnTo>
                    <a:pt x="1914" y="175"/>
                  </a:lnTo>
                  <a:lnTo>
                    <a:pt x="1996" y="129"/>
                  </a:lnTo>
                  <a:lnTo>
                    <a:pt x="2081" y="91"/>
                  </a:lnTo>
                  <a:lnTo>
                    <a:pt x="2168" y="58"/>
                  </a:lnTo>
                  <a:lnTo>
                    <a:pt x="2258" y="33"/>
                  </a:lnTo>
                  <a:lnTo>
                    <a:pt x="2350" y="15"/>
                  </a:lnTo>
                  <a:lnTo>
                    <a:pt x="2443" y="4"/>
                  </a:lnTo>
                  <a:lnTo>
                    <a:pt x="2538" y="0"/>
                  </a:lnTo>
                  <a:close/>
                </a:path>
              </a:pathLst>
            </a:custGeom>
            <a:solidFill>
              <a:srgbClr val="000000">
                <a:lumMod val="75000"/>
              </a:srgb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A4A4A4"/>
                </a:buClr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70" name="Rechteck 69"/>
          <p:cNvSpPr/>
          <p:nvPr/>
        </p:nvSpPr>
        <p:spPr>
          <a:xfrm>
            <a:off x="2539227" y="476619"/>
            <a:ext cx="4447542" cy="1172047"/>
          </a:xfrm>
          <a:prstGeom prst="rect">
            <a:avLst/>
          </a:prstGeom>
          <a:noFill/>
        </p:spPr>
        <p:txBody>
          <a:bodyPr wrap="square" lIns="71971" tIns="17991" rIns="71971" bIns="17991" anchor="ctr">
            <a:spAutoFit/>
          </a:bodyPr>
          <a:lstStyle/>
          <a:p>
            <a:pPr algn="ctr">
              <a:lnSpc>
                <a:spcPct val="90000"/>
              </a:lnSpc>
              <a:spcBef>
                <a:spcPts val="0"/>
              </a:spcBef>
              <a:buClr>
                <a:srgbClr val="A4A4A4"/>
              </a:buClr>
            </a:pPr>
            <a:r>
              <a:rPr lang="en-US" sz="8200" dirty="0" smtClean="0">
                <a:solidFill>
                  <a:srgbClr val="FFFFFF"/>
                </a:solidFill>
                <a:latin typeface="TeleGrotesk Headline Ultra" pitchFamily="2" charset="0"/>
              </a:rPr>
              <a:t>Open</a:t>
            </a:r>
            <a:endParaRPr lang="en-US" sz="8200" dirty="0">
              <a:solidFill>
                <a:srgbClr val="FFFFFF"/>
              </a:solidFill>
              <a:latin typeface="TeleGrotesk Headline Ultra" pitchFamily="2" charset="0"/>
            </a:endParaRPr>
          </a:p>
        </p:txBody>
      </p:sp>
      <p:sp>
        <p:nvSpPr>
          <p:cNvPr id="71" name="Rechteck 70"/>
          <p:cNvSpPr/>
          <p:nvPr/>
        </p:nvSpPr>
        <p:spPr>
          <a:xfrm>
            <a:off x="3114896" y="4372320"/>
            <a:ext cx="2160588" cy="466627"/>
          </a:xfrm>
          <a:prstGeom prst="rect">
            <a:avLst/>
          </a:prstGeom>
        </p:spPr>
        <p:txBody>
          <a:bodyPr wrap="square" lIns="71971" tIns="35985" rIns="71971" bIns="35985" anchor="ctr">
            <a:spAutoFit/>
          </a:bodyPr>
          <a:lstStyle/>
          <a:p>
            <a:pPr algn="ctr">
              <a:lnSpc>
                <a:spcPct val="80000"/>
              </a:lnSpc>
              <a:spcBef>
                <a:spcPts val="0"/>
              </a:spcBef>
              <a:buClr>
                <a:srgbClr val="A4A4A4"/>
              </a:buClr>
            </a:pPr>
            <a:r>
              <a:rPr lang="en-US" sz="3200" cap="all" dirty="0" smtClean="0">
                <a:solidFill>
                  <a:srgbClr val="FFFFFF"/>
                </a:solidFill>
                <a:latin typeface="TeleGrotesk Headline Ultra" pitchFamily="2" charset="0"/>
              </a:rPr>
              <a:t>Secure</a:t>
            </a:r>
            <a:endParaRPr lang="en-US" sz="2400" dirty="0">
              <a:solidFill>
                <a:srgbClr val="FFFFFF"/>
              </a:solidFill>
              <a:latin typeface="TeleGrotesk Headline Ultra" pitchFamily="2" charset="0"/>
            </a:endParaRPr>
          </a:p>
        </p:txBody>
      </p:sp>
      <p:sp>
        <p:nvSpPr>
          <p:cNvPr id="72" name="Rechteck 71"/>
          <p:cNvSpPr/>
          <p:nvPr/>
        </p:nvSpPr>
        <p:spPr>
          <a:xfrm>
            <a:off x="6250840" y="4372320"/>
            <a:ext cx="2880097" cy="466627"/>
          </a:xfrm>
          <a:prstGeom prst="rect">
            <a:avLst/>
          </a:prstGeom>
        </p:spPr>
        <p:txBody>
          <a:bodyPr wrap="square" lIns="71971" tIns="35985" rIns="71971" bIns="35985" anchor="ctr">
            <a:spAutoFit/>
          </a:bodyPr>
          <a:lstStyle/>
          <a:p>
            <a:pPr algn="ctr">
              <a:lnSpc>
                <a:spcPct val="80000"/>
              </a:lnSpc>
              <a:spcBef>
                <a:spcPts val="0"/>
              </a:spcBef>
              <a:buClr>
                <a:srgbClr val="A4A4A4"/>
              </a:buClr>
            </a:pPr>
            <a:r>
              <a:rPr lang="en-US" sz="3200" cap="all" dirty="0" smtClean="0">
                <a:solidFill>
                  <a:srgbClr val="FFFFFF"/>
                </a:solidFill>
                <a:latin typeface="TeleGrotesk Headline Ultra" pitchFamily="2" charset="0"/>
              </a:rPr>
              <a:t>affordable</a:t>
            </a:r>
            <a:endParaRPr lang="en-US" sz="3200" dirty="0">
              <a:solidFill>
                <a:srgbClr val="FFFFFF"/>
              </a:solidFill>
              <a:latin typeface="TeleGrotesk Headline Ultra" pitchFamily="2" charset="0"/>
            </a:endParaRPr>
          </a:p>
        </p:txBody>
      </p:sp>
      <p:sp>
        <p:nvSpPr>
          <p:cNvPr id="73" name="Rechteck 72"/>
          <p:cNvSpPr/>
          <p:nvPr/>
        </p:nvSpPr>
        <p:spPr>
          <a:xfrm>
            <a:off x="-192158" y="4372320"/>
            <a:ext cx="2285572" cy="466627"/>
          </a:xfrm>
          <a:prstGeom prst="rect">
            <a:avLst/>
          </a:prstGeom>
        </p:spPr>
        <p:txBody>
          <a:bodyPr wrap="square" lIns="71971" tIns="35985" rIns="71971" bIns="35985" anchor="ctr">
            <a:spAutoFit/>
          </a:bodyPr>
          <a:lstStyle/>
          <a:p>
            <a:pPr algn="ctr">
              <a:lnSpc>
                <a:spcPct val="80000"/>
              </a:lnSpc>
              <a:spcBef>
                <a:spcPts val="0"/>
              </a:spcBef>
              <a:buClr>
                <a:srgbClr val="A4A4A4"/>
              </a:buClr>
            </a:pPr>
            <a:r>
              <a:rPr lang="en-US" sz="3200" cap="all" dirty="0" smtClean="0">
                <a:solidFill>
                  <a:srgbClr val="FFFFFF"/>
                </a:solidFill>
                <a:latin typeface="TeleGrotesk Headline Ultra" pitchFamily="2" charset="0"/>
              </a:rPr>
              <a:t>Simple</a:t>
            </a:r>
            <a:endParaRPr lang="en-US" sz="2400" dirty="0">
              <a:solidFill>
                <a:srgbClr val="FFFFFF"/>
              </a:solidFill>
              <a:latin typeface="TeleGrotesk Headline Ultra" pitchFamily="2" charset="0"/>
            </a:endParaRPr>
          </a:p>
        </p:txBody>
      </p:sp>
      <p:sp>
        <p:nvSpPr>
          <p:cNvPr id="74" name="Rechteck 73"/>
          <p:cNvSpPr/>
          <p:nvPr/>
        </p:nvSpPr>
        <p:spPr>
          <a:xfrm>
            <a:off x="3581307" y="2329121"/>
            <a:ext cx="4447542" cy="1172047"/>
          </a:xfrm>
          <a:prstGeom prst="rect">
            <a:avLst/>
          </a:prstGeom>
          <a:noFill/>
        </p:spPr>
        <p:txBody>
          <a:bodyPr wrap="square" lIns="71971" tIns="17991" rIns="71971" bIns="17991" anchor="ctr">
            <a:spAutoFit/>
          </a:bodyPr>
          <a:lstStyle/>
          <a:p>
            <a:pPr algn="ctr">
              <a:lnSpc>
                <a:spcPct val="90000"/>
              </a:lnSpc>
              <a:spcBef>
                <a:spcPts val="0"/>
              </a:spcBef>
              <a:buClr>
                <a:srgbClr val="A4A4A4"/>
              </a:buClr>
            </a:pPr>
            <a:r>
              <a:rPr lang="en-US" sz="8200" dirty="0" smtClean="0">
                <a:solidFill>
                  <a:srgbClr val="FFFFFF"/>
                </a:solidFill>
                <a:latin typeface="TeleGrotesk Headline Ultra" pitchFamily="2" charset="0"/>
              </a:rPr>
              <a:t>Cloud</a:t>
            </a:r>
            <a:endParaRPr lang="en-US" sz="8200" dirty="0">
              <a:solidFill>
                <a:srgbClr val="FFFFFF"/>
              </a:solidFill>
              <a:latin typeface="TeleGrotesk Headline Ultra" pitchFamily="2" charset="0"/>
            </a:endParaRPr>
          </a:p>
        </p:txBody>
      </p:sp>
      <p:sp>
        <p:nvSpPr>
          <p:cNvPr id="75" name="Rechteck 74"/>
          <p:cNvSpPr/>
          <p:nvPr/>
        </p:nvSpPr>
        <p:spPr>
          <a:xfrm>
            <a:off x="2850081" y="1412668"/>
            <a:ext cx="565436" cy="890327"/>
          </a:xfrm>
          <a:prstGeom prst="rect">
            <a:avLst/>
          </a:prstGeom>
          <a:solidFill>
            <a:srgbClr val="E20074"/>
          </a:solidFill>
          <a:ln w="9525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A4A4A4"/>
              </a:buClr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ele-GroteskNor"/>
              <a:ea typeface="+mn-ea"/>
              <a:cs typeface="+mn-cs"/>
            </a:endParaRPr>
          </a:p>
        </p:txBody>
      </p:sp>
      <p:sp>
        <p:nvSpPr>
          <p:cNvPr id="76" name="Rechteck 75"/>
          <p:cNvSpPr/>
          <p:nvPr/>
        </p:nvSpPr>
        <p:spPr>
          <a:xfrm>
            <a:off x="2566579" y="1243726"/>
            <a:ext cx="5083743" cy="1476728"/>
          </a:xfrm>
          <a:prstGeom prst="rect">
            <a:avLst/>
          </a:prstGeom>
          <a:noFill/>
        </p:spPr>
        <p:txBody>
          <a:bodyPr wrap="square" lIns="71971" tIns="17991" rIns="71971" bIns="17991" anchor="ctr">
            <a:spAutoFit/>
          </a:bodyPr>
          <a:lstStyle/>
          <a:p>
            <a:pPr marL="0" marR="0" lvl="0" indent="0" algn="ctr" eaLnBrk="1" latinLnBrk="0" hangingPunct="1">
              <a:lnSpc>
                <a:spcPct val="90000"/>
              </a:lnSpc>
              <a:spcBef>
                <a:spcPts val="0"/>
              </a:spcBef>
              <a:buFont typeface="Wingdings" pitchFamily="2" charset="2"/>
              <a:buNone/>
              <a:tabLst/>
              <a:defRPr/>
            </a:pPr>
            <a:r>
              <a:rPr lang="en-US" sz="10400" cap="all" dirty="0" err="1">
                <a:solidFill>
                  <a:sysClr val="windowText" lastClr="000000"/>
                </a:solidFill>
                <a:latin typeface="TeleGrotesk Headline Ultra" pitchFamily="2" charset="0"/>
              </a:rPr>
              <a:t>elekom</a:t>
            </a:r>
            <a:endParaRPr lang="en-US" sz="10400" cap="all" dirty="0">
              <a:solidFill>
                <a:sysClr val="windowText" lastClr="000000"/>
              </a:solidFill>
              <a:latin typeface="TeleGrotesk Headline Ultra" pitchFamily="2" charset="0"/>
            </a:endParaRPr>
          </a:p>
        </p:txBody>
      </p:sp>
      <p:grpSp>
        <p:nvGrpSpPr>
          <p:cNvPr id="83" name="Gruppieren 3"/>
          <p:cNvGrpSpPr/>
          <p:nvPr/>
        </p:nvGrpSpPr>
        <p:grpSpPr>
          <a:xfrm>
            <a:off x="-101201" y="4219327"/>
            <a:ext cx="9245202" cy="714375"/>
            <a:chOff x="1583168" y="2861356"/>
            <a:chExt cx="5979682" cy="714375"/>
          </a:xfrm>
        </p:grpSpPr>
        <p:cxnSp>
          <p:nvCxnSpPr>
            <p:cNvPr id="84" name="Gerade Verbindung 18"/>
            <p:cNvCxnSpPr/>
            <p:nvPr/>
          </p:nvCxnSpPr>
          <p:spPr>
            <a:xfrm>
              <a:off x="1583168" y="2861356"/>
              <a:ext cx="5979682" cy="0"/>
            </a:xfrm>
            <a:prstGeom prst="line">
              <a:avLst/>
            </a:prstGeom>
            <a:noFill/>
            <a:ln>
              <a:solidFill>
                <a:srgbClr val="FFFFFF"/>
              </a:solidFill>
            </a:ln>
          </p:spPr>
        </p:cxnSp>
        <p:cxnSp>
          <p:nvCxnSpPr>
            <p:cNvPr id="85" name="Gerade Verbindung 19"/>
            <p:cNvCxnSpPr/>
            <p:nvPr/>
          </p:nvCxnSpPr>
          <p:spPr>
            <a:xfrm>
              <a:off x="1583168" y="3575731"/>
              <a:ext cx="5979682" cy="0"/>
            </a:xfrm>
            <a:prstGeom prst="line">
              <a:avLst/>
            </a:prstGeom>
            <a:noFill/>
            <a:ln>
              <a:solidFill>
                <a:srgbClr val="FFFFFF"/>
              </a:solidFill>
            </a:ln>
          </p:spPr>
        </p:cxnSp>
      </p:grpSp>
      <p:sp>
        <p:nvSpPr>
          <p:cNvPr id="86" name="Rechteck 85"/>
          <p:cNvSpPr/>
          <p:nvPr/>
        </p:nvSpPr>
        <p:spPr>
          <a:xfrm>
            <a:off x="1860570" y="1554481"/>
            <a:ext cx="135870" cy="606702"/>
          </a:xfrm>
          <a:prstGeom prst="rect">
            <a:avLst/>
          </a:prstGeom>
          <a:solidFill>
            <a:srgbClr val="E20074"/>
          </a:solidFill>
          <a:ln w="9525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A4A4A4"/>
              </a:buClr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ele-GroteskNor"/>
              <a:ea typeface="+mn-ea"/>
              <a:cs typeface="+mn-cs"/>
            </a:endParaRPr>
          </a:p>
        </p:txBody>
      </p:sp>
      <p:sp>
        <p:nvSpPr>
          <p:cNvPr id="27" name="Eingekerbter Richtungspfeil 79"/>
          <p:cNvSpPr/>
          <p:nvPr/>
        </p:nvSpPr>
        <p:spPr>
          <a:xfrm>
            <a:off x="2076925" y="4219723"/>
            <a:ext cx="391024" cy="714375"/>
          </a:xfrm>
          <a:prstGeom prst="chevron">
            <a:avLst/>
          </a:prstGeom>
          <a:solidFill>
            <a:srgbClr val="FFFFFF">
              <a:alpha val="2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A4A4A4"/>
              </a:buClr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ele-GroteskNor"/>
              <a:ea typeface="+mn-ea"/>
              <a:cs typeface="+mn-cs"/>
            </a:endParaRPr>
          </a:p>
        </p:txBody>
      </p:sp>
      <p:sp>
        <p:nvSpPr>
          <p:cNvPr id="28" name="Eingekerbter Richtungspfeil 80"/>
          <p:cNvSpPr/>
          <p:nvPr/>
        </p:nvSpPr>
        <p:spPr>
          <a:xfrm>
            <a:off x="2459057" y="4219723"/>
            <a:ext cx="391024" cy="714375"/>
          </a:xfrm>
          <a:prstGeom prst="chevron">
            <a:avLst/>
          </a:prstGeom>
          <a:solidFill>
            <a:srgbClr val="FFFFFF">
              <a:alpha val="50196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A4A4A4"/>
              </a:buClr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ele-GroteskNor"/>
              <a:ea typeface="+mn-ea"/>
              <a:cs typeface="+mn-cs"/>
            </a:endParaRPr>
          </a:p>
        </p:txBody>
      </p:sp>
      <p:sp>
        <p:nvSpPr>
          <p:cNvPr id="29" name="Eingekerbter Richtungspfeil 81"/>
          <p:cNvSpPr/>
          <p:nvPr/>
        </p:nvSpPr>
        <p:spPr>
          <a:xfrm>
            <a:off x="2841189" y="4219723"/>
            <a:ext cx="391024" cy="714375"/>
          </a:xfrm>
          <a:prstGeom prst="chevron">
            <a:avLst/>
          </a:prstGeom>
          <a:solidFill>
            <a:srgbClr val="FFFFFF">
              <a:alpha val="69804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A4A4A4"/>
              </a:buClr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ele-GroteskNor"/>
              <a:ea typeface="+mn-ea"/>
              <a:cs typeface="+mn-cs"/>
            </a:endParaRPr>
          </a:p>
        </p:txBody>
      </p:sp>
      <p:sp>
        <p:nvSpPr>
          <p:cNvPr id="30" name="Eingekerbter Richtungspfeil 79"/>
          <p:cNvSpPr/>
          <p:nvPr/>
        </p:nvSpPr>
        <p:spPr>
          <a:xfrm>
            <a:off x="5197156" y="4219327"/>
            <a:ext cx="391024" cy="714375"/>
          </a:xfrm>
          <a:prstGeom prst="chevron">
            <a:avLst/>
          </a:prstGeom>
          <a:solidFill>
            <a:srgbClr val="FFFFFF">
              <a:alpha val="2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A4A4A4"/>
              </a:buClr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ele-GroteskNor"/>
              <a:ea typeface="+mn-ea"/>
              <a:cs typeface="+mn-cs"/>
            </a:endParaRPr>
          </a:p>
        </p:txBody>
      </p:sp>
      <p:sp>
        <p:nvSpPr>
          <p:cNvPr id="31" name="Eingekerbter Richtungspfeil 80"/>
          <p:cNvSpPr/>
          <p:nvPr/>
        </p:nvSpPr>
        <p:spPr>
          <a:xfrm>
            <a:off x="5579288" y="4219327"/>
            <a:ext cx="391024" cy="714375"/>
          </a:xfrm>
          <a:prstGeom prst="chevron">
            <a:avLst/>
          </a:prstGeom>
          <a:solidFill>
            <a:srgbClr val="FFFFFF">
              <a:alpha val="50196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A4A4A4"/>
              </a:buClr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ele-GroteskNor"/>
              <a:ea typeface="+mn-ea"/>
              <a:cs typeface="+mn-cs"/>
            </a:endParaRPr>
          </a:p>
        </p:txBody>
      </p:sp>
      <p:sp>
        <p:nvSpPr>
          <p:cNvPr id="32" name="Eingekerbter Richtungspfeil 81"/>
          <p:cNvSpPr/>
          <p:nvPr/>
        </p:nvSpPr>
        <p:spPr>
          <a:xfrm>
            <a:off x="5961420" y="4219327"/>
            <a:ext cx="391024" cy="714375"/>
          </a:xfrm>
          <a:prstGeom prst="chevron">
            <a:avLst/>
          </a:prstGeom>
          <a:solidFill>
            <a:srgbClr val="FFFFFF">
              <a:alpha val="69804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A4A4A4"/>
              </a:buClr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ele-GroteskNor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116450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/>
        </p:nvSpPr>
        <p:spPr>
          <a:xfrm>
            <a:off x="0" y="0"/>
            <a:ext cx="3438525" cy="5143500"/>
          </a:xfrm>
          <a:prstGeom prst="rect">
            <a:avLst/>
          </a:prstGeom>
          <a:solidFill>
            <a:schemeClr val="tx1"/>
          </a:solidFill>
        </p:spPr>
        <p:txBody>
          <a:bodyPr wrap="square" lIns="36000" tIns="108000" rIns="36000" bIns="10800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>
                <a:srgbClr val="E20074"/>
              </a:buClr>
            </a:pPr>
            <a:endParaRPr lang="de-DE" sz="1200">
              <a:solidFill>
                <a:srgbClr val="000000"/>
              </a:solidFill>
              <a:latin typeface="Tele-GroteskNor"/>
              <a:sym typeface="Tele-GroteskNor"/>
            </a:endParaRPr>
          </a:p>
        </p:txBody>
      </p:sp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894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Picture 1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4"/>
          <p:cNvSpPr>
            <a:spLocks noChangeAspect="1"/>
          </p:cNvSpPr>
          <p:nvPr/>
        </p:nvSpPr>
        <p:spPr bwMode="auto">
          <a:xfrm>
            <a:off x="5443208" y="2416216"/>
            <a:ext cx="2369291" cy="2329707"/>
          </a:xfrm>
          <a:custGeom>
            <a:avLst/>
            <a:gdLst>
              <a:gd name="T0" fmla="*/ 44 w 822"/>
              <a:gd name="T1" fmla="*/ 327 h 667"/>
              <a:gd name="T2" fmla="*/ 57 w 822"/>
              <a:gd name="T3" fmla="*/ 325 h 667"/>
              <a:gd name="T4" fmla="*/ 70 w 822"/>
              <a:gd name="T5" fmla="*/ 327 h 667"/>
              <a:gd name="T6" fmla="*/ 92 w 822"/>
              <a:gd name="T7" fmla="*/ 340 h 667"/>
              <a:gd name="T8" fmla="*/ 113 w 822"/>
              <a:gd name="T9" fmla="*/ 353 h 667"/>
              <a:gd name="T10" fmla="*/ 124 w 822"/>
              <a:gd name="T11" fmla="*/ 357 h 667"/>
              <a:gd name="T12" fmla="*/ 134 w 822"/>
              <a:gd name="T13" fmla="*/ 353 h 667"/>
              <a:gd name="T14" fmla="*/ 140 w 822"/>
              <a:gd name="T15" fmla="*/ 343 h 667"/>
              <a:gd name="T16" fmla="*/ 414 w 822"/>
              <a:gd name="T17" fmla="*/ 142 h 667"/>
              <a:gd name="T18" fmla="*/ 430 w 822"/>
              <a:gd name="T19" fmla="*/ 134 h 667"/>
              <a:gd name="T20" fmla="*/ 435 w 822"/>
              <a:gd name="T21" fmla="*/ 123 h 667"/>
              <a:gd name="T22" fmla="*/ 429 w 822"/>
              <a:gd name="T23" fmla="*/ 108 h 667"/>
              <a:gd name="T24" fmla="*/ 413 w 822"/>
              <a:gd name="T25" fmla="*/ 84 h 667"/>
              <a:gd name="T26" fmla="*/ 405 w 822"/>
              <a:gd name="T27" fmla="*/ 67 h 667"/>
              <a:gd name="T28" fmla="*/ 403 w 822"/>
              <a:gd name="T29" fmla="*/ 52 h 667"/>
              <a:gd name="T30" fmla="*/ 408 w 822"/>
              <a:gd name="T31" fmla="*/ 34 h 667"/>
              <a:gd name="T32" fmla="*/ 419 w 822"/>
              <a:gd name="T33" fmla="*/ 21 h 667"/>
              <a:gd name="T34" fmla="*/ 435 w 822"/>
              <a:gd name="T35" fmla="*/ 10 h 667"/>
              <a:gd name="T36" fmla="*/ 456 w 822"/>
              <a:gd name="T37" fmla="*/ 3 h 667"/>
              <a:gd name="T38" fmla="*/ 477 w 822"/>
              <a:gd name="T39" fmla="*/ 0 h 667"/>
              <a:gd name="T40" fmla="*/ 499 w 822"/>
              <a:gd name="T41" fmla="*/ 1 h 667"/>
              <a:gd name="T42" fmla="*/ 520 w 822"/>
              <a:gd name="T43" fmla="*/ 6 h 667"/>
              <a:gd name="T44" fmla="*/ 534 w 822"/>
              <a:gd name="T45" fmla="*/ 13 h 667"/>
              <a:gd name="T46" fmla="*/ 548 w 822"/>
              <a:gd name="T47" fmla="*/ 24 h 667"/>
              <a:gd name="T48" fmla="*/ 558 w 822"/>
              <a:gd name="T49" fmla="*/ 37 h 667"/>
              <a:gd name="T50" fmla="*/ 561 w 822"/>
              <a:gd name="T51" fmla="*/ 55 h 667"/>
              <a:gd name="T52" fmla="*/ 558 w 822"/>
              <a:gd name="T53" fmla="*/ 68 h 667"/>
              <a:gd name="T54" fmla="*/ 550 w 822"/>
              <a:gd name="T55" fmla="*/ 83 h 667"/>
              <a:gd name="T56" fmla="*/ 531 w 822"/>
              <a:gd name="T57" fmla="*/ 111 h 667"/>
              <a:gd name="T58" fmla="*/ 527 w 822"/>
              <a:gd name="T59" fmla="*/ 123 h 667"/>
              <a:gd name="T60" fmla="*/ 528 w 822"/>
              <a:gd name="T61" fmla="*/ 130 h 667"/>
              <a:gd name="T62" fmla="*/ 535 w 822"/>
              <a:gd name="T63" fmla="*/ 137 h 667"/>
              <a:gd name="T64" fmla="*/ 548 w 822"/>
              <a:gd name="T65" fmla="*/ 142 h 667"/>
              <a:gd name="T66" fmla="*/ 142 w 822"/>
              <a:gd name="T67" fmla="*/ 667 h 667"/>
              <a:gd name="T68" fmla="*/ 136 w 822"/>
              <a:gd name="T69" fmla="*/ 456 h 667"/>
              <a:gd name="T70" fmla="*/ 129 w 822"/>
              <a:gd name="T71" fmla="*/ 450 h 667"/>
              <a:gd name="T72" fmla="*/ 121 w 822"/>
              <a:gd name="T73" fmla="*/ 450 h 667"/>
              <a:gd name="T74" fmla="*/ 106 w 822"/>
              <a:gd name="T75" fmla="*/ 458 h 667"/>
              <a:gd name="T76" fmla="*/ 75 w 822"/>
              <a:gd name="T77" fmla="*/ 478 h 667"/>
              <a:gd name="T78" fmla="*/ 59 w 822"/>
              <a:gd name="T79" fmla="*/ 484 h 667"/>
              <a:gd name="T80" fmla="*/ 47 w 822"/>
              <a:gd name="T81" fmla="*/ 483 h 667"/>
              <a:gd name="T82" fmla="*/ 34 w 822"/>
              <a:gd name="T83" fmla="*/ 478 h 667"/>
              <a:gd name="T84" fmla="*/ 19 w 822"/>
              <a:gd name="T85" fmla="*/ 463 h 667"/>
              <a:gd name="T86" fmla="*/ 8 w 822"/>
              <a:gd name="T87" fmla="*/ 446 h 667"/>
              <a:gd name="T88" fmla="*/ 2 w 822"/>
              <a:gd name="T89" fmla="*/ 424 h 667"/>
              <a:gd name="T90" fmla="*/ 1 w 822"/>
              <a:gd name="T91" fmla="*/ 392 h 667"/>
              <a:gd name="T92" fmla="*/ 7 w 822"/>
              <a:gd name="T93" fmla="*/ 366 h 667"/>
              <a:gd name="T94" fmla="*/ 18 w 822"/>
              <a:gd name="T95" fmla="*/ 348 h 667"/>
              <a:gd name="T96" fmla="*/ 31 w 822"/>
              <a:gd name="T97" fmla="*/ 334 h 667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822"/>
              <a:gd name="T148" fmla="*/ 0 h 667"/>
              <a:gd name="T149" fmla="*/ 822 w 822"/>
              <a:gd name="T150" fmla="*/ 667 h 667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822" h="667">
                <a:moveTo>
                  <a:pt x="35" y="332"/>
                </a:moveTo>
                <a:lnTo>
                  <a:pt x="39" y="329"/>
                </a:lnTo>
                <a:lnTo>
                  <a:pt x="44" y="327"/>
                </a:lnTo>
                <a:lnTo>
                  <a:pt x="48" y="326"/>
                </a:lnTo>
                <a:lnTo>
                  <a:pt x="53" y="325"/>
                </a:lnTo>
                <a:lnTo>
                  <a:pt x="57" y="325"/>
                </a:lnTo>
                <a:lnTo>
                  <a:pt x="61" y="325"/>
                </a:lnTo>
                <a:lnTo>
                  <a:pt x="66" y="326"/>
                </a:lnTo>
                <a:lnTo>
                  <a:pt x="70" y="327"/>
                </a:lnTo>
                <a:lnTo>
                  <a:pt x="77" y="331"/>
                </a:lnTo>
                <a:lnTo>
                  <a:pt x="85" y="335"/>
                </a:lnTo>
                <a:lnTo>
                  <a:pt x="92" y="340"/>
                </a:lnTo>
                <a:lnTo>
                  <a:pt x="99" y="345"/>
                </a:lnTo>
                <a:lnTo>
                  <a:pt x="107" y="349"/>
                </a:lnTo>
                <a:lnTo>
                  <a:pt x="113" y="353"/>
                </a:lnTo>
                <a:lnTo>
                  <a:pt x="119" y="356"/>
                </a:lnTo>
                <a:lnTo>
                  <a:pt x="121" y="357"/>
                </a:lnTo>
                <a:lnTo>
                  <a:pt x="124" y="357"/>
                </a:lnTo>
                <a:lnTo>
                  <a:pt x="129" y="356"/>
                </a:lnTo>
                <a:lnTo>
                  <a:pt x="132" y="355"/>
                </a:lnTo>
                <a:lnTo>
                  <a:pt x="134" y="353"/>
                </a:lnTo>
                <a:lnTo>
                  <a:pt x="136" y="350"/>
                </a:lnTo>
                <a:lnTo>
                  <a:pt x="138" y="347"/>
                </a:lnTo>
                <a:lnTo>
                  <a:pt x="140" y="343"/>
                </a:lnTo>
                <a:lnTo>
                  <a:pt x="142" y="338"/>
                </a:lnTo>
                <a:lnTo>
                  <a:pt x="142" y="142"/>
                </a:lnTo>
                <a:lnTo>
                  <a:pt x="414" y="142"/>
                </a:lnTo>
                <a:lnTo>
                  <a:pt x="421" y="139"/>
                </a:lnTo>
                <a:lnTo>
                  <a:pt x="426" y="137"/>
                </a:lnTo>
                <a:lnTo>
                  <a:pt x="430" y="134"/>
                </a:lnTo>
                <a:lnTo>
                  <a:pt x="432" y="130"/>
                </a:lnTo>
                <a:lnTo>
                  <a:pt x="434" y="127"/>
                </a:lnTo>
                <a:lnTo>
                  <a:pt x="435" y="123"/>
                </a:lnTo>
                <a:lnTo>
                  <a:pt x="434" y="120"/>
                </a:lnTo>
                <a:lnTo>
                  <a:pt x="433" y="116"/>
                </a:lnTo>
                <a:lnTo>
                  <a:pt x="429" y="108"/>
                </a:lnTo>
                <a:lnTo>
                  <a:pt x="424" y="100"/>
                </a:lnTo>
                <a:lnTo>
                  <a:pt x="418" y="92"/>
                </a:lnTo>
                <a:lnTo>
                  <a:pt x="413" y="84"/>
                </a:lnTo>
                <a:lnTo>
                  <a:pt x="409" y="77"/>
                </a:lnTo>
                <a:lnTo>
                  <a:pt x="406" y="71"/>
                </a:lnTo>
                <a:lnTo>
                  <a:pt x="405" y="67"/>
                </a:lnTo>
                <a:lnTo>
                  <a:pt x="404" y="64"/>
                </a:lnTo>
                <a:lnTo>
                  <a:pt x="403" y="58"/>
                </a:lnTo>
                <a:lnTo>
                  <a:pt x="403" y="52"/>
                </a:lnTo>
                <a:lnTo>
                  <a:pt x="404" y="46"/>
                </a:lnTo>
                <a:lnTo>
                  <a:pt x="406" y="39"/>
                </a:lnTo>
                <a:lnTo>
                  <a:pt x="408" y="34"/>
                </a:lnTo>
                <a:lnTo>
                  <a:pt x="411" y="29"/>
                </a:lnTo>
                <a:lnTo>
                  <a:pt x="415" y="25"/>
                </a:lnTo>
                <a:lnTo>
                  <a:pt x="419" y="21"/>
                </a:lnTo>
                <a:lnTo>
                  <a:pt x="424" y="17"/>
                </a:lnTo>
                <a:lnTo>
                  <a:pt x="430" y="13"/>
                </a:lnTo>
                <a:lnTo>
                  <a:pt x="435" y="10"/>
                </a:lnTo>
                <a:lnTo>
                  <a:pt x="443" y="7"/>
                </a:lnTo>
                <a:lnTo>
                  <a:pt x="449" y="5"/>
                </a:lnTo>
                <a:lnTo>
                  <a:pt x="456" y="3"/>
                </a:lnTo>
                <a:lnTo>
                  <a:pt x="463" y="1"/>
                </a:lnTo>
                <a:lnTo>
                  <a:pt x="470" y="0"/>
                </a:lnTo>
                <a:lnTo>
                  <a:pt x="477" y="0"/>
                </a:lnTo>
                <a:lnTo>
                  <a:pt x="485" y="0"/>
                </a:lnTo>
                <a:lnTo>
                  <a:pt x="492" y="0"/>
                </a:lnTo>
                <a:lnTo>
                  <a:pt x="499" y="1"/>
                </a:lnTo>
                <a:lnTo>
                  <a:pt x="506" y="2"/>
                </a:lnTo>
                <a:lnTo>
                  <a:pt x="513" y="4"/>
                </a:lnTo>
                <a:lnTo>
                  <a:pt x="520" y="6"/>
                </a:lnTo>
                <a:lnTo>
                  <a:pt x="525" y="8"/>
                </a:lnTo>
                <a:lnTo>
                  <a:pt x="528" y="9"/>
                </a:lnTo>
                <a:lnTo>
                  <a:pt x="534" y="13"/>
                </a:lnTo>
                <a:lnTo>
                  <a:pt x="540" y="17"/>
                </a:lnTo>
                <a:lnTo>
                  <a:pt x="545" y="21"/>
                </a:lnTo>
                <a:lnTo>
                  <a:pt x="548" y="24"/>
                </a:lnTo>
                <a:lnTo>
                  <a:pt x="550" y="26"/>
                </a:lnTo>
                <a:lnTo>
                  <a:pt x="555" y="32"/>
                </a:lnTo>
                <a:lnTo>
                  <a:pt x="558" y="37"/>
                </a:lnTo>
                <a:lnTo>
                  <a:pt x="560" y="42"/>
                </a:lnTo>
                <a:lnTo>
                  <a:pt x="561" y="48"/>
                </a:lnTo>
                <a:lnTo>
                  <a:pt x="561" y="55"/>
                </a:lnTo>
                <a:lnTo>
                  <a:pt x="560" y="61"/>
                </a:lnTo>
                <a:lnTo>
                  <a:pt x="559" y="64"/>
                </a:lnTo>
                <a:lnTo>
                  <a:pt x="558" y="68"/>
                </a:lnTo>
                <a:lnTo>
                  <a:pt x="554" y="75"/>
                </a:lnTo>
                <a:lnTo>
                  <a:pt x="552" y="79"/>
                </a:lnTo>
                <a:lnTo>
                  <a:pt x="550" y="83"/>
                </a:lnTo>
                <a:lnTo>
                  <a:pt x="540" y="96"/>
                </a:lnTo>
                <a:lnTo>
                  <a:pt x="534" y="106"/>
                </a:lnTo>
                <a:lnTo>
                  <a:pt x="531" y="111"/>
                </a:lnTo>
                <a:lnTo>
                  <a:pt x="529" y="115"/>
                </a:lnTo>
                <a:lnTo>
                  <a:pt x="527" y="119"/>
                </a:lnTo>
                <a:lnTo>
                  <a:pt x="527" y="123"/>
                </a:lnTo>
                <a:lnTo>
                  <a:pt x="527" y="127"/>
                </a:lnTo>
                <a:lnTo>
                  <a:pt x="527" y="129"/>
                </a:lnTo>
                <a:lnTo>
                  <a:pt x="528" y="130"/>
                </a:lnTo>
                <a:lnTo>
                  <a:pt x="530" y="132"/>
                </a:lnTo>
                <a:lnTo>
                  <a:pt x="531" y="134"/>
                </a:lnTo>
                <a:lnTo>
                  <a:pt x="535" y="137"/>
                </a:lnTo>
                <a:lnTo>
                  <a:pt x="538" y="138"/>
                </a:lnTo>
                <a:lnTo>
                  <a:pt x="541" y="140"/>
                </a:lnTo>
                <a:lnTo>
                  <a:pt x="548" y="142"/>
                </a:lnTo>
                <a:lnTo>
                  <a:pt x="822" y="142"/>
                </a:lnTo>
                <a:lnTo>
                  <a:pt x="822" y="667"/>
                </a:lnTo>
                <a:lnTo>
                  <a:pt x="142" y="667"/>
                </a:lnTo>
                <a:lnTo>
                  <a:pt x="142" y="470"/>
                </a:lnTo>
                <a:lnTo>
                  <a:pt x="138" y="460"/>
                </a:lnTo>
                <a:lnTo>
                  <a:pt x="136" y="456"/>
                </a:lnTo>
                <a:lnTo>
                  <a:pt x="134" y="454"/>
                </a:lnTo>
                <a:lnTo>
                  <a:pt x="132" y="451"/>
                </a:lnTo>
                <a:lnTo>
                  <a:pt x="129" y="450"/>
                </a:lnTo>
                <a:lnTo>
                  <a:pt x="127" y="449"/>
                </a:lnTo>
                <a:lnTo>
                  <a:pt x="124" y="449"/>
                </a:lnTo>
                <a:lnTo>
                  <a:pt x="121" y="450"/>
                </a:lnTo>
                <a:lnTo>
                  <a:pt x="118" y="451"/>
                </a:lnTo>
                <a:lnTo>
                  <a:pt x="112" y="454"/>
                </a:lnTo>
                <a:lnTo>
                  <a:pt x="106" y="458"/>
                </a:lnTo>
                <a:lnTo>
                  <a:pt x="98" y="463"/>
                </a:lnTo>
                <a:lnTo>
                  <a:pt x="83" y="473"/>
                </a:lnTo>
                <a:lnTo>
                  <a:pt x="75" y="478"/>
                </a:lnTo>
                <a:lnTo>
                  <a:pt x="72" y="480"/>
                </a:lnTo>
                <a:lnTo>
                  <a:pt x="68" y="481"/>
                </a:lnTo>
                <a:lnTo>
                  <a:pt x="59" y="484"/>
                </a:lnTo>
                <a:lnTo>
                  <a:pt x="55" y="484"/>
                </a:lnTo>
                <a:lnTo>
                  <a:pt x="51" y="484"/>
                </a:lnTo>
                <a:lnTo>
                  <a:pt x="47" y="483"/>
                </a:lnTo>
                <a:lnTo>
                  <a:pt x="42" y="482"/>
                </a:lnTo>
                <a:lnTo>
                  <a:pt x="38" y="480"/>
                </a:lnTo>
                <a:lnTo>
                  <a:pt x="34" y="478"/>
                </a:lnTo>
                <a:lnTo>
                  <a:pt x="26" y="471"/>
                </a:lnTo>
                <a:lnTo>
                  <a:pt x="22" y="467"/>
                </a:lnTo>
                <a:lnTo>
                  <a:pt x="19" y="463"/>
                </a:lnTo>
                <a:lnTo>
                  <a:pt x="12" y="455"/>
                </a:lnTo>
                <a:lnTo>
                  <a:pt x="10" y="450"/>
                </a:lnTo>
                <a:lnTo>
                  <a:pt x="8" y="446"/>
                </a:lnTo>
                <a:lnTo>
                  <a:pt x="4" y="435"/>
                </a:lnTo>
                <a:lnTo>
                  <a:pt x="3" y="429"/>
                </a:lnTo>
                <a:lnTo>
                  <a:pt x="2" y="424"/>
                </a:lnTo>
                <a:lnTo>
                  <a:pt x="1" y="414"/>
                </a:lnTo>
                <a:lnTo>
                  <a:pt x="0" y="403"/>
                </a:lnTo>
                <a:lnTo>
                  <a:pt x="1" y="392"/>
                </a:lnTo>
                <a:lnTo>
                  <a:pt x="3" y="382"/>
                </a:lnTo>
                <a:lnTo>
                  <a:pt x="6" y="371"/>
                </a:lnTo>
                <a:lnTo>
                  <a:pt x="7" y="366"/>
                </a:lnTo>
                <a:lnTo>
                  <a:pt x="9" y="361"/>
                </a:lnTo>
                <a:lnTo>
                  <a:pt x="14" y="352"/>
                </a:lnTo>
                <a:lnTo>
                  <a:pt x="18" y="348"/>
                </a:lnTo>
                <a:lnTo>
                  <a:pt x="21" y="344"/>
                </a:lnTo>
                <a:lnTo>
                  <a:pt x="27" y="337"/>
                </a:lnTo>
                <a:lnTo>
                  <a:pt x="31" y="334"/>
                </a:lnTo>
                <a:lnTo>
                  <a:pt x="35" y="332"/>
                </a:lnTo>
                <a:close/>
              </a:path>
            </a:pathLst>
          </a:custGeom>
          <a:solidFill>
            <a:schemeClr val="tx1"/>
          </a:solidFill>
          <a:ln w="19050" algn="ctr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lIns="540000" tIns="648000" rIns="86371" bIns="43185" anchor="ctr"/>
          <a:lstStyle/>
          <a:p>
            <a:pPr algn="ctr">
              <a:lnSpc>
                <a:spcPct val="80000"/>
              </a:lnSpc>
              <a:spcBef>
                <a:spcPts val="0"/>
              </a:spcBef>
            </a:pPr>
            <a:endParaRPr lang="en-US" sz="3200" dirty="0">
              <a:solidFill>
                <a:schemeClr val="bg1"/>
              </a:solidFill>
              <a:latin typeface="TeleGrotesk Headline Ultra" pitchFamily="2" charset="0"/>
            </a:endParaRPr>
          </a:p>
        </p:txBody>
      </p:sp>
      <p:sp>
        <p:nvSpPr>
          <p:cNvPr id="14" name="Freeform 6"/>
          <p:cNvSpPr>
            <a:spLocks noChangeAspect="1"/>
          </p:cNvSpPr>
          <p:nvPr/>
        </p:nvSpPr>
        <p:spPr bwMode="auto">
          <a:xfrm>
            <a:off x="3909800" y="1078469"/>
            <a:ext cx="1942703" cy="1833727"/>
          </a:xfrm>
          <a:custGeom>
            <a:avLst/>
            <a:gdLst>
              <a:gd name="T0" fmla="*/ 674 w 674"/>
              <a:gd name="T1" fmla="*/ 196 h 525"/>
              <a:gd name="T2" fmla="*/ 668 w 674"/>
              <a:gd name="T3" fmla="*/ 208 h 525"/>
              <a:gd name="T4" fmla="*/ 661 w 674"/>
              <a:gd name="T5" fmla="*/ 214 h 525"/>
              <a:gd name="T6" fmla="*/ 653 w 674"/>
              <a:gd name="T7" fmla="*/ 215 h 525"/>
              <a:gd name="T8" fmla="*/ 639 w 674"/>
              <a:gd name="T9" fmla="*/ 207 h 525"/>
              <a:gd name="T10" fmla="*/ 609 w 674"/>
              <a:gd name="T11" fmla="*/ 189 h 525"/>
              <a:gd name="T12" fmla="*/ 598 w 674"/>
              <a:gd name="T13" fmla="*/ 184 h 525"/>
              <a:gd name="T14" fmla="*/ 585 w 674"/>
              <a:gd name="T15" fmla="*/ 183 h 525"/>
              <a:gd name="T16" fmla="*/ 571 w 674"/>
              <a:gd name="T17" fmla="*/ 187 h 525"/>
              <a:gd name="T18" fmla="*/ 559 w 674"/>
              <a:gd name="T19" fmla="*/ 195 h 525"/>
              <a:gd name="T20" fmla="*/ 546 w 674"/>
              <a:gd name="T21" fmla="*/ 210 h 525"/>
              <a:gd name="T22" fmla="*/ 538 w 674"/>
              <a:gd name="T23" fmla="*/ 229 h 525"/>
              <a:gd name="T24" fmla="*/ 532 w 674"/>
              <a:gd name="T25" fmla="*/ 255 h 525"/>
              <a:gd name="T26" fmla="*/ 534 w 674"/>
              <a:gd name="T27" fmla="*/ 282 h 525"/>
              <a:gd name="T28" fmla="*/ 542 w 674"/>
              <a:gd name="T29" fmla="*/ 308 h 525"/>
              <a:gd name="T30" fmla="*/ 551 w 674"/>
              <a:gd name="T31" fmla="*/ 321 h 525"/>
              <a:gd name="T32" fmla="*/ 562 w 674"/>
              <a:gd name="T33" fmla="*/ 332 h 525"/>
              <a:gd name="T34" fmla="*/ 574 w 674"/>
              <a:gd name="T35" fmla="*/ 340 h 525"/>
              <a:gd name="T36" fmla="*/ 587 w 674"/>
              <a:gd name="T37" fmla="*/ 342 h 525"/>
              <a:gd name="T38" fmla="*/ 607 w 674"/>
              <a:gd name="T39" fmla="*/ 336 h 525"/>
              <a:gd name="T40" fmla="*/ 630 w 674"/>
              <a:gd name="T41" fmla="*/ 320 h 525"/>
              <a:gd name="T42" fmla="*/ 650 w 674"/>
              <a:gd name="T43" fmla="*/ 309 h 525"/>
              <a:gd name="T44" fmla="*/ 661 w 674"/>
              <a:gd name="T45" fmla="*/ 308 h 525"/>
              <a:gd name="T46" fmla="*/ 668 w 674"/>
              <a:gd name="T47" fmla="*/ 314 h 525"/>
              <a:gd name="T48" fmla="*/ 674 w 674"/>
              <a:gd name="T49" fmla="*/ 328 h 525"/>
              <a:gd name="T50" fmla="*/ 393 w 674"/>
              <a:gd name="T51" fmla="*/ 521 h 525"/>
              <a:gd name="T52" fmla="*/ 384 w 674"/>
              <a:gd name="T53" fmla="*/ 515 h 525"/>
              <a:gd name="T54" fmla="*/ 382 w 674"/>
              <a:gd name="T55" fmla="*/ 507 h 525"/>
              <a:gd name="T56" fmla="*/ 386 w 674"/>
              <a:gd name="T57" fmla="*/ 495 h 525"/>
              <a:gd name="T58" fmla="*/ 400 w 674"/>
              <a:gd name="T59" fmla="*/ 473 h 525"/>
              <a:gd name="T60" fmla="*/ 414 w 674"/>
              <a:gd name="T61" fmla="*/ 450 h 525"/>
              <a:gd name="T62" fmla="*/ 417 w 674"/>
              <a:gd name="T63" fmla="*/ 433 h 525"/>
              <a:gd name="T64" fmla="*/ 413 w 674"/>
              <a:gd name="T65" fmla="*/ 419 h 525"/>
              <a:gd name="T66" fmla="*/ 400 w 674"/>
              <a:gd name="T67" fmla="*/ 404 h 525"/>
              <a:gd name="T68" fmla="*/ 383 w 674"/>
              <a:gd name="T69" fmla="*/ 392 h 525"/>
              <a:gd name="T70" fmla="*/ 362 w 674"/>
              <a:gd name="T71" fmla="*/ 385 h 525"/>
              <a:gd name="T72" fmla="*/ 335 w 674"/>
              <a:gd name="T73" fmla="*/ 383 h 525"/>
              <a:gd name="T74" fmla="*/ 304 w 674"/>
              <a:gd name="T75" fmla="*/ 388 h 525"/>
              <a:gd name="T76" fmla="*/ 285 w 674"/>
              <a:gd name="T77" fmla="*/ 396 h 525"/>
              <a:gd name="T78" fmla="*/ 270 w 674"/>
              <a:gd name="T79" fmla="*/ 409 h 525"/>
              <a:gd name="T80" fmla="*/ 262 w 674"/>
              <a:gd name="T81" fmla="*/ 421 h 525"/>
              <a:gd name="T82" fmla="*/ 258 w 674"/>
              <a:gd name="T83" fmla="*/ 435 h 525"/>
              <a:gd name="T84" fmla="*/ 259 w 674"/>
              <a:gd name="T85" fmla="*/ 448 h 525"/>
              <a:gd name="T86" fmla="*/ 268 w 674"/>
              <a:gd name="T87" fmla="*/ 467 h 525"/>
              <a:gd name="T88" fmla="*/ 282 w 674"/>
              <a:gd name="T89" fmla="*/ 488 h 525"/>
              <a:gd name="T90" fmla="*/ 289 w 674"/>
              <a:gd name="T91" fmla="*/ 504 h 525"/>
              <a:gd name="T92" fmla="*/ 288 w 674"/>
              <a:gd name="T93" fmla="*/ 512 h 525"/>
              <a:gd name="T94" fmla="*/ 282 w 674"/>
              <a:gd name="T95" fmla="*/ 519 h 525"/>
              <a:gd name="T96" fmla="*/ 269 w 674"/>
              <a:gd name="T97" fmla="*/ 525 h 525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674"/>
              <a:gd name="T148" fmla="*/ 0 h 525"/>
              <a:gd name="T149" fmla="*/ 674 w 674"/>
              <a:gd name="T150" fmla="*/ 525 h 525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674" h="525">
                <a:moveTo>
                  <a:pt x="0" y="0"/>
                </a:moveTo>
                <a:lnTo>
                  <a:pt x="674" y="0"/>
                </a:lnTo>
                <a:lnTo>
                  <a:pt x="674" y="196"/>
                </a:lnTo>
                <a:lnTo>
                  <a:pt x="672" y="201"/>
                </a:lnTo>
                <a:lnTo>
                  <a:pt x="670" y="205"/>
                </a:lnTo>
                <a:lnTo>
                  <a:pt x="668" y="208"/>
                </a:lnTo>
                <a:lnTo>
                  <a:pt x="666" y="211"/>
                </a:lnTo>
                <a:lnTo>
                  <a:pt x="664" y="213"/>
                </a:lnTo>
                <a:lnTo>
                  <a:pt x="661" y="214"/>
                </a:lnTo>
                <a:lnTo>
                  <a:pt x="659" y="215"/>
                </a:lnTo>
                <a:lnTo>
                  <a:pt x="656" y="215"/>
                </a:lnTo>
                <a:lnTo>
                  <a:pt x="653" y="215"/>
                </a:lnTo>
                <a:lnTo>
                  <a:pt x="651" y="214"/>
                </a:lnTo>
                <a:lnTo>
                  <a:pt x="645" y="211"/>
                </a:lnTo>
                <a:lnTo>
                  <a:pt x="639" y="207"/>
                </a:lnTo>
                <a:lnTo>
                  <a:pt x="631" y="203"/>
                </a:lnTo>
                <a:lnTo>
                  <a:pt x="617" y="193"/>
                </a:lnTo>
                <a:lnTo>
                  <a:pt x="609" y="189"/>
                </a:lnTo>
                <a:lnTo>
                  <a:pt x="606" y="187"/>
                </a:lnTo>
                <a:lnTo>
                  <a:pt x="602" y="185"/>
                </a:lnTo>
                <a:lnTo>
                  <a:pt x="598" y="184"/>
                </a:lnTo>
                <a:lnTo>
                  <a:pt x="593" y="183"/>
                </a:lnTo>
                <a:lnTo>
                  <a:pt x="589" y="183"/>
                </a:lnTo>
                <a:lnTo>
                  <a:pt x="585" y="183"/>
                </a:lnTo>
                <a:lnTo>
                  <a:pt x="580" y="184"/>
                </a:lnTo>
                <a:lnTo>
                  <a:pt x="576" y="185"/>
                </a:lnTo>
                <a:lnTo>
                  <a:pt x="571" y="187"/>
                </a:lnTo>
                <a:lnTo>
                  <a:pt x="567" y="190"/>
                </a:lnTo>
                <a:lnTo>
                  <a:pt x="563" y="192"/>
                </a:lnTo>
                <a:lnTo>
                  <a:pt x="559" y="195"/>
                </a:lnTo>
                <a:lnTo>
                  <a:pt x="556" y="199"/>
                </a:lnTo>
                <a:lnTo>
                  <a:pt x="553" y="202"/>
                </a:lnTo>
                <a:lnTo>
                  <a:pt x="546" y="210"/>
                </a:lnTo>
                <a:lnTo>
                  <a:pt x="541" y="219"/>
                </a:lnTo>
                <a:lnTo>
                  <a:pt x="539" y="224"/>
                </a:lnTo>
                <a:lnTo>
                  <a:pt x="538" y="229"/>
                </a:lnTo>
                <a:lnTo>
                  <a:pt x="535" y="240"/>
                </a:lnTo>
                <a:lnTo>
                  <a:pt x="533" y="250"/>
                </a:lnTo>
                <a:lnTo>
                  <a:pt x="532" y="255"/>
                </a:lnTo>
                <a:lnTo>
                  <a:pt x="532" y="261"/>
                </a:lnTo>
                <a:lnTo>
                  <a:pt x="532" y="272"/>
                </a:lnTo>
                <a:lnTo>
                  <a:pt x="534" y="282"/>
                </a:lnTo>
                <a:lnTo>
                  <a:pt x="536" y="293"/>
                </a:lnTo>
                <a:lnTo>
                  <a:pt x="540" y="304"/>
                </a:lnTo>
                <a:lnTo>
                  <a:pt x="542" y="308"/>
                </a:lnTo>
                <a:lnTo>
                  <a:pt x="544" y="313"/>
                </a:lnTo>
                <a:lnTo>
                  <a:pt x="547" y="317"/>
                </a:lnTo>
                <a:lnTo>
                  <a:pt x="551" y="321"/>
                </a:lnTo>
                <a:lnTo>
                  <a:pt x="554" y="325"/>
                </a:lnTo>
                <a:lnTo>
                  <a:pt x="558" y="329"/>
                </a:lnTo>
                <a:lnTo>
                  <a:pt x="562" y="332"/>
                </a:lnTo>
                <a:lnTo>
                  <a:pt x="566" y="336"/>
                </a:lnTo>
                <a:lnTo>
                  <a:pt x="570" y="338"/>
                </a:lnTo>
                <a:lnTo>
                  <a:pt x="574" y="340"/>
                </a:lnTo>
                <a:lnTo>
                  <a:pt x="579" y="341"/>
                </a:lnTo>
                <a:lnTo>
                  <a:pt x="583" y="342"/>
                </a:lnTo>
                <a:lnTo>
                  <a:pt x="587" y="342"/>
                </a:lnTo>
                <a:lnTo>
                  <a:pt x="591" y="342"/>
                </a:lnTo>
                <a:lnTo>
                  <a:pt x="600" y="339"/>
                </a:lnTo>
                <a:lnTo>
                  <a:pt x="607" y="336"/>
                </a:lnTo>
                <a:lnTo>
                  <a:pt x="615" y="331"/>
                </a:lnTo>
                <a:lnTo>
                  <a:pt x="623" y="326"/>
                </a:lnTo>
                <a:lnTo>
                  <a:pt x="630" y="320"/>
                </a:lnTo>
                <a:lnTo>
                  <a:pt x="638" y="316"/>
                </a:lnTo>
                <a:lnTo>
                  <a:pt x="644" y="311"/>
                </a:lnTo>
                <a:lnTo>
                  <a:pt x="650" y="309"/>
                </a:lnTo>
                <a:lnTo>
                  <a:pt x="653" y="308"/>
                </a:lnTo>
                <a:lnTo>
                  <a:pt x="656" y="307"/>
                </a:lnTo>
                <a:lnTo>
                  <a:pt x="661" y="308"/>
                </a:lnTo>
                <a:lnTo>
                  <a:pt x="664" y="309"/>
                </a:lnTo>
                <a:lnTo>
                  <a:pt x="666" y="312"/>
                </a:lnTo>
                <a:lnTo>
                  <a:pt x="668" y="314"/>
                </a:lnTo>
                <a:lnTo>
                  <a:pt x="670" y="318"/>
                </a:lnTo>
                <a:lnTo>
                  <a:pt x="672" y="322"/>
                </a:lnTo>
                <a:lnTo>
                  <a:pt x="674" y="328"/>
                </a:lnTo>
                <a:lnTo>
                  <a:pt x="674" y="525"/>
                </a:lnTo>
                <a:lnTo>
                  <a:pt x="403" y="525"/>
                </a:lnTo>
                <a:lnTo>
                  <a:pt x="393" y="521"/>
                </a:lnTo>
                <a:lnTo>
                  <a:pt x="390" y="519"/>
                </a:lnTo>
                <a:lnTo>
                  <a:pt x="387" y="517"/>
                </a:lnTo>
                <a:lnTo>
                  <a:pt x="384" y="515"/>
                </a:lnTo>
                <a:lnTo>
                  <a:pt x="383" y="512"/>
                </a:lnTo>
                <a:lnTo>
                  <a:pt x="382" y="509"/>
                </a:lnTo>
                <a:lnTo>
                  <a:pt x="382" y="507"/>
                </a:lnTo>
                <a:lnTo>
                  <a:pt x="382" y="504"/>
                </a:lnTo>
                <a:lnTo>
                  <a:pt x="383" y="501"/>
                </a:lnTo>
                <a:lnTo>
                  <a:pt x="386" y="495"/>
                </a:lnTo>
                <a:lnTo>
                  <a:pt x="390" y="487"/>
                </a:lnTo>
                <a:lnTo>
                  <a:pt x="395" y="481"/>
                </a:lnTo>
                <a:lnTo>
                  <a:pt x="400" y="473"/>
                </a:lnTo>
                <a:lnTo>
                  <a:pt x="405" y="466"/>
                </a:lnTo>
                <a:lnTo>
                  <a:pt x="410" y="458"/>
                </a:lnTo>
                <a:lnTo>
                  <a:pt x="414" y="450"/>
                </a:lnTo>
                <a:lnTo>
                  <a:pt x="416" y="442"/>
                </a:lnTo>
                <a:lnTo>
                  <a:pt x="417" y="438"/>
                </a:lnTo>
                <a:lnTo>
                  <a:pt x="417" y="433"/>
                </a:lnTo>
                <a:lnTo>
                  <a:pt x="416" y="429"/>
                </a:lnTo>
                <a:lnTo>
                  <a:pt x="415" y="424"/>
                </a:lnTo>
                <a:lnTo>
                  <a:pt x="413" y="419"/>
                </a:lnTo>
                <a:lnTo>
                  <a:pt x="410" y="415"/>
                </a:lnTo>
                <a:lnTo>
                  <a:pt x="404" y="407"/>
                </a:lnTo>
                <a:lnTo>
                  <a:pt x="400" y="404"/>
                </a:lnTo>
                <a:lnTo>
                  <a:pt x="396" y="400"/>
                </a:lnTo>
                <a:lnTo>
                  <a:pt x="388" y="395"/>
                </a:lnTo>
                <a:lnTo>
                  <a:pt x="383" y="392"/>
                </a:lnTo>
                <a:lnTo>
                  <a:pt x="377" y="390"/>
                </a:lnTo>
                <a:lnTo>
                  <a:pt x="367" y="387"/>
                </a:lnTo>
                <a:lnTo>
                  <a:pt x="362" y="385"/>
                </a:lnTo>
                <a:lnTo>
                  <a:pt x="357" y="384"/>
                </a:lnTo>
                <a:lnTo>
                  <a:pt x="346" y="383"/>
                </a:lnTo>
                <a:lnTo>
                  <a:pt x="335" y="383"/>
                </a:lnTo>
                <a:lnTo>
                  <a:pt x="325" y="383"/>
                </a:lnTo>
                <a:lnTo>
                  <a:pt x="314" y="385"/>
                </a:lnTo>
                <a:lnTo>
                  <a:pt x="304" y="388"/>
                </a:lnTo>
                <a:lnTo>
                  <a:pt x="299" y="390"/>
                </a:lnTo>
                <a:lnTo>
                  <a:pt x="294" y="392"/>
                </a:lnTo>
                <a:lnTo>
                  <a:pt x="285" y="396"/>
                </a:lnTo>
                <a:lnTo>
                  <a:pt x="281" y="399"/>
                </a:lnTo>
                <a:lnTo>
                  <a:pt x="277" y="402"/>
                </a:lnTo>
                <a:lnTo>
                  <a:pt x="270" y="409"/>
                </a:lnTo>
                <a:lnTo>
                  <a:pt x="267" y="412"/>
                </a:lnTo>
                <a:lnTo>
                  <a:pt x="264" y="416"/>
                </a:lnTo>
                <a:lnTo>
                  <a:pt x="262" y="421"/>
                </a:lnTo>
                <a:lnTo>
                  <a:pt x="260" y="425"/>
                </a:lnTo>
                <a:lnTo>
                  <a:pt x="259" y="431"/>
                </a:lnTo>
                <a:lnTo>
                  <a:pt x="258" y="435"/>
                </a:lnTo>
                <a:lnTo>
                  <a:pt x="258" y="440"/>
                </a:lnTo>
                <a:lnTo>
                  <a:pt x="258" y="444"/>
                </a:lnTo>
                <a:lnTo>
                  <a:pt x="259" y="448"/>
                </a:lnTo>
                <a:lnTo>
                  <a:pt x="260" y="452"/>
                </a:lnTo>
                <a:lnTo>
                  <a:pt x="263" y="460"/>
                </a:lnTo>
                <a:lnTo>
                  <a:pt x="268" y="467"/>
                </a:lnTo>
                <a:lnTo>
                  <a:pt x="273" y="475"/>
                </a:lnTo>
                <a:lnTo>
                  <a:pt x="277" y="482"/>
                </a:lnTo>
                <a:lnTo>
                  <a:pt x="282" y="488"/>
                </a:lnTo>
                <a:lnTo>
                  <a:pt x="286" y="495"/>
                </a:lnTo>
                <a:lnTo>
                  <a:pt x="288" y="501"/>
                </a:lnTo>
                <a:lnTo>
                  <a:pt x="289" y="504"/>
                </a:lnTo>
                <a:lnTo>
                  <a:pt x="289" y="507"/>
                </a:lnTo>
                <a:lnTo>
                  <a:pt x="289" y="509"/>
                </a:lnTo>
                <a:lnTo>
                  <a:pt x="288" y="512"/>
                </a:lnTo>
                <a:lnTo>
                  <a:pt x="287" y="514"/>
                </a:lnTo>
                <a:lnTo>
                  <a:pt x="285" y="517"/>
                </a:lnTo>
                <a:lnTo>
                  <a:pt x="282" y="519"/>
                </a:lnTo>
                <a:lnTo>
                  <a:pt x="279" y="521"/>
                </a:lnTo>
                <a:lnTo>
                  <a:pt x="274" y="523"/>
                </a:lnTo>
                <a:lnTo>
                  <a:pt x="269" y="525"/>
                </a:lnTo>
                <a:lnTo>
                  <a:pt x="0" y="525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 w="19050" algn="ctr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lIns="0" tIns="43185" rIns="432000" bIns="432000" anchor="ctr"/>
          <a:lstStyle/>
          <a:p>
            <a:pPr algn="ctr">
              <a:lnSpc>
                <a:spcPct val="80000"/>
              </a:lnSpc>
              <a:spcBef>
                <a:spcPts val="0"/>
              </a:spcBef>
            </a:pPr>
            <a:endParaRPr lang="en-US" sz="3200" dirty="0">
              <a:solidFill>
                <a:schemeClr val="bg1"/>
              </a:solidFill>
              <a:latin typeface="TeleGrotesk Headline Ultra" pitchFamily="2" charset="0"/>
            </a:endParaRPr>
          </a:p>
        </p:txBody>
      </p:sp>
      <p:sp>
        <p:nvSpPr>
          <p:cNvPr id="19" name="Freeform 5"/>
          <p:cNvSpPr>
            <a:spLocks noChangeAspect="1"/>
          </p:cNvSpPr>
          <p:nvPr/>
        </p:nvSpPr>
        <p:spPr bwMode="auto">
          <a:xfrm>
            <a:off x="3914207" y="2420343"/>
            <a:ext cx="1942703" cy="2329707"/>
          </a:xfrm>
          <a:custGeom>
            <a:avLst/>
            <a:gdLst>
              <a:gd name="T0" fmla="*/ 275 w 674"/>
              <a:gd name="T1" fmla="*/ 140 h 667"/>
              <a:gd name="T2" fmla="*/ 285 w 674"/>
              <a:gd name="T3" fmla="*/ 134 h 667"/>
              <a:gd name="T4" fmla="*/ 289 w 674"/>
              <a:gd name="T5" fmla="*/ 126 h 667"/>
              <a:gd name="T6" fmla="*/ 289 w 674"/>
              <a:gd name="T7" fmla="*/ 118 h 667"/>
              <a:gd name="T8" fmla="*/ 277 w 674"/>
              <a:gd name="T9" fmla="*/ 99 h 667"/>
              <a:gd name="T10" fmla="*/ 262 w 674"/>
              <a:gd name="T11" fmla="*/ 73 h 667"/>
              <a:gd name="T12" fmla="*/ 258 w 674"/>
              <a:gd name="T13" fmla="*/ 61 h 667"/>
              <a:gd name="T14" fmla="*/ 259 w 674"/>
              <a:gd name="T15" fmla="*/ 48 h 667"/>
              <a:gd name="T16" fmla="*/ 264 w 674"/>
              <a:gd name="T17" fmla="*/ 33 h 667"/>
              <a:gd name="T18" fmla="*/ 273 w 674"/>
              <a:gd name="T19" fmla="*/ 22 h 667"/>
              <a:gd name="T20" fmla="*/ 294 w 674"/>
              <a:gd name="T21" fmla="*/ 9 h 667"/>
              <a:gd name="T22" fmla="*/ 314 w 674"/>
              <a:gd name="T23" fmla="*/ 2 h 667"/>
              <a:gd name="T24" fmla="*/ 346 w 674"/>
              <a:gd name="T25" fmla="*/ 0 h 667"/>
              <a:gd name="T26" fmla="*/ 377 w 674"/>
              <a:gd name="T27" fmla="*/ 7 h 667"/>
              <a:gd name="T28" fmla="*/ 392 w 674"/>
              <a:gd name="T29" fmla="*/ 14 h 667"/>
              <a:gd name="T30" fmla="*/ 404 w 674"/>
              <a:gd name="T31" fmla="*/ 24 h 667"/>
              <a:gd name="T32" fmla="*/ 413 w 674"/>
              <a:gd name="T33" fmla="*/ 37 h 667"/>
              <a:gd name="T34" fmla="*/ 417 w 674"/>
              <a:gd name="T35" fmla="*/ 51 h 667"/>
              <a:gd name="T36" fmla="*/ 414 w 674"/>
              <a:gd name="T37" fmla="*/ 67 h 667"/>
              <a:gd name="T38" fmla="*/ 395 w 674"/>
              <a:gd name="T39" fmla="*/ 98 h 667"/>
              <a:gd name="T40" fmla="*/ 383 w 674"/>
              <a:gd name="T41" fmla="*/ 118 h 667"/>
              <a:gd name="T42" fmla="*/ 382 w 674"/>
              <a:gd name="T43" fmla="*/ 126 h 667"/>
              <a:gd name="T44" fmla="*/ 386 w 674"/>
              <a:gd name="T45" fmla="*/ 134 h 667"/>
              <a:gd name="T46" fmla="*/ 397 w 674"/>
              <a:gd name="T47" fmla="*/ 140 h 667"/>
              <a:gd name="T48" fmla="*/ 674 w 674"/>
              <a:gd name="T49" fmla="*/ 336 h 667"/>
              <a:gd name="T50" fmla="*/ 668 w 674"/>
              <a:gd name="T51" fmla="*/ 350 h 667"/>
              <a:gd name="T52" fmla="*/ 661 w 674"/>
              <a:gd name="T53" fmla="*/ 356 h 667"/>
              <a:gd name="T54" fmla="*/ 653 w 674"/>
              <a:gd name="T55" fmla="*/ 357 h 667"/>
              <a:gd name="T56" fmla="*/ 639 w 674"/>
              <a:gd name="T57" fmla="*/ 350 h 667"/>
              <a:gd name="T58" fmla="*/ 617 w 674"/>
              <a:gd name="T59" fmla="*/ 335 h 667"/>
              <a:gd name="T60" fmla="*/ 597 w 674"/>
              <a:gd name="T61" fmla="*/ 326 h 667"/>
              <a:gd name="T62" fmla="*/ 585 w 674"/>
              <a:gd name="T63" fmla="*/ 325 h 667"/>
              <a:gd name="T64" fmla="*/ 571 w 674"/>
              <a:gd name="T65" fmla="*/ 329 h 667"/>
              <a:gd name="T66" fmla="*/ 559 w 674"/>
              <a:gd name="T67" fmla="*/ 337 h 667"/>
              <a:gd name="T68" fmla="*/ 546 w 674"/>
              <a:gd name="T69" fmla="*/ 352 h 667"/>
              <a:gd name="T70" fmla="*/ 537 w 674"/>
              <a:gd name="T71" fmla="*/ 371 h 667"/>
              <a:gd name="T72" fmla="*/ 532 w 674"/>
              <a:gd name="T73" fmla="*/ 397 h 667"/>
              <a:gd name="T74" fmla="*/ 533 w 674"/>
              <a:gd name="T75" fmla="*/ 424 h 667"/>
              <a:gd name="T76" fmla="*/ 541 w 674"/>
              <a:gd name="T77" fmla="*/ 450 h 667"/>
              <a:gd name="T78" fmla="*/ 550 w 674"/>
              <a:gd name="T79" fmla="*/ 463 h 667"/>
              <a:gd name="T80" fmla="*/ 561 w 674"/>
              <a:gd name="T81" fmla="*/ 475 h 667"/>
              <a:gd name="T82" fmla="*/ 574 w 674"/>
              <a:gd name="T83" fmla="*/ 482 h 667"/>
              <a:gd name="T84" fmla="*/ 587 w 674"/>
              <a:gd name="T85" fmla="*/ 484 h 667"/>
              <a:gd name="T86" fmla="*/ 603 w 674"/>
              <a:gd name="T87" fmla="*/ 480 h 667"/>
              <a:gd name="T88" fmla="*/ 630 w 674"/>
              <a:gd name="T89" fmla="*/ 462 h 667"/>
              <a:gd name="T90" fmla="*/ 647 w 674"/>
              <a:gd name="T91" fmla="*/ 452 h 667"/>
              <a:gd name="T92" fmla="*/ 656 w 674"/>
              <a:gd name="T93" fmla="*/ 449 h 667"/>
              <a:gd name="T94" fmla="*/ 664 w 674"/>
              <a:gd name="T95" fmla="*/ 452 h 667"/>
              <a:gd name="T96" fmla="*/ 671 w 674"/>
              <a:gd name="T97" fmla="*/ 461 h 667"/>
              <a:gd name="T98" fmla="*/ 674 w 674"/>
              <a:gd name="T99" fmla="*/ 667 h 667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w 674"/>
              <a:gd name="T151" fmla="*/ 0 h 667"/>
              <a:gd name="T152" fmla="*/ 674 w 674"/>
              <a:gd name="T153" fmla="*/ 667 h 667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T150" t="T151" r="T152" b="T153"/>
            <a:pathLst>
              <a:path w="674" h="667">
                <a:moveTo>
                  <a:pt x="0" y="142"/>
                </a:moveTo>
                <a:lnTo>
                  <a:pt x="270" y="142"/>
                </a:lnTo>
                <a:lnTo>
                  <a:pt x="275" y="140"/>
                </a:lnTo>
                <a:lnTo>
                  <a:pt x="279" y="138"/>
                </a:lnTo>
                <a:lnTo>
                  <a:pt x="283" y="136"/>
                </a:lnTo>
                <a:lnTo>
                  <a:pt x="285" y="134"/>
                </a:lnTo>
                <a:lnTo>
                  <a:pt x="287" y="131"/>
                </a:lnTo>
                <a:lnTo>
                  <a:pt x="289" y="129"/>
                </a:lnTo>
                <a:lnTo>
                  <a:pt x="289" y="126"/>
                </a:lnTo>
                <a:lnTo>
                  <a:pt x="290" y="124"/>
                </a:lnTo>
                <a:lnTo>
                  <a:pt x="289" y="121"/>
                </a:lnTo>
                <a:lnTo>
                  <a:pt x="289" y="118"/>
                </a:lnTo>
                <a:lnTo>
                  <a:pt x="286" y="113"/>
                </a:lnTo>
                <a:lnTo>
                  <a:pt x="282" y="105"/>
                </a:lnTo>
                <a:lnTo>
                  <a:pt x="277" y="99"/>
                </a:lnTo>
                <a:lnTo>
                  <a:pt x="268" y="85"/>
                </a:lnTo>
                <a:lnTo>
                  <a:pt x="263" y="77"/>
                </a:lnTo>
                <a:lnTo>
                  <a:pt x="262" y="73"/>
                </a:lnTo>
                <a:lnTo>
                  <a:pt x="260" y="69"/>
                </a:lnTo>
                <a:lnTo>
                  <a:pt x="259" y="65"/>
                </a:lnTo>
                <a:lnTo>
                  <a:pt x="258" y="61"/>
                </a:lnTo>
                <a:lnTo>
                  <a:pt x="258" y="57"/>
                </a:lnTo>
                <a:lnTo>
                  <a:pt x="258" y="52"/>
                </a:lnTo>
                <a:lnTo>
                  <a:pt x="259" y="48"/>
                </a:lnTo>
                <a:lnTo>
                  <a:pt x="260" y="43"/>
                </a:lnTo>
                <a:lnTo>
                  <a:pt x="262" y="38"/>
                </a:lnTo>
                <a:lnTo>
                  <a:pt x="264" y="33"/>
                </a:lnTo>
                <a:lnTo>
                  <a:pt x="267" y="29"/>
                </a:lnTo>
                <a:lnTo>
                  <a:pt x="270" y="26"/>
                </a:lnTo>
                <a:lnTo>
                  <a:pt x="273" y="22"/>
                </a:lnTo>
                <a:lnTo>
                  <a:pt x="277" y="19"/>
                </a:lnTo>
                <a:lnTo>
                  <a:pt x="285" y="14"/>
                </a:lnTo>
                <a:lnTo>
                  <a:pt x="294" y="9"/>
                </a:lnTo>
                <a:lnTo>
                  <a:pt x="299" y="7"/>
                </a:lnTo>
                <a:lnTo>
                  <a:pt x="304" y="5"/>
                </a:lnTo>
                <a:lnTo>
                  <a:pt x="314" y="2"/>
                </a:lnTo>
                <a:lnTo>
                  <a:pt x="325" y="1"/>
                </a:lnTo>
                <a:lnTo>
                  <a:pt x="335" y="0"/>
                </a:lnTo>
                <a:lnTo>
                  <a:pt x="346" y="0"/>
                </a:lnTo>
                <a:lnTo>
                  <a:pt x="357" y="1"/>
                </a:lnTo>
                <a:lnTo>
                  <a:pt x="367" y="4"/>
                </a:lnTo>
                <a:lnTo>
                  <a:pt x="377" y="7"/>
                </a:lnTo>
                <a:lnTo>
                  <a:pt x="383" y="9"/>
                </a:lnTo>
                <a:lnTo>
                  <a:pt x="388" y="12"/>
                </a:lnTo>
                <a:lnTo>
                  <a:pt x="392" y="14"/>
                </a:lnTo>
                <a:lnTo>
                  <a:pt x="396" y="17"/>
                </a:lnTo>
                <a:lnTo>
                  <a:pt x="400" y="21"/>
                </a:lnTo>
                <a:lnTo>
                  <a:pt x="404" y="24"/>
                </a:lnTo>
                <a:lnTo>
                  <a:pt x="407" y="28"/>
                </a:lnTo>
                <a:lnTo>
                  <a:pt x="410" y="32"/>
                </a:lnTo>
                <a:lnTo>
                  <a:pt x="413" y="37"/>
                </a:lnTo>
                <a:lnTo>
                  <a:pt x="415" y="41"/>
                </a:lnTo>
                <a:lnTo>
                  <a:pt x="416" y="46"/>
                </a:lnTo>
                <a:lnTo>
                  <a:pt x="417" y="51"/>
                </a:lnTo>
                <a:lnTo>
                  <a:pt x="417" y="55"/>
                </a:lnTo>
                <a:lnTo>
                  <a:pt x="416" y="59"/>
                </a:lnTo>
                <a:lnTo>
                  <a:pt x="414" y="67"/>
                </a:lnTo>
                <a:lnTo>
                  <a:pt x="410" y="75"/>
                </a:lnTo>
                <a:lnTo>
                  <a:pt x="406" y="83"/>
                </a:lnTo>
                <a:lnTo>
                  <a:pt x="395" y="98"/>
                </a:lnTo>
                <a:lnTo>
                  <a:pt x="390" y="104"/>
                </a:lnTo>
                <a:lnTo>
                  <a:pt x="386" y="112"/>
                </a:lnTo>
                <a:lnTo>
                  <a:pt x="383" y="118"/>
                </a:lnTo>
                <a:lnTo>
                  <a:pt x="382" y="121"/>
                </a:lnTo>
                <a:lnTo>
                  <a:pt x="382" y="124"/>
                </a:lnTo>
                <a:lnTo>
                  <a:pt x="382" y="126"/>
                </a:lnTo>
                <a:lnTo>
                  <a:pt x="383" y="129"/>
                </a:lnTo>
                <a:lnTo>
                  <a:pt x="384" y="132"/>
                </a:lnTo>
                <a:lnTo>
                  <a:pt x="386" y="134"/>
                </a:lnTo>
                <a:lnTo>
                  <a:pt x="389" y="136"/>
                </a:lnTo>
                <a:lnTo>
                  <a:pt x="393" y="138"/>
                </a:lnTo>
                <a:lnTo>
                  <a:pt x="397" y="140"/>
                </a:lnTo>
                <a:lnTo>
                  <a:pt x="403" y="142"/>
                </a:lnTo>
                <a:lnTo>
                  <a:pt x="674" y="142"/>
                </a:lnTo>
                <a:lnTo>
                  <a:pt x="674" y="336"/>
                </a:lnTo>
                <a:lnTo>
                  <a:pt x="672" y="342"/>
                </a:lnTo>
                <a:lnTo>
                  <a:pt x="670" y="346"/>
                </a:lnTo>
                <a:lnTo>
                  <a:pt x="668" y="350"/>
                </a:lnTo>
                <a:lnTo>
                  <a:pt x="666" y="352"/>
                </a:lnTo>
                <a:lnTo>
                  <a:pt x="664" y="355"/>
                </a:lnTo>
                <a:lnTo>
                  <a:pt x="661" y="356"/>
                </a:lnTo>
                <a:lnTo>
                  <a:pt x="659" y="357"/>
                </a:lnTo>
                <a:lnTo>
                  <a:pt x="656" y="357"/>
                </a:lnTo>
                <a:lnTo>
                  <a:pt x="653" y="357"/>
                </a:lnTo>
                <a:lnTo>
                  <a:pt x="651" y="356"/>
                </a:lnTo>
                <a:lnTo>
                  <a:pt x="645" y="353"/>
                </a:lnTo>
                <a:lnTo>
                  <a:pt x="639" y="350"/>
                </a:lnTo>
                <a:lnTo>
                  <a:pt x="631" y="345"/>
                </a:lnTo>
                <a:lnTo>
                  <a:pt x="624" y="340"/>
                </a:lnTo>
                <a:lnTo>
                  <a:pt x="617" y="335"/>
                </a:lnTo>
                <a:lnTo>
                  <a:pt x="609" y="331"/>
                </a:lnTo>
                <a:lnTo>
                  <a:pt x="601" y="328"/>
                </a:lnTo>
                <a:lnTo>
                  <a:pt x="597" y="326"/>
                </a:lnTo>
                <a:lnTo>
                  <a:pt x="593" y="325"/>
                </a:lnTo>
                <a:lnTo>
                  <a:pt x="589" y="325"/>
                </a:lnTo>
                <a:lnTo>
                  <a:pt x="585" y="325"/>
                </a:lnTo>
                <a:lnTo>
                  <a:pt x="580" y="326"/>
                </a:lnTo>
                <a:lnTo>
                  <a:pt x="576" y="327"/>
                </a:lnTo>
                <a:lnTo>
                  <a:pt x="571" y="329"/>
                </a:lnTo>
                <a:lnTo>
                  <a:pt x="566" y="332"/>
                </a:lnTo>
                <a:lnTo>
                  <a:pt x="562" y="334"/>
                </a:lnTo>
                <a:lnTo>
                  <a:pt x="559" y="337"/>
                </a:lnTo>
                <a:lnTo>
                  <a:pt x="555" y="341"/>
                </a:lnTo>
                <a:lnTo>
                  <a:pt x="552" y="344"/>
                </a:lnTo>
                <a:lnTo>
                  <a:pt x="546" y="352"/>
                </a:lnTo>
                <a:lnTo>
                  <a:pt x="541" y="361"/>
                </a:lnTo>
                <a:lnTo>
                  <a:pt x="539" y="366"/>
                </a:lnTo>
                <a:lnTo>
                  <a:pt x="537" y="371"/>
                </a:lnTo>
                <a:lnTo>
                  <a:pt x="534" y="382"/>
                </a:lnTo>
                <a:lnTo>
                  <a:pt x="533" y="392"/>
                </a:lnTo>
                <a:lnTo>
                  <a:pt x="532" y="397"/>
                </a:lnTo>
                <a:lnTo>
                  <a:pt x="532" y="403"/>
                </a:lnTo>
                <a:lnTo>
                  <a:pt x="532" y="414"/>
                </a:lnTo>
                <a:lnTo>
                  <a:pt x="533" y="424"/>
                </a:lnTo>
                <a:lnTo>
                  <a:pt x="536" y="435"/>
                </a:lnTo>
                <a:lnTo>
                  <a:pt x="539" y="446"/>
                </a:lnTo>
                <a:lnTo>
                  <a:pt x="541" y="450"/>
                </a:lnTo>
                <a:lnTo>
                  <a:pt x="544" y="455"/>
                </a:lnTo>
                <a:lnTo>
                  <a:pt x="546" y="459"/>
                </a:lnTo>
                <a:lnTo>
                  <a:pt x="550" y="463"/>
                </a:lnTo>
                <a:lnTo>
                  <a:pt x="554" y="467"/>
                </a:lnTo>
                <a:lnTo>
                  <a:pt x="557" y="471"/>
                </a:lnTo>
                <a:lnTo>
                  <a:pt x="561" y="475"/>
                </a:lnTo>
                <a:lnTo>
                  <a:pt x="565" y="478"/>
                </a:lnTo>
                <a:lnTo>
                  <a:pt x="570" y="480"/>
                </a:lnTo>
                <a:lnTo>
                  <a:pt x="574" y="482"/>
                </a:lnTo>
                <a:lnTo>
                  <a:pt x="578" y="483"/>
                </a:lnTo>
                <a:lnTo>
                  <a:pt x="583" y="484"/>
                </a:lnTo>
                <a:lnTo>
                  <a:pt x="587" y="484"/>
                </a:lnTo>
                <a:lnTo>
                  <a:pt x="591" y="484"/>
                </a:lnTo>
                <a:lnTo>
                  <a:pt x="599" y="481"/>
                </a:lnTo>
                <a:lnTo>
                  <a:pt x="603" y="480"/>
                </a:lnTo>
                <a:lnTo>
                  <a:pt x="607" y="477"/>
                </a:lnTo>
                <a:lnTo>
                  <a:pt x="615" y="473"/>
                </a:lnTo>
                <a:lnTo>
                  <a:pt x="630" y="462"/>
                </a:lnTo>
                <a:lnTo>
                  <a:pt x="638" y="457"/>
                </a:lnTo>
                <a:lnTo>
                  <a:pt x="644" y="453"/>
                </a:lnTo>
                <a:lnTo>
                  <a:pt x="647" y="452"/>
                </a:lnTo>
                <a:lnTo>
                  <a:pt x="650" y="450"/>
                </a:lnTo>
                <a:lnTo>
                  <a:pt x="653" y="450"/>
                </a:lnTo>
                <a:lnTo>
                  <a:pt x="656" y="449"/>
                </a:lnTo>
                <a:lnTo>
                  <a:pt x="659" y="450"/>
                </a:lnTo>
                <a:lnTo>
                  <a:pt x="661" y="450"/>
                </a:lnTo>
                <a:lnTo>
                  <a:pt x="664" y="452"/>
                </a:lnTo>
                <a:lnTo>
                  <a:pt x="666" y="454"/>
                </a:lnTo>
                <a:lnTo>
                  <a:pt x="668" y="457"/>
                </a:lnTo>
                <a:lnTo>
                  <a:pt x="671" y="461"/>
                </a:lnTo>
                <a:lnTo>
                  <a:pt x="673" y="465"/>
                </a:lnTo>
                <a:lnTo>
                  <a:pt x="674" y="471"/>
                </a:lnTo>
                <a:lnTo>
                  <a:pt x="674" y="667"/>
                </a:lnTo>
                <a:lnTo>
                  <a:pt x="0" y="667"/>
                </a:lnTo>
                <a:lnTo>
                  <a:pt x="0" y="142"/>
                </a:lnTo>
                <a:close/>
              </a:path>
            </a:pathLst>
          </a:custGeom>
          <a:solidFill>
            <a:schemeClr val="tx1"/>
          </a:solidFill>
          <a:ln w="19050" algn="ctr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lIns="0" tIns="648000" rIns="432000" bIns="43185" anchor="ctr"/>
          <a:lstStyle/>
          <a:p>
            <a:pPr algn="ctr">
              <a:lnSpc>
                <a:spcPct val="80000"/>
              </a:lnSpc>
              <a:spcBef>
                <a:spcPts val="0"/>
              </a:spcBef>
            </a:pPr>
            <a:endParaRPr lang="en-US" sz="3200" dirty="0">
              <a:solidFill>
                <a:schemeClr val="bg1"/>
              </a:solidFill>
              <a:latin typeface="TeleGrotesk Headline Ultra" pitchFamily="2" charset="0"/>
            </a:endParaRPr>
          </a:p>
        </p:txBody>
      </p:sp>
      <p:sp>
        <p:nvSpPr>
          <p:cNvPr id="15" name="Freeform 7"/>
          <p:cNvSpPr>
            <a:spLocks noChangeAspect="1"/>
          </p:cNvSpPr>
          <p:nvPr/>
        </p:nvSpPr>
        <p:spPr bwMode="auto">
          <a:xfrm>
            <a:off x="6359575" y="419867"/>
            <a:ext cx="2369291" cy="1833727"/>
          </a:xfrm>
          <a:custGeom>
            <a:avLst/>
            <a:gdLst>
              <a:gd name="T0" fmla="*/ 542 w 822"/>
              <a:gd name="T1" fmla="*/ 522 h 525"/>
              <a:gd name="T2" fmla="*/ 530 w 822"/>
              <a:gd name="T3" fmla="*/ 515 h 525"/>
              <a:gd name="T4" fmla="*/ 527 w 822"/>
              <a:gd name="T5" fmla="*/ 506 h 525"/>
              <a:gd name="T6" fmla="*/ 534 w 822"/>
              <a:gd name="T7" fmla="*/ 489 h 525"/>
              <a:gd name="T8" fmla="*/ 555 w 822"/>
              <a:gd name="T9" fmla="*/ 458 h 525"/>
              <a:gd name="T10" fmla="*/ 561 w 822"/>
              <a:gd name="T11" fmla="*/ 442 h 525"/>
              <a:gd name="T12" fmla="*/ 560 w 822"/>
              <a:gd name="T13" fmla="*/ 425 h 525"/>
              <a:gd name="T14" fmla="*/ 556 w 822"/>
              <a:gd name="T15" fmla="*/ 416 h 525"/>
              <a:gd name="T16" fmla="*/ 548 w 822"/>
              <a:gd name="T17" fmla="*/ 405 h 525"/>
              <a:gd name="T18" fmla="*/ 531 w 822"/>
              <a:gd name="T19" fmla="*/ 393 h 525"/>
              <a:gd name="T20" fmla="*/ 515 w 822"/>
              <a:gd name="T21" fmla="*/ 387 h 525"/>
              <a:gd name="T22" fmla="*/ 492 w 822"/>
              <a:gd name="T23" fmla="*/ 383 h 525"/>
              <a:gd name="T24" fmla="*/ 457 w 822"/>
              <a:gd name="T25" fmla="*/ 385 h 525"/>
              <a:gd name="T26" fmla="*/ 434 w 822"/>
              <a:gd name="T27" fmla="*/ 393 h 525"/>
              <a:gd name="T28" fmla="*/ 420 w 822"/>
              <a:gd name="T29" fmla="*/ 403 h 525"/>
              <a:gd name="T30" fmla="*/ 409 w 822"/>
              <a:gd name="T31" fmla="*/ 416 h 525"/>
              <a:gd name="T32" fmla="*/ 403 w 822"/>
              <a:gd name="T33" fmla="*/ 431 h 525"/>
              <a:gd name="T34" fmla="*/ 403 w 822"/>
              <a:gd name="T35" fmla="*/ 444 h 525"/>
              <a:gd name="T36" fmla="*/ 408 w 822"/>
              <a:gd name="T37" fmla="*/ 460 h 525"/>
              <a:gd name="T38" fmla="*/ 422 w 822"/>
              <a:gd name="T39" fmla="*/ 482 h 525"/>
              <a:gd name="T40" fmla="*/ 433 w 822"/>
              <a:gd name="T41" fmla="*/ 501 h 525"/>
              <a:gd name="T42" fmla="*/ 434 w 822"/>
              <a:gd name="T43" fmla="*/ 509 h 525"/>
              <a:gd name="T44" fmla="*/ 430 w 822"/>
              <a:gd name="T45" fmla="*/ 517 h 525"/>
              <a:gd name="T46" fmla="*/ 419 w 822"/>
              <a:gd name="T47" fmla="*/ 523 h 525"/>
              <a:gd name="T48" fmla="*/ 142 w 822"/>
              <a:gd name="T49" fmla="*/ 327 h 525"/>
              <a:gd name="T50" fmla="*/ 132 w 822"/>
              <a:gd name="T51" fmla="*/ 309 h 525"/>
              <a:gd name="T52" fmla="*/ 124 w 822"/>
              <a:gd name="T53" fmla="*/ 307 h 525"/>
              <a:gd name="T54" fmla="*/ 112 w 822"/>
              <a:gd name="T55" fmla="*/ 312 h 525"/>
              <a:gd name="T56" fmla="*/ 83 w 822"/>
              <a:gd name="T57" fmla="*/ 331 h 525"/>
              <a:gd name="T58" fmla="*/ 72 w 822"/>
              <a:gd name="T59" fmla="*/ 338 h 525"/>
              <a:gd name="T60" fmla="*/ 55 w 822"/>
              <a:gd name="T61" fmla="*/ 342 h 525"/>
              <a:gd name="T62" fmla="*/ 43 w 822"/>
              <a:gd name="T63" fmla="*/ 340 h 525"/>
              <a:gd name="T64" fmla="*/ 26 w 822"/>
              <a:gd name="T65" fmla="*/ 329 h 525"/>
              <a:gd name="T66" fmla="*/ 12 w 822"/>
              <a:gd name="T67" fmla="*/ 313 h 525"/>
              <a:gd name="T68" fmla="*/ 4 w 822"/>
              <a:gd name="T69" fmla="*/ 293 h 525"/>
              <a:gd name="T70" fmla="*/ 1 w 822"/>
              <a:gd name="T71" fmla="*/ 272 h 525"/>
              <a:gd name="T72" fmla="*/ 3 w 822"/>
              <a:gd name="T73" fmla="*/ 240 h 525"/>
              <a:gd name="T74" fmla="*/ 10 w 822"/>
              <a:gd name="T75" fmla="*/ 219 h 525"/>
              <a:gd name="T76" fmla="*/ 21 w 822"/>
              <a:gd name="T77" fmla="*/ 202 h 525"/>
              <a:gd name="T78" fmla="*/ 35 w 822"/>
              <a:gd name="T79" fmla="*/ 190 h 525"/>
              <a:gd name="T80" fmla="*/ 49 w 822"/>
              <a:gd name="T81" fmla="*/ 184 h 525"/>
              <a:gd name="T82" fmla="*/ 61 w 822"/>
              <a:gd name="T83" fmla="*/ 183 h 525"/>
              <a:gd name="T84" fmla="*/ 78 w 822"/>
              <a:gd name="T85" fmla="*/ 189 h 525"/>
              <a:gd name="T86" fmla="*/ 99 w 822"/>
              <a:gd name="T87" fmla="*/ 203 h 525"/>
              <a:gd name="T88" fmla="*/ 119 w 822"/>
              <a:gd name="T89" fmla="*/ 214 h 525"/>
              <a:gd name="T90" fmla="*/ 127 w 822"/>
              <a:gd name="T91" fmla="*/ 215 h 525"/>
              <a:gd name="T92" fmla="*/ 134 w 822"/>
              <a:gd name="T93" fmla="*/ 211 h 525"/>
              <a:gd name="T94" fmla="*/ 142 w 822"/>
              <a:gd name="T95" fmla="*/ 196 h 525"/>
              <a:gd name="T96" fmla="*/ 822 w 822"/>
              <a:gd name="T97" fmla="*/ 525 h 525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822"/>
              <a:gd name="T148" fmla="*/ 0 h 525"/>
              <a:gd name="T149" fmla="*/ 822 w 822"/>
              <a:gd name="T150" fmla="*/ 525 h 525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822" h="525">
                <a:moveTo>
                  <a:pt x="822" y="525"/>
                </a:moveTo>
                <a:lnTo>
                  <a:pt x="549" y="525"/>
                </a:lnTo>
                <a:lnTo>
                  <a:pt x="542" y="522"/>
                </a:lnTo>
                <a:lnTo>
                  <a:pt x="536" y="520"/>
                </a:lnTo>
                <a:lnTo>
                  <a:pt x="532" y="516"/>
                </a:lnTo>
                <a:lnTo>
                  <a:pt x="530" y="515"/>
                </a:lnTo>
                <a:lnTo>
                  <a:pt x="529" y="513"/>
                </a:lnTo>
                <a:lnTo>
                  <a:pt x="528" y="510"/>
                </a:lnTo>
                <a:lnTo>
                  <a:pt x="527" y="506"/>
                </a:lnTo>
                <a:lnTo>
                  <a:pt x="528" y="502"/>
                </a:lnTo>
                <a:lnTo>
                  <a:pt x="529" y="498"/>
                </a:lnTo>
                <a:lnTo>
                  <a:pt x="534" y="489"/>
                </a:lnTo>
                <a:lnTo>
                  <a:pt x="540" y="479"/>
                </a:lnTo>
                <a:lnTo>
                  <a:pt x="550" y="466"/>
                </a:lnTo>
                <a:lnTo>
                  <a:pt x="555" y="458"/>
                </a:lnTo>
                <a:lnTo>
                  <a:pt x="558" y="451"/>
                </a:lnTo>
                <a:lnTo>
                  <a:pt x="560" y="445"/>
                </a:lnTo>
                <a:lnTo>
                  <a:pt x="561" y="442"/>
                </a:lnTo>
                <a:lnTo>
                  <a:pt x="561" y="438"/>
                </a:lnTo>
                <a:lnTo>
                  <a:pt x="561" y="432"/>
                </a:lnTo>
                <a:lnTo>
                  <a:pt x="560" y="425"/>
                </a:lnTo>
                <a:lnTo>
                  <a:pt x="559" y="422"/>
                </a:lnTo>
                <a:lnTo>
                  <a:pt x="558" y="420"/>
                </a:lnTo>
                <a:lnTo>
                  <a:pt x="556" y="416"/>
                </a:lnTo>
                <a:lnTo>
                  <a:pt x="554" y="412"/>
                </a:lnTo>
                <a:lnTo>
                  <a:pt x="551" y="408"/>
                </a:lnTo>
                <a:lnTo>
                  <a:pt x="548" y="405"/>
                </a:lnTo>
                <a:lnTo>
                  <a:pt x="544" y="402"/>
                </a:lnTo>
                <a:lnTo>
                  <a:pt x="536" y="396"/>
                </a:lnTo>
                <a:lnTo>
                  <a:pt x="531" y="393"/>
                </a:lnTo>
                <a:lnTo>
                  <a:pt x="527" y="391"/>
                </a:lnTo>
                <a:lnTo>
                  <a:pt x="520" y="389"/>
                </a:lnTo>
                <a:lnTo>
                  <a:pt x="515" y="387"/>
                </a:lnTo>
                <a:lnTo>
                  <a:pt x="504" y="384"/>
                </a:lnTo>
                <a:lnTo>
                  <a:pt x="498" y="383"/>
                </a:lnTo>
                <a:lnTo>
                  <a:pt x="492" y="383"/>
                </a:lnTo>
                <a:lnTo>
                  <a:pt x="480" y="382"/>
                </a:lnTo>
                <a:lnTo>
                  <a:pt x="468" y="383"/>
                </a:lnTo>
                <a:lnTo>
                  <a:pt x="457" y="385"/>
                </a:lnTo>
                <a:lnTo>
                  <a:pt x="445" y="388"/>
                </a:lnTo>
                <a:lnTo>
                  <a:pt x="439" y="391"/>
                </a:lnTo>
                <a:lnTo>
                  <a:pt x="434" y="393"/>
                </a:lnTo>
                <a:lnTo>
                  <a:pt x="429" y="396"/>
                </a:lnTo>
                <a:lnTo>
                  <a:pt x="424" y="399"/>
                </a:lnTo>
                <a:lnTo>
                  <a:pt x="420" y="403"/>
                </a:lnTo>
                <a:lnTo>
                  <a:pt x="416" y="407"/>
                </a:lnTo>
                <a:lnTo>
                  <a:pt x="412" y="411"/>
                </a:lnTo>
                <a:lnTo>
                  <a:pt x="409" y="416"/>
                </a:lnTo>
                <a:lnTo>
                  <a:pt x="406" y="420"/>
                </a:lnTo>
                <a:lnTo>
                  <a:pt x="404" y="425"/>
                </a:lnTo>
                <a:lnTo>
                  <a:pt x="403" y="431"/>
                </a:lnTo>
                <a:lnTo>
                  <a:pt x="402" y="435"/>
                </a:lnTo>
                <a:lnTo>
                  <a:pt x="402" y="439"/>
                </a:lnTo>
                <a:lnTo>
                  <a:pt x="403" y="444"/>
                </a:lnTo>
                <a:lnTo>
                  <a:pt x="404" y="448"/>
                </a:lnTo>
                <a:lnTo>
                  <a:pt x="405" y="452"/>
                </a:lnTo>
                <a:lnTo>
                  <a:pt x="408" y="460"/>
                </a:lnTo>
                <a:lnTo>
                  <a:pt x="412" y="468"/>
                </a:lnTo>
                <a:lnTo>
                  <a:pt x="417" y="475"/>
                </a:lnTo>
                <a:lnTo>
                  <a:pt x="422" y="482"/>
                </a:lnTo>
                <a:lnTo>
                  <a:pt x="427" y="488"/>
                </a:lnTo>
                <a:lnTo>
                  <a:pt x="431" y="495"/>
                </a:lnTo>
                <a:lnTo>
                  <a:pt x="433" y="501"/>
                </a:lnTo>
                <a:lnTo>
                  <a:pt x="434" y="504"/>
                </a:lnTo>
                <a:lnTo>
                  <a:pt x="434" y="507"/>
                </a:lnTo>
                <a:lnTo>
                  <a:pt x="434" y="509"/>
                </a:lnTo>
                <a:lnTo>
                  <a:pt x="433" y="512"/>
                </a:lnTo>
                <a:lnTo>
                  <a:pt x="432" y="514"/>
                </a:lnTo>
                <a:lnTo>
                  <a:pt x="430" y="517"/>
                </a:lnTo>
                <a:lnTo>
                  <a:pt x="427" y="519"/>
                </a:lnTo>
                <a:lnTo>
                  <a:pt x="423" y="521"/>
                </a:lnTo>
                <a:lnTo>
                  <a:pt x="419" y="523"/>
                </a:lnTo>
                <a:lnTo>
                  <a:pt x="413" y="525"/>
                </a:lnTo>
                <a:lnTo>
                  <a:pt x="142" y="525"/>
                </a:lnTo>
                <a:lnTo>
                  <a:pt x="142" y="327"/>
                </a:lnTo>
                <a:lnTo>
                  <a:pt x="138" y="317"/>
                </a:lnTo>
                <a:lnTo>
                  <a:pt x="134" y="311"/>
                </a:lnTo>
                <a:lnTo>
                  <a:pt x="132" y="309"/>
                </a:lnTo>
                <a:lnTo>
                  <a:pt x="129" y="308"/>
                </a:lnTo>
                <a:lnTo>
                  <a:pt x="127" y="307"/>
                </a:lnTo>
                <a:lnTo>
                  <a:pt x="124" y="307"/>
                </a:lnTo>
                <a:lnTo>
                  <a:pt x="121" y="308"/>
                </a:lnTo>
                <a:lnTo>
                  <a:pt x="118" y="309"/>
                </a:lnTo>
                <a:lnTo>
                  <a:pt x="112" y="312"/>
                </a:lnTo>
                <a:lnTo>
                  <a:pt x="106" y="316"/>
                </a:lnTo>
                <a:lnTo>
                  <a:pt x="98" y="321"/>
                </a:lnTo>
                <a:lnTo>
                  <a:pt x="83" y="331"/>
                </a:lnTo>
                <a:lnTo>
                  <a:pt x="79" y="333"/>
                </a:lnTo>
                <a:lnTo>
                  <a:pt x="76" y="336"/>
                </a:lnTo>
                <a:lnTo>
                  <a:pt x="72" y="338"/>
                </a:lnTo>
                <a:lnTo>
                  <a:pt x="68" y="339"/>
                </a:lnTo>
                <a:lnTo>
                  <a:pt x="59" y="342"/>
                </a:lnTo>
                <a:lnTo>
                  <a:pt x="55" y="342"/>
                </a:lnTo>
                <a:lnTo>
                  <a:pt x="51" y="342"/>
                </a:lnTo>
                <a:lnTo>
                  <a:pt x="47" y="341"/>
                </a:lnTo>
                <a:lnTo>
                  <a:pt x="43" y="340"/>
                </a:lnTo>
                <a:lnTo>
                  <a:pt x="38" y="338"/>
                </a:lnTo>
                <a:lnTo>
                  <a:pt x="34" y="336"/>
                </a:lnTo>
                <a:lnTo>
                  <a:pt x="26" y="329"/>
                </a:lnTo>
                <a:lnTo>
                  <a:pt x="22" y="325"/>
                </a:lnTo>
                <a:lnTo>
                  <a:pt x="19" y="321"/>
                </a:lnTo>
                <a:lnTo>
                  <a:pt x="12" y="313"/>
                </a:lnTo>
                <a:lnTo>
                  <a:pt x="10" y="308"/>
                </a:lnTo>
                <a:lnTo>
                  <a:pt x="8" y="304"/>
                </a:lnTo>
                <a:lnTo>
                  <a:pt x="4" y="293"/>
                </a:lnTo>
                <a:lnTo>
                  <a:pt x="3" y="287"/>
                </a:lnTo>
                <a:lnTo>
                  <a:pt x="2" y="282"/>
                </a:lnTo>
                <a:lnTo>
                  <a:pt x="1" y="272"/>
                </a:lnTo>
                <a:lnTo>
                  <a:pt x="0" y="261"/>
                </a:lnTo>
                <a:lnTo>
                  <a:pt x="1" y="250"/>
                </a:lnTo>
                <a:lnTo>
                  <a:pt x="3" y="240"/>
                </a:lnTo>
                <a:lnTo>
                  <a:pt x="6" y="229"/>
                </a:lnTo>
                <a:lnTo>
                  <a:pt x="8" y="224"/>
                </a:lnTo>
                <a:lnTo>
                  <a:pt x="10" y="219"/>
                </a:lnTo>
                <a:lnTo>
                  <a:pt x="14" y="210"/>
                </a:lnTo>
                <a:lnTo>
                  <a:pt x="18" y="206"/>
                </a:lnTo>
                <a:lnTo>
                  <a:pt x="21" y="202"/>
                </a:lnTo>
                <a:lnTo>
                  <a:pt x="27" y="195"/>
                </a:lnTo>
                <a:lnTo>
                  <a:pt x="31" y="192"/>
                </a:lnTo>
                <a:lnTo>
                  <a:pt x="35" y="190"/>
                </a:lnTo>
                <a:lnTo>
                  <a:pt x="40" y="187"/>
                </a:lnTo>
                <a:lnTo>
                  <a:pt x="44" y="185"/>
                </a:lnTo>
                <a:lnTo>
                  <a:pt x="49" y="184"/>
                </a:lnTo>
                <a:lnTo>
                  <a:pt x="53" y="183"/>
                </a:lnTo>
                <a:lnTo>
                  <a:pt x="57" y="183"/>
                </a:lnTo>
                <a:lnTo>
                  <a:pt x="61" y="183"/>
                </a:lnTo>
                <a:lnTo>
                  <a:pt x="66" y="184"/>
                </a:lnTo>
                <a:lnTo>
                  <a:pt x="70" y="185"/>
                </a:lnTo>
                <a:lnTo>
                  <a:pt x="78" y="189"/>
                </a:lnTo>
                <a:lnTo>
                  <a:pt x="85" y="193"/>
                </a:lnTo>
                <a:lnTo>
                  <a:pt x="92" y="198"/>
                </a:lnTo>
                <a:lnTo>
                  <a:pt x="99" y="203"/>
                </a:lnTo>
                <a:lnTo>
                  <a:pt x="107" y="207"/>
                </a:lnTo>
                <a:lnTo>
                  <a:pt x="113" y="211"/>
                </a:lnTo>
                <a:lnTo>
                  <a:pt x="119" y="214"/>
                </a:lnTo>
                <a:lnTo>
                  <a:pt x="121" y="215"/>
                </a:lnTo>
                <a:lnTo>
                  <a:pt x="124" y="215"/>
                </a:lnTo>
                <a:lnTo>
                  <a:pt x="127" y="215"/>
                </a:lnTo>
                <a:lnTo>
                  <a:pt x="129" y="214"/>
                </a:lnTo>
                <a:lnTo>
                  <a:pt x="132" y="213"/>
                </a:lnTo>
                <a:lnTo>
                  <a:pt x="134" y="211"/>
                </a:lnTo>
                <a:lnTo>
                  <a:pt x="138" y="205"/>
                </a:lnTo>
                <a:lnTo>
                  <a:pt x="140" y="201"/>
                </a:lnTo>
                <a:lnTo>
                  <a:pt x="142" y="196"/>
                </a:lnTo>
                <a:lnTo>
                  <a:pt x="142" y="0"/>
                </a:lnTo>
                <a:lnTo>
                  <a:pt x="822" y="0"/>
                </a:lnTo>
                <a:lnTo>
                  <a:pt x="822" y="525"/>
                </a:lnTo>
                <a:close/>
              </a:path>
            </a:pathLst>
          </a:custGeom>
          <a:solidFill>
            <a:schemeClr val="bg1"/>
          </a:solidFill>
          <a:ln w="34925" algn="ctr">
            <a:noFill/>
            <a:round/>
            <a:headEnd/>
            <a:tailEnd/>
          </a:ln>
          <a:effectLst/>
        </p:spPr>
        <p:txBody>
          <a:bodyPr wrap="none" lIns="540000" tIns="43185" rIns="86371" bIns="432000" anchor="ctr"/>
          <a:lstStyle/>
          <a:p>
            <a:pPr algn="ctr">
              <a:lnSpc>
                <a:spcPct val="80000"/>
              </a:lnSpc>
              <a:spcBef>
                <a:spcPts val="0"/>
              </a:spcBef>
            </a:pPr>
            <a:endParaRPr lang="en-US" sz="3200" dirty="0">
              <a:solidFill>
                <a:schemeClr val="tx2"/>
              </a:solidFill>
              <a:latin typeface="TeleGrotesk Headline Ultra" pitchFamily="2" charset="0"/>
            </a:endParaRPr>
          </a:p>
        </p:txBody>
      </p:sp>
      <p:grpSp>
        <p:nvGrpSpPr>
          <p:cNvPr id="8" name="Gruppieren 7"/>
          <p:cNvGrpSpPr/>
          <p:nvPr/>
        </p:nvGrpSpPr>
        <p:grpSpPr>
          <a:xfrm>
            <a:off x="126058" y="1365305"/>
            <a:ext cx="3187080" cy="2490024"/>
            <a:chOff x="449908" y="898415"/>
            <a:chExt cx="3187080" cy="2490024"/>
          </a:xfrm>
        </p:grpSpPr>
        <p:sp>
          <p:nvSpPr>
            <p:cNvPr id="13" name="Titel 1"/>
            <p:cNvSpPr txBox="1">
              <a:spLocks/>
            </p:cNvSpPr>
            <p:nvPr/>
          </p:nvSpPr>
          <p:spPr bwMode="gray">
            <a:xfrm>
              <a:off x="449908" y="2292400"/>
              <a:ext cx="3187080" cy="54784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algn="l" defTabSz="457054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lang="de-DE" sz="3000" kern="1200">
                  <a:solidFill>
                    <a:schemeClr val="bg1"/>
                  </a:solidFill>
                  <a:latin typeface="TeleGrotesk Headline Ultra" pitchFamily="2" charset="0"/>
                  <a:ea typeface="+mj-ea"/>
                  <a:cs typeface="TeleGrotesk Headline Ultra" pitchFamily="2" charset="0"/>
                </a:defRPr>
              </a:lvl1pPr>
              <a:lvl2pPr algn="l" defTabSz="457054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chemeClr val="tx2"/>
                  </a:solidFill>
                  <a:latin typeface="Tele-GroteskUlt" pitchFamily="2" charset="0"/>
                </a:defRPr>
              </a:lvl2pPr>
              <a:lvl3pPr algn="l" defTabSz="457054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chemeClr val="tx2"/>
                  </a:solidFill>
                  <a:latin typeface="Tele-GroteskUlt" pitchFamily="2" charset="0"/>
                </a:defRPr>
              </a:lvl3pPr>
              <a:lvl4pPr algn="l" defTabSz="457054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chemeClr val="tx2"/>
                  </a:solidFill>
                  <a:latin typeface="Tele-GroteskUlt" pitchFamily="2" charset="0"/>
                </a:defRPr>
              </a:lvl4pPr>
              <a:lvl5pPr algn="l" defTabSz="457054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chemeClr val="tx2"/>
                  </a:solidFill>
                  <a:latin typeface="Tele-GroteskUlt" pitchFamily="2" charset="0"/>
                </a:defRPr>
              </a:lvl5pPr>
              <a:lvl6pPr marL="457054" algn="l" defTabSz="457054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chemeClr val="tx2"/>
                  </a:solidFill>
                  <a:latin typeface="Tele-GroteskUlt" pitchFamily="2" charset="0"/>
                </a:defRPr>
              </a:lvl6pPr>
              <a:lvl7pPr marL="914108" algn="l" defTabSz="457054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chemeClr val="tx2"/>
                  </a:solidFill>
                  <a:latin typeface="Tele-GroteskUlt" pitchFamily="2" charset="0"/>
                </a:defRPr>
              </a:lvl7pPr>
              <a:lvl8pPr marL="1371160" algn="l" defTabSz="457054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chemeClr val="tx2"/>
                  </a:solidFill>
                  <a:latin typeface="Tele-GroteskUlt" pitchFamily="2" charset="0"/>
                </a:defRPr>
              </a:lvl8pPr>
              <a:lvl9pPr marL="1828215" algn="l" defTabSz="457054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chemeClr val="tx2"/>
                  </a:solidFill>
                  <a:latin typeface="Tele-GroteskUlt" pitchFamily="2" charset="0"/>
                </a:defRPr>
              </a:lvl9pPr>
            </a:lstStyle>
            <a:p>
              <a:pPr>
                <a:lnSpc>
                  <a:spcPct val="80000"/>
                </a:lnSpc>
                <a:buClrTx/>
                <a:buSzTx/>
                <a:buFontTx/>
              </a:pPr>
              <a:r>
                <a:rPr lang="en-US" sz="4450" cap="all" dirty="0" smtClean="0"/>
                <a:t>our cloud</a:t>
              </a:r>
              <a:endParaRPr lang="en-US" sz="4450" cap="all" dirty="0"/>
            </a:p>
          </p:txBody>
        </p:sp>
        <p:sp>
          <p:nvSpPr>
            <p:cNvPr id="16" name="Titel 1"/>
            <p:cNvSpPr txBox="1">
              <a:spLocks/>
            </p:cNvSpPr>
            <p:nvPr/>
          </p:nvSpPr>
          <p:spPr bwMode="gray">
            <a:xfrm>
              <a:off x="449908" y="2822130"/>
              <a:ext cx="3187080" cy="5663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algn="l" defTabSz="457054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lang="de-DE" sz="3000" kern="1200">
                  <a:solidFill>
                    <a:schemeClr val="bg1"/>
                  </a:solidFill>
                  <a:latin typeface="TeleGrotesk Headline Ultra" pitchFamily="2" charset="0"/>
                  <a:ea typeface="+mj-ea"/>
                  <a:cs typeface="TeleGrotesk Headline Ultra" pitchFamily="2" charset="0"/>
                </a:defRPr>
              </a:lvl1pPr>
              <a:lvl2pPr algn="l" defTabSz="457054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chemeClr val="tx2"/>
                  </a:solidFill>
                  <a:latin typeface="Tele-GroteskUlt" pitchFamily="2" charset="0"/>
                </a:defRPr>
              </a:lvl2pPr>
              <a:lvl3pPr algn="l" defTabSz="457054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chemeClr val="tx2"/>
                  </a:solidFill>
                  <a:latin typeface="Tele-GroteskUlt" pitchFamily="2" charset="0"/>
                </a:defRPr>
              </a:lvl3pPr>
              <a:lvl4pPr algn="l" defTabSz="457054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chemeClr val="tx2"/>
                  </a:solidFill>
                  <a:latin typeface="Tele-GroteskUlt" pitchFamily="2" charset="0"/>
                </a:defRPr>
              </a:lvl4pPr>
              <a:lvl5pPr algn="l" defTabSz="457054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chemeClr val="tx2"/>
                  </a:solidFill>
                  <a:latin typeface="Tele-GroteskUlt" pitchFamily="2" charset="0"/>
                </a:defRPr>
              </a:lvl5pPr>
              <a:lvl6pPr marL="457054" algn="l" defTabSz="457054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chemeClr val="tx2"/>
                  </a:solidFill>
                  <a:latin typeface="Tele-GroteskUlt" pitchFamily="2" charset="0"/>
                </a:defRPr>
              </a:lvl6pPr>
              <a:lvl7pPr marL="914108" algn="l" defTabSz="457054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chemeClr val="tx2"/>
                  </a:solidFill>
                  <a:latin typeface="Tele-GroteskUlt" pitchFamily="2" charset="0"/>
                </a:defRPr>
              </a:lvl7pPr>
              <a:lvl8pPr marL="1371160" algn="l" defTabSz="457054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chemeClr val="tx2"/>
                  </a:solidFill>
                  <a:latin typeface="Tele-GroteskUlt" pitchFamily="2" charset="0"/>
                </a:defRPr>
              </a:lvl8pPr>
              <a:lvl9pPr marL="1828215" algn="l" defTabSz="457054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chemeClr val="tx2"/>
                  </a:solidFill>
                  <a:latin typeface="Tele-GroteskUlt" pitchFamily="2" charset="0"/>
                </a:defRPr>
              </a:lvl9pPr>
            </a:lstStyle>
            <a:p>
              <a:pPr>
                <a:lnSpc>
                  <a:spcPct val="80000"/>
                </a:lnSpc>
                <a:buClrTx/>
                <a:buSzTx/>
                <a:buFontTx/>
              </a:pPr>
              <a:r>
                <a:rPr lang="en-US" sz="4600" cap="all" dirty="0" smtClean="0"/>
                <a:t>portfolio</a:t>
              </a:r>
              <a:endParaRPr lang="en-US" sz="4600" cap="all" dirty="0"/>
            </a:p>
          </p:txBody>
        </p:sp>
        <p:sp>
          <p:nvSpPr>
            <p:cNvPr id="17" name="Rechteck 16"/>
            <p:cNvSpPr/>
            <p:nvPr/>
          </p:nvSpPr>
          <p:spPr>
            <a:xfrm>
              <a:off x="494948" y="898415"/>
              <a:ext cx="3093657" cy="1432085"/>
            </a:xfrm>
            <a:prstGeom prst="rect">
              <a:avLst/>
            </a:prstGeom>
            <a:noFill/>
          </p:spPr>
          <p:txBody>
            <a:bodyPr wrap="square" lIns="36000" tIns="108000" rIns="36000" bIns="108000" rtlCol="0" anchor="t">
              <a:noAutofit/>
            </a:bodyPr>
            <a:lstStyle/>
            <a:p>
              <a:pPr>
                <a:lnSpc>
                  <a:spcPct val="70000"/>
                </a:lnSpc>
                <a:spcBef>
                  <a:spcPct val="0"/>
                </a:spcBef>
                <a:spcAft>
                  <a:spcPts val="0"/>
                </a:spcAft>
                <a:buClr>
                  <a:srgbClr val="E20074"/>
                </a:buClr>
              </a:pPr>
              <a:r>
                <a:rPr lang="en-US" sz="6100" cap="all" dirty="0">
                  <a:solidFill>
                    <a:schemeClr val="tx2"/>
                  </a:solidFill>
                  <a:latin typeface="TeleGrotesk Headline Ultra" pitchFamily="2" charset="0"/>
                  <a:ea typeface="+mj-ea"/>
                </a:rPr>
                <a:t>we </a:t>
              </a:r>
              <a:r>
                <a:rPr lang="en-US" sz="6550" cap="all" dirty="0">
                  <a:solidFill>
                    <a:schemeClr val="tx2"/>
                  </a:solidFill>
                  <a:latin typeface="TeleGrotesk Headline" pitchFamily="2" charset="0"/>
                  <a:ea typeface="+mj-ea"/>
                </a:rPr>
                <a:t/>
              </a:r>
              <a:br>
                <a:rPr lang="en-US" sz="6550" cap="all" dirty="0">
                  <a:solidFill>
                    <a:schemeClr val="tx2"/>
                  </a:solidFill>
                  <a:latin typeface="TeleGrotesk Headline" pitchFamily="2" charset="0"/>
                  <a:ea typeface="+mj-ea"/>
                </a:rPr>
              </a:br>
              <a:r>
                <a:rPr lang="en-US" sz="6500" cap="all" dirty="0">
                  <a:solidFill>
                    <a:schemeClr val="tx2"/>
                  </a:solidFill>
                  <a:latin typeface="TeleGrotesk Headline Ultra" pitchFamily="2" charset="0"/>
                  <a:ea typeface="+mj-ea"/>
                </a:rPr>
                <a:t>expand</a:t>
              </a:r>
              <a:endParaRPr lang="de-DE" sz="1200" dirty="0">
                <a:solidFill>
                  <a:schemeClr val="tx2"/>
                </a:solidFill>
                <a:latin typeface="Tele-GroteskNor"/>
                <a:sym typeface="Tele-GroteskNor"/>
              </a:endParaRPr>
            </a:p>
          </p:txBody>
        </p:sp>
      </p:grpSp>
      <p:sp>
        <p:nvSpPr>
          <p:cNvPr id="20" name="Freeform 7"/>
          <p:cNvSpPr>
            <a:spLocks/>
          </p:cNvSpPr>
          <p:nvPr/>
        </p:nvSpPr>
        <p:spPr bwMode="auto">
          <a:xfrm>
            <a:off x="6772111" y="471706"/>
            <a:ext cx="1958092" cy="584282"/>
          </a:xfrm>
          <a:prstGeom prst="rect">
            <a:avLst/>
          </a:prstGeom>
          <a:noFill/>
          <a:ln w="34925" algn="ctr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lnSpc>
                <a:spcPct val="80000"/>
              </a:lnSpc>
              <a:spcBef>
                <a:spcPts val="0"/>
              </a:spcBef>
            </a:pPr>
            <a:r>
              <a:rPr lang="en-US" sz="2000" dirty="0" smtClean="0">
                <a:solidFill>
                  <a:schemeClr val="tx2"/>
                </a:solidFill>
                <a:latin typeface="TeleGrotesk Headline Ultra" pitchFamily="2" charset="0"/>
              </a:rPr>
              <a:t>Public</a:t>
            </a:r>
            <a:br>
              <a:rPr lang="en-US" sz="2000" dirty="0" smtClean="0">
                <a:solidFill>
                  <a:schemeClr val="tx2"/>
                </a:solidFill>
                <a:latin typeface="TeleGrotesk Headline Ultra" pitchFamily="2" charset="0"/>
              </a:rPr>
            </a:br>
            <a:r>
              <a:rPr lang="en-US" sz="2000" dirty="0" smtClean="0">
                <a:solidFill>
                  <a:schemeClr val="tx2"/>
                </a:solidFill>
                <a:latin typeface="TeleGrotesk Headline Ultra" pitchFamily="2" charset="0"/>
              </a:rPr>
              <a:t>Cloud</a:t>
            </a:r>
            <a:endParaRPr lang="en-US" sz="2000" dirty="0">
              <a:solidFill>
                <a:schemeClr val="tx2"/>
              </a:solidFill>
              <a:latin typeface="TeleGrotesk Headline Ultra" pitchFamily="2" charset="0"/>
            </a:endParaRPr>
          </a:p>
        </p:txBody>
      </p:sp>
      <p:sp>
        <p:nvSpPr>
          <p:cNvPr id="21" name="Freeform 7"/>
          <p:cNvSpPr>
            <a:spLocks/>
          </p:cNvSpPr>
          <p:nvPr/>
        </p:nvSpPr>
        <p:spPr bwMode="auto">
          <a:xfrm>
            <a:off x="5868358" y="4113967"/>
            <a:ext cx="1958092" cy="584282"/>
          </a:xfrm>
          <a:prstGeom prst="rect">
            <a:avLst/>
          </a:prstGeom>
          <a:noFill/>
          <a:ln w="34925" algn="ctr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lnSpc>
                <a:spcPct val="80000"/>
              </a:lnSpc>
              <a:spcBef>
                <a:spcPts val="0"/>
              </a:spcBef>
            </a:pPr>
            <a:r>
              <a:rPr lang="en-US" sz="2000" dirty="0">
                <a:solidFill>
                  <a:schemeClr val="bg1"/>
                </a:solidFill>
                <a:latin typeface="TeleGrotesk Headline Ultra" pitchFamily="2" charset="0"/>
              </a:rPr>
              <a:t>Private</a:t>
            </a:r>
            <a:br>
              <a:rPr lang="en-US" sz="2000" dirty="0">
                <a:solidFill>
                  <a:schemeClr val="bg1"/>
                </a:solidFill>
                <a:latin typeface="TeleGrotesk Headline Ultra" pitchFamily="2" charset="0"/>
              </a:rPr>
            </a:br>
            <a:r>
              <a:rPr lang="en-US" sz="2000" dirty="0">
                <a:solidFill>
                  <a:schemeClr val="bg1"/>
                </a:solidFill>
                <a:latin typeface="TeleGrotesk Headline Ultra" pitchFamily="2" charset="0"/>
              </a:rPr>
              <a:t>Cloud</a:t>
            </a:r>
          </a:p>
        </p:txBody>
      </p:sp>
      <p:sp>
        <p:nvSpPr>
          <p:cNvPr id="22" name="Freeform 7"/>
          <p:cNvSpPr>
            <a:spLocks/>
          </p:cNvSpPr>
          <p:nvPr/>
        </p:nvSpPr>
        <p:spPr bwMode="auto">
          <a:xfrm>
            <a:off x="3902105" y="4113967"/>
            <a:ext cx="1958092" cy="584282"/>
          </a:xfrm>
          <a:prstGeom prst="rect">
            <a:avLst/>
          </a:prstGeom>
          <a:noFill/>
          <a:ln w="34925" algn="ctr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lnSpc>
                <a:spcPct val="80000"/>
              </a:lnSpc>
              <a:spcBef>
                <a:spcPts val="0"/>
              </a:spcBef>
            </a:pPr>
            <a:r>
              <a:rPr lang="en-US" sz="2000" dirty="0">
                <a:solidFill>
                  <a:schemeClr val="bg1"/>
                </a:solidFill>
                <a:latin typeface="TeleGrotesk Headline Ultra" pitchFamily="2" charset="0"/>
              </a:rPr>
              <a:t>Classic</a:t>
            </a:r>
            <a:br>
              <a:rPr lang="en-US" sz="2000" dirty="0">
                <a:solidFill>
                  <a:schemeClr val="bg1"/>
                </a:solidFill>
                <a:latin typeface="TeleGrotesk Headline Ultra" pitchFamily="2" charset="0"/>
              </a:rPr>
            </a:br>
            <a:r>
              <a:rPr lang="en-US" sz="2000" dirty="0">
                <a:solidFill>
                  <a:schemeClr val="bg1"/>
                </a:solidFill>
                <a:latin typeface="TeleGrotesk Headline Ultra" pitchFamily="2" charset="0"/>
              </a:rPr>
              <a:t>IT</a:t>
            </a:r>
          </a:p>
        </p:txBody>
      </p:sp>
      <p:sp>
        <p:nvSpPr>
          <p:cNvPr id="23" name="Freeform 7"/>
          <p:cNvSpPr>
            <a:spLocks/>
          </p:cNvSpPr>
          <p:nvPr/>
        </p:nvSpPr>
        <p:spPr bwMode="auto">
          <a:xfrm>
            <a:off x="3902105" y="1154543"/>
            <a:ext cx="1958092" cy="584282"/>
          </a:xfrm>
          <a:prstGeom prst="rect">
            <a:avLst/>
          </a:prstGeom>
          <a:noFill/>
          <a:ln w="34925" algn="ctr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lnSpc>
                <a:spcPct val="80000"/>
              </a:lnSpc>
              <a:spcBef>
                <a:spcPts val="0"/>
              </a:spcBef>
            </a:pPr>
            <a:r>
              <a:rPr lang="en-US" sz="2000" dirty="0">
                <a:solidFill>
                  <a:schemeClr val="bg1"/>
                </a:solidFill>
                <a:latin typeface="TeleGrotesk Headline Ultra" pitchFamily="2" charset="0"/>
              </a:rPr>
              <a:t>Hybrid</a:t>
            </a:r>
            <a:br>
              <a:rPr lang="en-US" sz="2000" dirty="0">
                <a:solidFill>
                  <a:schemeClr val="bg1"/>
                </a:solidFill>
                <a:latin typeface="TeleGrotesk Headline Ultra" pitchFamily="2" charset="0"/>
              </a:rPr>
            </a:br>
            <a:r>
              <a:rPr lang="en-US" sz="2000" dirty="0">
                <a:solidFill>
                  <a:schemeClr val="bg1"/>
                </a:solidFill>
                <a:latin typeface="TeleGrotesk Headline Ultra" pitchFamily="2" charset="0"/>
              </a:rPr>
              <a:t>Cloud</a:t>
            </a:r>
          </a:p>
        </p:txBody>
      </p:sp>
      <p:grpSp>
        <p:nvGrpSpPr>
          <p:cNvPr id="24" name="Group 4"/>
          <p:cNvGrpSpPr>
            <a:grpSpLocks noChangeAspect="1"/>
          </p:cNvGrpSpPr>
          <p:nvPr/>
        </p:nvGrpSpPr>
        <p:grpSpPr bwMode="auto">
          <a:xfrm>
            <a:off x="6512679" y="3408568"/>
            <a:ext cx="644051" cy="514800"/>
            <a:chOff x="-2725" y="-3759"/>
            <a:chExt cx="4385" cy="3505"/>
          </a:xfrm>
          <a:solidFill>
            <a:schemeClr val="bg1"/>
          </a:solidFill>
        </p:grpSpPr>
        <p:sp>
          <p:nvSpPr>
            <p:cNvPr id="25" name="Freeform 6"/>
            <p:cNvSpPr>
              <a:spLocks/>
            </p:cNvSpPr>
            <p:nvPr/>
          </p:nvSpPr>
          <p:spPr bwMode="auto">
            <a:xfrm>
              <a:off x="-2725" y="-3759"/>
              <a:ext cx="4385" cy="2672"/>
            </a:xfrm>
            <a:custGeom>
              <a:avLst/>
              <a:gdLst>
                <a:gd name="T0" fmla="*/ 2862 w 4385"/>
                <a:gd name="T1" fmla="*/ 35 h 2672"/>
                <a:gd name="T2" fmla="*/ 3200 w 4385"/>
                <a:gd name="T3" fmla="*/ 174 h 2672"/>
                <a:gd name="T4" fmla="*/ 3478 w 4385"/>
                <a:gd name="T5" fmla="*/ 407 h 2672"/>
                <a:gd name="T6" fmla="*/ 3676 w 4385"/>
                <a:gd name="T7" fmla="*/ 712 h 2672"/>
                <a:gd name="T8" fmla="*/ 3775 w 4385"/>
                <a:gd name="T9" fmla="*/ 1071 h 2672"/>
                <a:gd name="T10" fmla="*/ 4051 w 4385"/>
                <a:gd name="T11" fmla="*/ 1202 h 2672"/>
                <a:gd name="T12" fmla="*/ 4260 w 4385"/>
                <a:gd name="T13" fmla="*/ 1425 h 2672"/>
                <a:gd name="T14" fmla="*/ 4370 w 4385"/>
                <a:gd name="T15" fmla="*/ 1706 h 2672"/>
                <a:gd name="T16" fmla="*/ 4367 w 4385"/>
                <a:gd name="T17" fmla="*/ 2022 h 2672"/>
                <a:gd name="T18" fmla="*/ 4245 w 4385"/>
                <a:gd name="T19" fmla="*/ 2312 h 2672"/>
                <a:gd name="T20" fmla="*/ 4024 w 4385"/>
                <a:gd name="T21" fmla="*/ 2533 h 2672"/>
                <a:gd name="T22" fmla="*/ 3733 w 4385"/>
                <a:gd name="T23" fmla="*/ 2655 h 2672"/>
                <a:gd name="T24" fmla="*/ 3521 w 4385"/>
                <a:gd name="T25" fmla="*/ 2671 h 2672"/>
                <a:gd name="T26" fmla="*/ 3570 w 4385"/>
                <a:gd name="T27" fmla="*/ 2352 h 2672"/>
                <a:gd name="T28" fmla="*/ 3803 w 4385"/>
                <a:gd name="T29" fmla="*/ 2294 h 2672"/>
                <a:gd name="T30" fmla="*/ 3975 w 4385"/>
                <a:gd name="T31" fmla="*/ 2140 h 2672"/>
                <a:gd name="T32" fmla="*/ 4060 w 4385"/>
                <a:gd name="T33" fmla="*/ 1921 h 2672"/>
                <a:gd name="T34" fmla="*/ 4030 w 4385"/>
                <a:gd name="T35" fmla="*/ 1676 h 2672"/>
                <a:gd name="T36" fmla="*/ 3889 w 4385"/>
                <a:gd name="T37" fmla="*/ 1482 h 2672"/>
                <a:gd name="T38" fmla="*/ 3672 w 4385"/>
                <a:gd name="T39" fmla="*/ 1375 h 2672"/>
                <a:gd name="T40" fmla="*/ 3462 w 4385"/>
                <a:gd name="T41" fmla="*/ 1202 h 2672"/>
                <a:gd name="T42" fmla="*/ 3400 w 4385"/>
                <a:gd name="T43" fmla="*/ 878 h 2672"/>
                <a:gd name="T44" fmla="*/ 3230 w 4385"/>
                <a:gd name="T45" fmla="*/ 607 h 2672"/>
                <a:gd name="T46" fmla="*/ 2976 w 4385"/>
                <a:gd name="T47" fmla="*/ 415 h 2672"/>
                <a:gd name="T48" fmla="*/ 2662 w 4385"/>
                <a:gd name="T49" fmla="*/ 324 h 2672"/>
                <a:gd name="T50" fmla="*/ 2343 w 4385"/>
                <a:gd name="T51" fmla="*/ 352 h 2672"/>
                <a:gd name="T52" fmla="*/ 2065 w 4385"/>
                <a:gd name="T53" fmla="*/ 484 h 2672"/>
                <a:gd name="T54" fmla="*/ 1847 w 4385"/>
                <a:gd name="T55" fmla="*/ 704 h 2672"/>
                <a:gd name="T56" fmla="*/ 1547 w 4385"/>
                <a:gd name="T57" fmla="*/ 917 h 2672"/>
                <a:gd name="T58" fmla="*/ 1333 w 4385"/>
                <a:gd name="T59" fmla="*/ 862 h 2672"/>
                <a:gd name="T60" fmla="*/ 1111 w 4385"/>
                <a:gd name="T61" fmla="*/ 922 h 2672"/>
                <a:gd name="T62" fmla="*/ 952 w 4385"/>
                <a:gd name="T63" fmla="*/ 1080 h 2672"/>
                <a:gd name="T64" fmla="*/ 890 w 4385"/>
                <a:gd name="T65" fmla="*/ 1302 h 2672"/>
                <a:gd name="T66" fmla="*/ 682 w 4385"/>
                <a:gd name="T67" fmla="*/ 1472 h 2672"/>
                <a:gd name="T68" fmla="*/ 481 w 4385"/>
                <a:gd name="T69" fmla="*/ 1565 h 2672"/>
                <a:gd name="T70" fmla="*/ 352 w 4385"/>
                <a:gd name="T71" fmla="*/ 1739 h 2672"/>
                <a:gd name="T72" fmla="*/ 324 w 4385"/>
                <a:gd name="T73" fmla="*/ 1966 h 2672"/>
                <a:gd name="T74" fmla="*/ 412 w 4385"/>
                <a:gd name="T75" fmla="*/ 2176 h 2672"/>
                <a:gd name="T76" fmla="*/ 590 w 4385"/>
                <a:gd name="T77" fmla="*/ 2314 h 2672"/>
                <a:gd name="T78" fmla="*/ 805 w 4385"/>
                <a:gd name="T79" fmla="*/ 2346 h 2672"/>
                <a:gd name="T80" fmla="*/ 825 w 4385"/>
                <a:gd name="T81" fmla="*/ 2666 h 2672"/>
                <a:gd name="T82" fmla="*/ 536 w 4385"/>
                <a:gd name="T83" fmla="*/ 2634 h 2672"/>
                <a:gd name="T84" fmla="*/ 278 w 4385"/>
                <a:gd name="T85" fmla="*/ 2493 h 2672"/>
                <a:gd name="T86" fmla="*/ 92 w 4385"/>
                <a:gd name="T87" fmla="*/ 2269 h 2672"/>
                <a:gd name="T88" fmla="*/ 4 w 4385"/>
                <a:gd name="T89" fmla="*/ 1983 h 2672"/>
                <a:gd name="T90" fmla="*/ 32 w 4385"/>
                <a:gd name="T91" fmla="*/ 1686 h 2672"/>
                <a:gd name="T92" fmla="*/ 166 w 4385"/>
                <a:gd name="T93" fmla="*/ 1432 h 2672"/>
                <a:gd name="T94" fmla="*/ 381 w 4385"/>
                <a:gd name="T95" fmla="*/ 1246 h 2672"/>
                <a:gd name="T96" fmla="*/ 601 w 4385"/>
                <a:gd name="T97" fmla="*/ 1091 h 2672"/>
                <a:gd name="T98" fmla="*/ 739 w 4385"/>
                <a:gd name="T99" fmla="*/ 826 h 2672"/>
                <a:gd name="T100" fmla="*/ 966 w 4385"/>
                <a:gd name="T101" fmla="*/ 636 h 2672"/>
                <a:gd name="T102" fmla="*/ 1255 w 4385"/>
                <a:gd name="T103" fmla="*/ 546 h 2672"/>
                <a:gd name="T104" fmla="*/ 1551 w 4385"/>
                <a:gd name="T105" fmla="*/ 574 h 2672"/>
                <a:gd name="T106" fmla="*/ 1776 w 4385"/>
                <a:gd name="T107" fmla="*/ 306 h 2672"/>
                <a:gd name="T108" fmla="*/ 2065 w 4385"/>
                <a:gd name="T109" fmla="*/ 115 h 2672"/>
                <a:gd name="T110" fmla="*/ 2399 w 4385"/>
                <a:gd name="T111" fmla="*/ 14 h 26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385" h="2672">
                  <a:moveTo>
                    <a:pt x="2577" y="0"/>
                  </a:moveTo>
                  <a:lnTo>
                    <a:pt x="2674" y="4"/>
                  </a:lnTo>
                  <a:lnTo>
                    <a:pt x="2768" y="16"/>
                  </a:lnTo>
                  <a:lnTo>
                    <a:pt x="2862" y="35"/>
                  </a:lnTo>
                  <a:lnTo>
                    <a:pt x="2951" y="60"/>
                  </a:lnTo>
                  <a:lnTo>
                    <a:pt x="3037" y="92"/>
                  </a:lnTo>
                  <a:lnTo>
                    <a:pt x="3121" y="130"/>
                  </a:lnTo>
                  <a:lnTo>
                    <a:pt x="3200" y="174"/>
                  </a:lnTo>
                  <a:lnTo>
                    <a:pt x="3276" y="225"/>
                  </a:lnTo>
                  <a:lnTo>
                    <a:pt x="3349" y="281"/>
                  </a:lnTo>
                  <a:lnTo>
                    <a:pt x="3416" y="342"/>
                  </a:lnTo>
                  <a:lnTo>
                    <a:pt x="3478" y="407"/>
                  </a:lnTo>
                  <a:lnTo>
                    <a:pt x="3537" y="477"/>
                  </a:lnTo>
                  <a:lnTo>
                    <a:pt x="3589" y="551"/>
                  </a:lnTo>
                  <a:lnTo>
                    <a:pt x="3635" y="630"/>
                  </a:lnTo>
                  <a:lnTo>
                    <a:pt x="3676" y="712"/>
                  </a:lnTo>
                  <a:lnTo>
                    <a:pt x="3711" y="797"/>
                  </a:lnTo>
                  <a:lnTo>
                    <a:pt x="3739" y="886"/>
                  </a:lnTo>
                  <a:lnTo>
                    <a:pt x="3760" y="976"/>
                  </a:lnTo>
                  <a:lnTo>
                    <a:pt x="3775" y="1071"/>
                  </a:lnTo>
                  <a:lnTo>
                    <a:pt x="3848" y="1093"/>
                  </a:lnTo>
                  <a:lnTo>
                    <a:pt x="3919" y="1123"/>
                  </a:lnTo>
                  <a:lnTo>
                    <a:pt x="3987" y="1160"/>
                  </a:lnTo>
                  <a:lnTo>
                    <a:pt x="4051" y="1202"/>
                  </a:lnTo>
                  <a:lnTo>
                    <a:pt x="4111" y="1250"/>
                  </a:lnTo>
                  <a:lnTo>
                    <a:pt x="4167" y="1304"/>
                  </a:lnTo>
                  <a:lnTo>
                    <a:pt x="4216" y="1363"/>
                  </a:lnTo>
                  <a:lnTo>
                    <a:pt x="4260" y="1425"/>
                  </a:lnTo>
                  <a:lnTo>
                    <a:pt x="4297" y="1492"/>
                  </a:lnTo>
                  <a:lnTo>
                    <a:pt x="4329" y="1561"/>
                  </a:lnTo>
                  <a:lnTo>
                    <a:pt x="4353" y="1632"/>
                  </a:lnTo>
                  <a:lnTo>
                    <a:pt x="4370" y="1706"/>
                  </a:lnTo>
                  <a:lnTo>
                    <a:pt x="4381" y="1781"/>
                  </a:lnTo>
                  <a:lnTo>
                    <a:pt x="4385" y="1858"/>
                  </a:lnTo>
                  <a:lnTo>
                    <a:pt x="4381" y="1942"/>
                  </a:lnTo>
                  <a:lnTo>
                    <a:pt x="4367" y="2022"/>
                  </a:lnTo>
                  <a:lnTo>
                    <a:pt x="4347" y="2100"/>
                  </a:lnTo>
                  <a:lnTo>
                    <a:pt x="4321" y="2174"/>
                  </a:lnTo>
                  <a:lnTo>
                    <a:pt x="4286" y="2246"/>
                  </a:lnTo>
                  <a:lnTo>
                    <a:pt x="4245" y="2312"/>
                  </a:lnTo>
                  <a:lnTo>
                    <a:pt x="4199" y="2376"/>
                  </a:lnTo>
                  <a:lnTo>
                    <a:pt x="4145" y="2433"/>
                  </a:lnTo>
                  <a:lnTo>
                    <a:pt x="4088" y="2486"/>
                  </a:lnTo>
                  <a:lnTo>
                    <a:pt x="4024" y="2533"/>
                  </a:lnTo>
                  <a:lnTo>
                    <a:pt x="3958" y="2574"/>
                  </a:lnTo>
                  <a:lnTo>
                    <a:pt x="3886" y="2609"/>
                  </a:lnTo>
                  <a:lnTo>
                    <a:pt x="3812" y="2635"/>
                  </a:lnTo>
                  <a:lnTo>
                    <a:pt x="3733" y="2655"/>
                  </a:lnTo>
                  <a:lnTo>
                    <a:pt x="3654" y="2668"/>
                  </a:lnTo>
                  <a:lnTo>
                    <a:pt x="3570" y="2672"/>
                  </a:lnTo>
                  <a:lnTo>
                    <a:pt x="3546" y="2672"/>
                  </a:lnTo>
                  <a:lnTo>
                    <a:pt x="3521" y="2671"/>
                  </a:lnTo>
                  <a:lnTo>
                    <a:pt x="3497" y="2670"/>
                  </a:lnTo>
                  <a:lnTo>
                    <a:pt x="3497" y="2347"/>
                  </a:lnTo>
                  <a:lnTo>
                    <a:pt x="3533" y="2351"/>
                  </a:lnTo>
                  <a:lnTo>
                    <a:pt x="3570" y="2352"/>
                  </a:lnTo>
                  <a:lnTo>
                    <a:pt x="3632" y="2348"/>
                  </a:lnTo>
                  <a:lnTo>
                    <a:pt x="3692" y="2338"/>
                  </a:lnTo>
                  <a:lnTo>
                    <a:pt x="3748" y="2319"/>
                  </a:lnTo>
                  <a:lnTo>
                    <a:pt x="3803" y="2294"/>
                  </a:lnTo>
                  <a:lnTo>
                    <a:pt x="3852" y="2263"/>
                  </a:lnTo>
                  <a:lnTo>
                    <a:pt x="3898" y="2227"/>
                  </a:lnTo>
                  <a:lnTo>
                    <a:pt x="3939" y="2186"/>
                  </a:lnTo>
                  <a:lnTo>
                    <a:pt x="3975" y="2140"/>
                  </a:lnTo>
                  <a:lnTo>
                    <a:pt x="4006" y="2091"/>
                  </a:lnTo>
                  <a:lnTo>
                    <a:pt x="4031" y="2036"/>
                  </a:lnTo>
                  <a:lnTo>
                    <a:pt x="4050" y="1980"/>
                  </a:lnTo>
                  <a:lnTo>
                    <a:pt x="4060" y="1921"/>
                  </a:lnTo>
                  <a:lnTo>
                    <a:pt x="4064" y="1858"/>
                  </a:lnTo>
                  <a:lnTo>
                    <a:pt x="4060" y="1796"/>
                  </a:lnTo>
                  <a:lnTo>
                    <a:pt x="4048" y="1735"/>
                  </a:lnTo>
                  <a:lnTo>
                    <a:pt x="4030" y="1676"/>
                  </a:lnTo>
                  <a:lnTo>
                    <a:pt x="4003" y="1622"/>
                  </a:lnTo>
                  <a:lnTo>
                    <a:pt x="3971" y="1570"/>
                  </a:lnTo>
                  <a:lnTo>
                    <a:pt x="3933" y="1524"/>
                  </a:lnTo>
                  <a:lnTo>
                    <a:pt x="3889" y="1482"/>
                  </a:lnTo>
                  <a:lnTo>
                    <a:pt x="3841" y="1445"/>
                  </a:lnTo>
                  <a:lnTo>
                    <a:pt x="3788" y="1416"/>
                  </a:lnTo>
                  <a:lnTo>
                    <a:pt x="3732" y="1392"/>
                  </a:lnTo>
                  <a:lnTo>
                    <a:pt x="3672" y="1375"/>
                  </a:lnTo>
                  <a:lnTo>
                    <a:pt x="3610" y="1367"/>
                  </a:lnTo>
                  <a:lnTo>
                    <a:pt x="3462" y="1355"/>
                  </a:lnTo>
                  <a:lnTo>
                    <a:pt x="3462" y="1206"/>
                  </a:lnTo>
                  <a:lnTo>
                    <a:pt x="3462" y="1202"/>
                  </a:lnTo>
                  <a:lnTo>
                    <a:pt x="3458" y="1117"/>
                  </a:lnTo>
                  <a:lnTo>
                    <a:pt x="3445" y="1035"/>
                  </a:lnTo>
                  <a:lnTo>
                    <a:pt x="3426" y="955"/>
                  </a:lnTo>
                  <a:lnTo>
                    <a:pt x="3400" y="878"/>
                  </a:lnTo>
                  <a:lnTo>
                    <a:pt x="3367" y="805"/>
                  </a:lnTo>
                  <a:lnTo>
                    <a:pt x="3327" y="735"/>
                  </a:lnTo>
                  <a:lnTo>
                    <a:pt x="3280" y="670"/>
                  </a:lnTo>
                  <a:lnTo>
                    <a:pt x="3230" y="607"/>
                  </a:lnTo>
                  <a:lnTo>
                    <a:pt x="3173" y="551"/>
                  </a:lnTo>
                  <a:lnTo>
                    <a:pt x="3111" y="501"/>
                  </a:lnTo>
                  <a:lnTo>
                    <a:pt x="3046" y="455"/>
                  </a:lnTo>
                  <a:lnTo>
                    <a:pt x="2976" y="415"/>
                  </a:lnTo>
                  <a:lnTo>
                    <a:pt x="2901" y="383"/>
                  </a:lnTo>
                  <a:lnTo>
                    <a:pt x="2824" y="356"/>
                  </a:lnTo>
                  <a:lnTo>
                    <a:pt x="2745" y="336"/>
                  </a:lnTo>
                  <a:lnTo>
                    <a:pt x="2662" y="324"/>
                  </a:lnTo>
                  <a:lnTo>
                    <a:pt x="2577" y="320"/>
                  </a:lnTo>
                  <a:lnTo>
                    <a:pt x="2497" y="324"/>
                  </a:lnTo>
                  <a:lnTo>
                    <a:pt x="2419" y="335"/>
                  </a:lnTo>
                  <a:lnTo>
                    <a:pt x="2343" y="352"/>
                  </a:lnTo>
                  <a:lnTo>
                    <a:pt x="2269" y="376"/>
                  </a:lnTo>
                  <a:lnTo>
                    <a:pt x="2198" y="407"/>
                  </a:lnTo>
                  <a:lnTo>
                    <a:pt x="2129" y="443"/>
                  </a:lnTo>
                  <a:lnTo>
                    <a:pt x="2065" y="484"/>
                  </a:lnTo>
                  <a:lnTo>
                    <a:pt x="2004" y="532"/>
                  </a:lnTo>
                  <a:lnTo>
                    <a:pt x="1947" y="585"/>
                  </a:lnTo>
                  <a:lnTo>
                    <a:pt x="1895" y="642"/>
                  </a:lnTo>
                  <a:lnTo>
                    <a:pt x="1847" y="704"/>
                  </a:lnTo>
                  <a:lnTo>
                    <a:pt x="1806" y="771"/>
                  </a:lnTo>
                  <a:lnTo>
                    <a:pt x="1770" y="842"/>
                  </a:lnTo>
                  <a:lnTo>
                    <a:pt x="1699" y="1000"/>
                  </a:lnTo>
                  <a:lnTo>
                    <a:pt x="1547" y="917"/>
                  </a:lnTo>
                  <a:lnTo>
                    <a:pt x="1497" y="893"/>
                  </a:lnTo>
                  <a:lnTo>
                    <a:pt x="1443" y="875"/>
                  </a:lnTo>
                  <a:lnTo>
                    <a:pt x="1389" y="865"/>
                  </a:lnTo>
                  <a:lnTo>
                    <a:pt x="1333" y="862"/>
                  </a:lnTo>
                  <a:lnTo>
                    <a:pt x="1273" y="866"/>
                  </a:lnTo>
                  <a:lnTo>
                    <a:pt x="1216" y="878"/>
                  </a:lnTo>
                  <a:lnTo>
                    <a:pt x="1162" y="897"/>
                  </a:lnTo>
                  <a:lnTo>
                    <a:pt x="1111" y="922"/>
                  </a:lnTo>
                  <a:lnTo>
                    <a:pt x="1063" y="954"/>
                  </a:lnTo>
                  <a:lnTo>
                    <a:pt x="1021" y="991"/>
                  </a:lnTo>
                  <a:lnTo>
                    <a:pt x="984" y="1034"/>
                  </a:lnTo>
                  <a:lnTo>
                    <a:pt x="952" y="1080"/>
                  </a:lnTo>
                  <a:lnTo>
                    <a:pt x="926" y="1130"/>
                  </a:lnTo>
                  <a:lnTo>
                    <a:pt x="906" y="1185"/>
                  </a:lnTo>
                  <a:lnTo>
                    <a:pt x="894" y="1242"/>
                  </a:lnTo>
                  <a:lnTo>
                    <a:pt x="890" y="1302"/>
                  </a:lnTo>
                  <a:lnTo>
                    <a:pt x="890" y="1304"/>
                  </a:lnTo>
                  <a:lnTo>
                    <a:pt x="890" y="1457"/>
                  </a:lnTo>
                  <a:lnTo>
                    <a:pt x="739" y="1465"/>
                  </a:lnTo>
                  <a:lnTo>
                    <a:pt x="682" y="1472"/>
                  </a:lnTo>
                  <a:lnTo>
                    <a:pt x="626" y="1485"/>
                  </a:lnTo>
                  <a:lnTo>
                    <a:pt x="574" y="1505"/>
                  </a:lnTo>
                  <a:lnTo>
                    <a:pt x="526" y="1532"/>
                  </a:lnTo>
                  <a:lnTo>
                    <a:pt x="481" y="1565"/>
                  </a:lnTo>
                  <a:lnTo>
                    <a:pt x="441" y="1602"/>
                  </a:lnTo>
                  <a:lnTo>
                    <a:pt x="407" y="1643"/>
                  </a:lnTo>
                  <a:lnTo>
                    <a:pt x="376" y="1690"/>
                  </a:lnTo>
                  <a:lnTo>
                    <a:pt x="352" y="1739"/>
                  </a:lnTo>
                  <a:lnTo>
                    <a:pt x="335" y="1792"/>
                  </a:lnTo>
                  <a:lnTo>
                    <a:pt x="324" y="1848"/>
                  </a:lnTo>
                  <a:lnTo>
                    <a:pt x="320" y="1906"/>
                  </a:lnTo>
                  <a:lnTo>
                    <a:pt x="324" y="1966"/>
                  </a:lnTo>
                  <a:lnTo>
                    <a:pt x="336" y="2023"/>
                  </a:lnTo>
                  <a:lnTo>
                    <a:pt x="355" y="2077"/>
                  </a:lnTo>
                  <a:lnTo>
                    <a:pt x="380" y="2129"/>
                  </a:lnTo>
                  <a:lnTo>
                    <a:pt x="412" y="2176"/>
                  </a:lnTo>
                  <a:lnTo>
                    <a:pt x="449" y="2218"/>
                  </a:lnTo>
                  <a:lnTo>
                    <a:pt x="492" y="2255"/>
                  </a:lnTo>
                  <a:lnTo>
                    <a:pt x="540" y="2287"/>
                  </a:lnTo>
                  <a:lnTo>
                    <a:pt x="590" y="2314"/>
                  </a:lnTo>
                  <a:lnTo>
                    <a:pt x="645" y="2332"/>
                  </a:lnTo>
                  <a:lnTo>
                    <a:pt x="703" y="2344"/>
                  </a:lnTo>
                  <a:lnTo>
                    <a:pt x="763" y="2348"/>
                  </a:lnTo>
                  <a:lnTo>
                    <a:pt x="805" y="2346"/>
                  </a:lnTo>
                  <a:lnTo>
                    <a:pt x="847" y="2340"/>
                  </a:lnTo>
                  <a:lnTo>
                    <a:pt x="888" y="2330"/>
                  </a:lnTo>
                  <a:lnTo>
                    <a:pt x="888" y="2658"/>
                  </a:lnTo>
                  <a:lnTo>
                    <a:pt x="825" y="2666"/>
                  </a:lnTo>
                  <a:lnTo>
                    <a:pt x="763" y="2668"/>
                  </a:lnTo>
                  <a:lnTo>
                    <a:pt x="684" y="2664"/>
                  </a:lnTo>
                  <a:lnTo>
                    <a:pt x="609" y="2652"/>
                  </a:lnTo>
                  <a:lnTo>
                    <a:pt x="536" y="2634"/>
                  </a:lnTo>
                  <a:lnTo>
                    <a:pt x="467" y="2607"/>
                  </a:lnTo>
                  <a:lnTo>
                    <a:pt x="399" y="2575"/>
                  </a:lnTo>
                  <a:lnTo>
                    <a:pt x="336" y="2538"/>
                  </a:lnTo>
                  <a:lnTo>
                    <a:pt x="278" y="2493"/>
                  </a:lnTo>
                  <a:lnTo>
                    <a:pt x="223" y="2444"/>
                  </a:lnTo>
                  <a:lnTo>
                    <a:pt x="174" y="2391"/>
                  </a:lnTo>
                  <a:lnTo>
                    <a:pt x="130" y="2331"/>
                  </a:lnTo>
                  <a:lnTo>
                    <a:pt x="92" y="2269"/>
                  </a:lnTo>
                  <a:lnTo>
                    <a:pt x="60" y="2202"/>
                  </a:lnTo>
                  <a:lnTo>
                    <a:pt x="35" y="2132"/>
                  </a:lnTo>
                  <a:lnTo>
                    <a:pt x="16" y="2059"/>
                  </a:lnTo>
                  <a:lnTo>
                    <a:pt x="4" y="1983"/>
                  </a:lnTo>
                  <a:lnTo>
                    <a:pt x="0" y="1906"/>
                  </a:lnTo>
                  <a:lnTo>
                    <a:pt x="4" y="1830"/>
                  </a:lnTo>
                  <a:lnTo>
                    <a:pt x="15" y="1756"/>
                  </a:lnTo>
                  <a:lnTo>
                    <a:pt x="32" y="1686"/>
                  </a:lnTo>
                  <a:lnTo>
                    <a:pt x="57" y="1617"/>
                  </a:lnTo>
                  <a:lnTo>
                    <a:pt x="88" y="1551"/>
                  </a:lnTo>
                  <a:lnTo>
                    <a:pt x="124" y="1489"/>
                  </a:lnTo>
                  <a:lnTo>
                    <a:pt x="166" y="1432"/>
                  </a:lnTo>
                  <a:lnTo>
                    <a:pt x="213" y="1377"/>
                  </a:lnTo>
                  <a:lnTo>
                    <a:pt x="264" y="1328"/>
                  </a:lnTo>
                  <a:lnTo>
                    <a:pt x="320" y="1285"/>
                  </a:lnTo>
                  <a:lnTo>
                    <a:pt x="381" y="1246"/>
                  </a:lnTo>
                  <a:lnTo>
                    <a:pt x="445" y="1213"/>
                  </a:lnTo>
                  <a:lnTo>
                    <a:pt x="513" y="1186"/>
                  </a:lnTo>
                  <a:lnTo>
                    <a:pt x="583" y="1165"/>
                  </a:lnTo>
                  <a:lnTo>
                    <a:pt x="601" y="1091"/>
                  </a:lnTo>
                  <a:lnTo>
                    <a:pt x="626" y="1019"/>
                  </a:lnTo>
                  <a:lnTo>
                    <a:pt x="658" y="951"/>
                  </a:lnTo>
                  <a:lnTo>
                    <a:pt x="695" y="886"/>
                  </a:lnTo>
                  <a:lnTo>
                    <a:pt x="739" y="826"/>
                  </a:lnTo>
                  <a:lnTo>
                    <a:pt x="788" y="771"/>
                  </a:lnTo>
                  <a:lnTo>
                    <a:pt x="843" y="720"/>
                  </a:lnTo>
                  <a:lnTo>
                    <a:pt x="902" y="676"/>
                  </a:lnTo>
                  <a:lnTo>
                    <a:pt x="966" y="636"/>
                  </a:lnTo>
                  <a:lnTo>
                    <a:pt x="1033" y="603"/>
                  </a:lnTo>
                  <a:lnTo>
                    <a:pt x="1103" y="577"/>
                  </a:lnTo>
                  <a:lnTo>
                    <a:pt x="1178" y="558"/>
                  </a:lnTo>
                  <a:lnTo>
                    <a:pt x="1255" y="546"/>
                  </a:lnTo>
                  <a:lnTo>
                    <a:pt x="1333" y="542"/>
                  </a:lnTo>
                  <a:lnTo>
                    <a:pt x="1408" y="546"/>
                  </a:lnTo>
                  <a:lnTo>
                    <a:pt x="1479" y="557"/>
                  </a:lnTo>
                  <a:lnTo>
                    <a:pt x="1551" y="574"/>
                  </a:lnTo>
                  <a:lnTo>
                    <a:pt x="1600" y="500"/>
                  </a:lnTo>
                  <a:lnTo>
                    <a:pt x="1655" y="431"/>
                  </a:lnTo>
                  <a:lnTo>
                    <a:pt x="1713" y="366"/>
                  </a:lnTo>
                  <a:lnTo>
                    <a:pt x="1776" y="306"/>
                  </a:lnTo>
                  <a:lnTo>
                    <a:pt x="1842" y="250"/>
                  </a:lnTo>
                  <a:lnTo>
                    <a:pt x="1914" y="200"/>
                  </a:lnTo>
                  <a:lnTo>
                    <a:pt x="1987" y="154"/>
                  </a:lnTo>
                  <a:lnTo>
                    <a:pt x="2065" y="115"/>
                  </a:lnTo>
                  <a:lnTo>
                    <a:pt x="2145" y="81"/>
                  </a:lnTo>
                  <a:lnTo>
                    <a:pt x="2228" y="52"/>
                  </a:lnTo>
                  <a:lnTo>
                    <a:pt x="2313" y="30"/>
                  </a:lnTo>
                  <a:lnTo>
                    <a:pt x="2399" y="14"/>
                  </a:lnTo>
                  <a:lnTo>
                    <a:pt x="2488" y="4"/>
                  </a:lnTo>
                  <a:lnTo>
                    <a:pt x="257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6" name="Freeform 7"/>
            <p:cNvSpPr>
              <a:spLocks noEditPoints="1"/>
            </p:cNvSpPr>
            <p:nvPr/>
          </p:nvSpPr>
          <p:spPr bwMode="auto">
            <a:xfrm>
              <a:off x="-1520" y="-2455"/>
              <a:ext cx="1980" cy="2201"/>
            </a:xfrm>
            <a:custGeom>
              <a:avLst/>
              <a:gdLst>
                <a:gd name="T0" fmla="*/ 952 w 1980"/>
                <a:gd name="T1" fmla="*/ 1375 h 2201"/>
                <a:gd name="T2" fmla="*/ 883 w 1980"/>
                <a:gd name="T3" fmla="*/ 1400 h 2201"/>
                <a:gd name="T4" fmla="*/ 829 w 1980"/>
                <a:gd name="T5" fmla="*/ 1447 h 2201"/>
                <a:gd name="T6" fmla="*/ 791 w 1980"/>
                <a:gd name="T7" fmla="*/ 1509 h 2201"/>
                <a:gd name="T8" fmla="*/ 778 w 1980"/>
                <a:gd name="T9" fmla="*/ 1583 h 2201"/>
                <a:gd name="T10" fmla="*/ 791 w 1980"/>
                <a:gd name="T11" fmla="*/ 1658 h 2201"/>
                <a:gd name="T12" fmla="*/ 830 w 1980"/>
                <a:gd name="T13" fmla="*/ 1722 h 2201"/>
                <a:gd name="T14" fmla="*/ 886 w 1980"/>
                <a:gd name="T15" fmla="*/ 1768 h 2201"/>
                <a:gd name="T16" fmla="*/ 1094 w 1980"/>
                <a:gd name="T17" fmla="*/ 2010 h 2201"/>
                <a:gd name="T18" fmla="*/ 1125 w 1980"/>
                <a:gd name="T19" fmla="*/ 1747 h 2201"/>
                <a:gd name="T20" fmla="*/ 1173 w 1980"/>
                <a:gd name="T21" fmla="*/ 1692 h 2201"/>
                <a:gd name="T22" fmla="*/ 1199 w 1980"/>
                <a:gd name="T23" fmla="*/ 1622 h 2201"/>
                <a:gd name="T24" fmla="*/ 1199 w 1980"/>
                <a:gd name="T25" fmla="*/ 1545 h 2201"/>
                <a:gd name="T26" fmla="*/ 1174 w 1980"/>
                <a:gd name="T27" fmla="*/ 1477 h 2201"/>
                <a:gd name="T28" fmla="*/ 1128 w 1980"/>
                <a:gd name="T29" fmla="*/ 1421 h 2201"/>
                <a:gd name="T30" fmla="*/ 1064 w 1980"/>
                <a:gd name="T31" fmla="*/ 1386 h 2201"/>
                <a:gd name="T32" fmla="*/ 991 w 1980"/>
                <a:gd name="T33" fmla="*/ 1372 h 2201"/>
                <a:gd name="T34" fmla="*/ 953 w 1980"/>
                <a:gd name="T35" fmla="*/ 224 h 2201"/>
                <a:gd name="T36" fmla="*/ 878 w 1980"/>
                <a:gd name="T37" fmla="*/ 237 h 2201"/>
                <a:gd name="T38" fmla="*/ 806 w 1980"/>
                <a:gd name="T39" fmla="*/ 265 h 2201"/>
                <a:gd name="T40" fmla="*/ 742 w 1980"/>
                <a:gd name="T41" fmla="*/ 306 h 2201"/>
                <a:gd name="T42" fmla="*/ 688 w 1980"/>
                <a:gd name="T43" fmla="*/ 362 h 2201"/>
                <a:gd name="T44" fmla="*/ 649 w 1980"/>
                <a:gd name="T45" fmla="*/ 432 h 2201"/>
                <a:gd name="T46" fmla="*/ 628 w 1980"/>
                <a:gd name="T47" fmla="*/ 518 h 2201"/>
                <a:gd name="T48" fmla="*/ 625 w 1980"/>
                <a:gd name="T49" fmla="*/ 991 h 2201"/>
                <a:gd name="T50" fmla="*/ 1346 w 1980"/>
                <a:gd name="T51" fmla="*/ 568 h 2201"/>
                <a:gd name="T52" fmla="*/ 1335 w 1980"/>
                <a:gd name="T53" fmla="*/ 473 h 2201"/>
                <a:gd name="T54" fmla="*/ 1307 w 1980"/>
                <a:gd name="T55" fmla="*/ 395 h 2201"/>
                <a:gd name="T56" fmla="*/ 1262 w 1980"/>
                <a:gd name="T57" fmla="*/ 331 h 2201"/>
                <a:gd name="T58" fmla="*/ 1205 w 1980"/>
                <a:gd name="T59" fmla="*/ 283 h 2201"/>
                <a:gd name="T60" fmla="*/ 1138 w 1980"/>
                <a:gd name="T61" fmla="*/ 249 h 2201"/>
                <a:gd name="T62" fmla="*/ 1066 w 1980"/>
                <a:gd name="T63" fmla="*/ 229 h 2201"/>
                <a:gd name="T64" fmla="*/ 991 w 1980"/>
                <a:gd name="T65" fmla="*/ 222 h 2201"/>
                <a:gd name="T66" fmla="*/ 1041 w 1980"/>
                <a:gd name="T67" fmla="*/ 3 h 2201"/>
                <a:gd name="T68" fmla="*/ 1141 w 1980"/>
                <a:gd name="T69" fmla="*/ 19 h 2201"/>
                <a:gd name="T70" fmla="*/ 1237 w 1980"/>
                <a:gd name="T71" fmla="*/ 51 h 2201"/>
                <a:gd name="T72" fmla="*/ 1326 w 1980"/>
                <a:gd name="T73" fmla="*/ 99 h 2201"/>
                <a:gd name="T74" fmla="*/ 1405 w 1980"/>
                <a:gd name="T75" fmla="*/ 162 h 2201"/>
                <a:gd name="T76" fmla="*/ 1472 w 1980"/>
                <a:gd name="T77" fmla="*/ 241 h 2201"/>
                <a:gd name="T78" fmla="*/ 1522 w 1980"/>
                <a:gd name="T79" fmla="*/ 335 h 2201"/>
                <a:gd name="T80" fmla="*/ 1556 w 1980"/>
                <a:gd name="T81" fmla="*/ 444 h 2201"/>
                <a:gd name="T82" fmla="*/ 1567 w 1980"/>
                <a:gd name="T83" fmla="*/ 568 h 2201"/>
                <a:gd name="T84" fmla="*/ 1980 w 1980"/>
                <a:gd name="T85" fmla="*/ 991 h 2201"/>
                <a:gd name="T86" fmla="*/ 1976 w 1980"/>
                <a:gd name="T87" fmla="*/ 2093 h 2201"/>
                <a:gd name="T88" fmla="*/ 1949 w 1980"/>
                <a:gd name="T89" fmla="*/ 2148 h 2201"/>
                <a:gd name="T90" fmla="*/ 1901 w 1980"/>
                <a:gd name="T91" fmla="*/ 2186 h 2201"/>
                <a:gd name="T92" fmla="*/ 1840 w 1980"/>
                <a:gd name="T93" fmla="*/ 2201 h 2201"/>
                <a:gd name="T94" fmla="*/ 108 w 1980"/>
                <a:gd name="T95" fmla="*/ 2197 h 2201"/>
                <a:gd name="T96" fmla="*/ 54 w 1980"/>
                <a:gd name="T97" fmla="*/ 2170 h 2201"/>
                <a:gd name="T98" fmla="*/ 15 w 1980"/>
                <a:gd name="T99" fmla="*/ 2123 h 2201"/>
                <a:gd name="T100" fmla="*/ 0 w 1980"/>
                <a:gd name="T101" fmla="*/ 2062 h 2201"/>
                <a:gd name="T102" fmla="*/ 403 w 1980"/>
                <a:gd name="T103" fmla="*/ 991 h 2201"/>
                <a:gd name="T104" fmla="*/ 406 w 1980"/>
                <a:gd name="T105" fmla="*/ 504 h 2201"/>
                <a:gd name="T106" fmla="*/ 431 w 1980"/>
                <a:gd name="T107" fmla="*/ 384 h 2201"/>
                <a:gd name="T108" fmla="*/ 478 w 1980"/>
                <a:gd name="T109" fmla="*/ 278 h 2201"/>
                <a:gd name="T110" fmla="*/ 548 w 1980"/>
                <a:gd name="T111" fmla="*/ 184 h 2201"/>
                <a:gd name="T112" fmla="*/ 640 w 1980"/>
                <a:gd name="T113" fmla="*/ 105 h 2201"/>
                <a:gd name="T114" fmla="*/ 746 w 1980"/>
                <a:gd name="T115" fmla="*/ 48 h 2201"/>
                <a:gd name="T116" fmla="*/ 864 w 1980"/>
                <a:gd name="T117" fmla="*/ 14 h 2201"/>
                <a:gd name="T118" fmla="*/ 991 w 1980"/>
                <a:gd name="T119" fmla="*/ 0 h 2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980" h="2201">
                  <a:moveTo>
                    <a:pt x="991" y="1372"/>
                  </a:moveTo>
                  <a:lnTo>
                    <a:pt x="952" y="1375"/>
                  </a:lnTo>
                  <a:lnTo>
                    <a:pt x="916" y="1386"/>
                  </a:lnTo>
                  <a:lnTo>
                    <a:pt x="883" y="1400"/>
                  </a:lnTo>
                  <a:lnTo>
                    <a:pt x="854" y="1421"/>
                  </a:lnTo>
                  <a:lnTo>
                    <a:pt x="829" y="1447"/>
                  </a:lnTo>
                  <a:lnTo>
                    <a:pt x="807" y="1477"/>
                  </a:lnTo>
                  <a:lnTo>
                    <a:pt x="791" y="1509"/>
                  </a:lnTo>
                  <a:lnTo>
                    <a:pt x="782" y="1545"/>
                  </a:lnTo>
                  <a:lnTo>
                    <a:pt x="778" y="1583"/>
                  </a:lnTo>
                  <a:lnTo>
                    <a:pt x="782" y="1622"/>
                  </a:lnTo>
                  <a:lnTo>
                    <a:pt x="791" y="1658"/>
                  </a:lnTo>
                  <a:lnTo>
                    <a:pt x="809" y="1692"/>
                  </a:lnTo>
                  <a:lnTo>
                    <a:pt x="830" y="1722"/>
                  </a:lnTo>
                  <a:lnTo>
                    <a:pt x="855" y="1747"/>
                  </a:lnTo>
                  <a:lnTo>
                    <a:pt x="886" y="1768"/>
                  </a:lnTo>
                  <a:lnTo>
                    <a:pt x="886" y="2010"/>
                  </a:lnTo>
                  <a:lnTo>
                    <a:pt x="1094" y="2010"/>
                  </a:lnTo>
                  <a:lnTo>
                    <a:pt x="1094" y="1768"/>
                  </a:lnTo>
                  <a:lnTo>
                    <a:pt x="1125" y="1747"/>
                  </a:lnTo>
                  <a:lnTo>
                    <a:pt x="1151" y="1722"/>
                  </a:lnTo>
                  <a:lnTo>
                    <a:pt x="1173" y="1692"/>
                  </a:lnTo>
                  <a:lnTo>
                    <a:pt x="1189" y="1658"/>
                  </a:lnTo>
                  <a:lnTo>
                    <a:pt x="1199" y="1622"/>
                  </a:lnTo>
                  <a:lnTo>
                    <a:pt x="1202" y="1583"/>
                  </a:lnTo>
                  <a:lnTo>
                    <a:pt x="1199" y="1545"/>
                  </a:lnTo>
                  <a:lnTo>
                    <a:pt x="1189" y="1509"/>
                  </a:lnTo>
                  <a:lnTo>
                    <a:pt x="1174" y="1477"/>
                  </a:lnTo>
                  <a:lnTo>
                    <a:pt x="1153" y="1447"/>
                  </a:lnTo>
                  <a:lnTo>
                    <a:pt x="1128" y="1421"/>
                  </a:lnTo>
                  <a:lnTo>
                    <a:pt x="1097" y="1400"/>
                  </a:lnTo>
                  <a:lnTo>
                    <a:pt x="1064" y="1386"/>
                  </a:lnTo>
                  <a:lnTo>
                    <a:pt x="1028" y="1375"/>
                  </a:lnTo>
                  <a:lnTo>
                    <a:pt x="991" y="1372"/>
                  </a:lnTo>
                  <a:close/>
                  <a:moveTo>
                    <a:pt x="991" y="222"/>
                  </a:moveTo>
                  <a:lnTo>
                    <a:pt x="953" y="224"/>
                  </a:lnTo>
                  <a:lnTo>
                    <a:pt x="915" y="229"/>
                  </a:lnTo>
                  <a:lnTo>
                    <a:pt x="878" y="237"/>
                  </a:lnTo>
                  <a:lnTo>
                    <a:pt x="842" y="249"/>
                  </a:lnTo>
                  <a:lnTo>
                    <a:pt x="806" y="265"/>
                  </a:lnTo>
                  <a:lnTo>
                    <a:pt x="773" y="283"/>
                  </a:lnTo>
                  <a:lnTo>
                    <a:pt x="742" y="306"/>
                  </a:lnTo>
                  <a:lnTo>
                    <a:pt x="713" y="332"/>
                  </a:lnTo>
                  <a:lnTo>
                    <a:pt x="688" y="362"/>
                  </a:lnTo>
                  <a:lnTo>
                    <a:pt x="666" y="395"/>
                  </a:lnTo>
                  <a:lnTo>
                    <a:pt x="649" y="432"/>
                  </a:lnTo>
                  <a:lnTo>
                    <a:pt x="636" y="473"/>
                  </a:lnTo>
                  <a:lnTo>
                    <a:pt x="628" y="518"/>
                  </a:lnTo>
                  <a:lnTo>
                    <a:pt x="625" y="568"/>
                  </a:lnTo>
                  <a:lnTo>
                    <a:pt x="625" y="991"/>
                  </a:lnTo>
                  <a:lnTo>
                    <a:pt x="1346" y="991"/>
                  </a:lnTo>
                  <a:lnTo>
                    <a:pt x="1346" y="568"/>
                  </a:lnTo>
                  <a:lnTo>
                    <a:pt x="1343" y="518"/>
                  </a:lnTo>
                  <a:lnTo>
                    <a:pt x="1335" y="473"/>
                  </a:lnTo>
                  <a:lnTo>
                    <a:pt x="1323" y="432"/>
                  </a:lnTo>
                  <a:lnTo>
                    <a:pt x="1307" y="395"/>
                  </a:lnTo>
                  <a:lnTo>
                    <a:pt x="1286" y="362"/>
                  </a:lnTo>
                  <a:lnTo>
                    <a:pt x="1262" y="331"/>
                  </a:lnTo>
                  <a:lnTo>
                    <a:pt x="1235" y="306"/>
                  </a:lnTo>
                  <a:lnTo>
                    <a:pt x="1205" y="283"/>
                  </a:lnTo>
                  <a:lnTo>
                    <a:pt x="1173" y="265"/>
                  </a:lnTo>
                  <a:lnTo>
                    <a:pt x="1138" y="249"/>
                  </a:lnTo>
                  <a:lnTo>
                    <a:pt x="1104" y="237"/>
                  </a:lnTo>
                  <a:lnTo>
                    <a:pt x="1066" y="229"/>
                  </a:lnTo>
                  <a:lnTo>
                    <a:pt x="1029" y="224"/>
                  </a:lnTo>
                  <a:lnTo>
                    <a:pt x="991" y="222"/>
                  </a:lnTo>
                  <a:close/>
                  <a:moveTo>
                    <a:pt x="991" y="0"/>
                  </a:moveTo>
                  <a:lnTo>
                    <a:pt x="1041" y="3"/>
                  </a:lnTo>
                  <a:lnTo>
                    <a:pt x="1092" y="8"/>
                  </a:lnTo>
                  <a:lnTo>
                    <a:pt x="1141" y="19"/>
                  </a:lnTo>
                  <a:lnTo>
                    <a:pt x="1190" y="34"/>
                  </a:lnTo>
                  <a:lnTo>
                    <a:pt x="1237" y="51"/>
                  </a:lnTo>
                  <a:lnTo>
                    <a:pt x="1283" y="73"/>
                  </a:lnTo>
                  <a:lnTo>
                    <a:pt x="1326" y="99"/>
                  </a:lnTo>
                  <a:lnTo>
                    <a:pt x="1367" y="128"/>
                  </a:lnTo>
                  <a:lnTo>
                    <a:pt x="1405" y="162"/>
                  </a:lnTo>
                  <a:lnTo>
                    <a:pt x="1440" y="200"/>
                  </a:lnTo>
                  <a:lnTo>
                    <a:pt x="1472" y="241"/>
                  </a:lnTo>
                  <a:lnTo>
                    <a:pt x="1500" y="286"/>
                  </a:lnTo>
                  <a:lnTo>
                    <a:pt x="1522" y="335"/>
                  </a:lnTo>
                  <a:lnTo>
                    <a:pt x="1542" y="387"/>
                  </a:lnTo>
                  <a:lnTo>
                    <a:pt x="1556" y="444"/>
                  </a:lnTo>
                  <a:lnTo>
                    <a:pt x="1563" y="504"/>
                  </a:lnTo>
                  <a:lnTo>
                    <a:pt x="1567" y="568"/>
                  </a:lnTo>
                  <a:lnTo>
                    <a:pt x="1567" y="991"/>
                  </a:lnTo>
                  <a:lnTo>
                    <a:pt x="1980" y="991"/>
                  </a:lnTo>
                  <a:lnTo>
                    <a:pt x="1980" y="2062"/>
                  </a:lnTo>
                  <a:lnTo>
                    <a:pt x="1976" y="2093"/>
                  </a:lnTo>
                  <a:lnTo>
                    <a:pt x="1965" y="2123"/>
                  </a:lnTo>
                  <a:lnTo>
                    <a:pt x="1949" y="2148"/>
                  </a:lnTo>
                  <a:lnTo>
                    <a:pt x="1928" y="2170"/>
                  </a:lnTo>
                  <a:lnTo>
                    <a:pt x="1901" y="2186"/>
                  </a:lnTo>
                  <a:lnTo>
                    <a:pt x="1872" y="2197"/>
                  </a:lnTo>
                  <a:lnTo>
                    <a:pt x="1840" y="2201"/>
                  </a:lnTo>
                  <a:lnTo>
                    <a:pt x="140" y="2201"/>
                  </a:lnTo>
                  <a:lnTo>
                    <a:pt x="108" y="2197"/>
                  </a:lnTo>
                  <a:lnTo>
                    <a:pt x="79" y="2186"/>
                  </a:lnTo>
                  <a:lnTo>
                    <a:pt x="54" y="2170"/>
                  </a:lnTo>
                  <a:lnTo>
                    <a:pt x="31" y="2148"/>
                  </a:lnTo>
                  <a:lnTo>
                    <a:pt x="15" y="2123"/>
                  </a:lnTo>
                  <a:lnTo>
                    <a:pt x="4" y="2093"/>
                  </a:lnTo>
                  <a:lnTo>
                    <a:pt x="0" y="2062"/>
                  </a:lnTo>
                  <a:lnTo>
                    <a:pt x="0" y="991"/>
                  </a:lnTo>
                  <a:lnTo>
                    <a:pt x="403" y="991"/>
                  </a:lnTo>
                  <a:lnTo>
                    <a:pt x="403" y="568"/>
                  </a:lnTo>
                  <a:lnTo>
                    <a:pt x="406" y="504"/>
                  </a:lnTo>
                  <a:lnTo>
                    <a:pt x="415" y="443"/>
                  </a:lnTo>
                  <a:lnTo>
                    <a:pt x="431" y="384"/>
                  </a:lnTo>
                  <a:lnTo>
                    <a:pt x="451" y="330"/>
                  </a:lnTo>
                  <a:lnTo>
                    <a:pt x="478" y="278"/>
                  </a:lnTo>
                  <a:lnTo>
                    <a:pt x="511" y="229"/>
                  </a:lnTo>
                  <a:lnTo>
                    <a:pt x="548" y="184"/>
                  </a:lnTo>
                  <a:lnTo>
                    <a:pt x="592" y="143"/>
                  </a:lnTo>
                  <a:lnTo>
                    <a:pt x="640" y="105"/>
                  </a:lnTo>
                  <a:lnTo>
                    <a:pt x="692" y="75"/>
                  </a:lnTo>
                  <a:lnTo>
                    <a:pt x="746" y="48"/>
                  </a:lnTo>
                  <a:lnTo>
                    <a:pt x="805" y="28"/>
                  </a:lnTo>
                  <a:lnTo>
                    <a:pt x="864" y="14"/>
                  </a:lnTo>
                  <a:lnTo>
                    <a:pt x="927" y="4"/>
                  </a:lnTo>
                  <a:lnTo>
                    <a:pt x="99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27" name="Group 16"/>
          <p:cNvGrpSpPr>
            <a:grpSpLocks noChangeAspect="1"/>
          </p:cNvGrpSpPr>
          <p:nvPr/>
        </p:nvGrpSpPr>
        <p:grpSpPr bwMode="auto">
          <a:xfrm>
            <a:off x="4538903" y="1749181"/>
            <a:ext cx="659095" cy="514800"/>
            <a:chOff x="687" y="448"/>
            <a:chExt cx="4385" cy="3425"/>
          </a:xfrm>
          <a:solidFill>
            <a:schemeClr val="bg1"/>
          </a:solidFill>
        </p:grpSpPr>
        <p:sp>
          <p:nvSpPr>
            <p:cNvPr id="28" name="Freeform 18"/>
            <p:cNvSpPr>
              <a:spLocks/>
            </p:cNvSpPr>
            <p:nvPr/>
          </p:nvSpPr>
          <p:spPr bwMode="auto">
            <a:xfrm>
              <a:off x="687" y="448"/>
              <a:ext cx="4385" cy="2675"/>
            </a:xfrm>
            <a:custGeom>
              <a:avLst/>
              <a:gdLst>
                <a:gd name="T0" fmla="*/ 2862 w 4385"/>
                <a:gd name="T1" fmla="*/ 35 h 2675"/>
                <a:gd name="T2" fmla="*/ 3200 w 4385"/>
                <a:gd name="T3" fmla="*/ 174 h 2675"/>
                <a:gd name="T4" fmla="*/ 3478 w 4385"/>
                <a:gd name="T5" fmla="*/ 407 h 2675"/>
                <a:gd name="T6" fmla="*/ 3676 w 4385"/>
                <a:gd name="T7" fmla="*/ 713 h 2675"/>
                <a:gd name="T8" fmla="*/ 3775 w 4385"/>
                <a:gd name="T9" fmla="*/ 1072 h 2675"/>
                <a:gd name="T10" fmla="*/ 4051 w 4385"/>
                <a:gd name="T11" fmla="*/ 1202 h 2675"/>
                <a:gd name="T12" fmla="*/ 4260 w 4385"/>
                <a:gd name="T13" fmla="*/ 1427 h 2675"/>
                <a:gd name="T14" fmla="*/ 4370 w 4385"/>
                <a:gd name="T15" fmla="*/ 1707 h 2675"/>
                <a:gd name="T16" fmla="*/ 4367 w 4385"/>
                <a:gd name="T17" fmla="*/ 2024 h 2675"/>
                <a:gd name="T18" fmla="*/ 4245 w 4385"/>
                <a:gd name="T19" fmla="*/ 2315 h 2675"/>
                <a:gd name="T20" fmla="*/ 4024 w 4385"/>
                <a:gd name="T21" fmla="*/ 2536 h 2675"/>
                <a:gd name="T22" fmla="*/ 3733 w 4385"/>
                <a:gd name="T23" fmla="*/ 2658 h 2675"/>
                <a:gd name="T24" fmla="*/ 3521 w 4385"/>
                <a:gd name="T25" fmla="*/ 2674 h 2675"/>
                <a:gd name="T26" fmla="*/ 3570 w 4385"/>
                <a:gd name="T27" fmla="*/ 2355 h 2675"/>
                <a:gd name="T28" fmla="*/ 3803 w 4385"/>
                <a:gd name="T29" fmla="*/ 2296 h 2675"/>
                <a:gd name="T30" fmla="*/ 3975 w 4385"/>
                <a:gd name="T31" fmla="*/ 2142 h 2675"/>
                <a:gd name="T32" fmla="*/ 4060 w 4385"/>
                <a:gd name="T33" fmla="*/ 1923 h 2675"/>
                <a:gd name="T34" fmla="*/ 4030 w 4385"/>
                <a:gd name="T35" fmla="*/ 1678 h 2675"/>
                <a:gd name="T36" fmla="*/ 3889 w 4385"/>
                <a:gd name="T37" fmla="*/ 1484 h 2675"/>
                <a:gd name="T38" fmla="*/ 3672 w 4385"/>
                <a:gd name="T39" fmla="*/ 1376 h 2675"/>
                <a:gd name="T40" fmla="*/ 3462 w 4385"/>
                <a:gd name="T41" fmla="*/ 1203 h 2675"/>
                <a:gd name="T42" fmla="*/ 3400 w 4385"/>
                <a:gd name="T43" fmla="*/ 879 h 2675"/>
                <a:gd name="T44" fmla="*/ 3230 w 4385"/>
                <a:gd name="T45" fmla="*/ 608 h 2675"/>
                <a:gd name="T46" fmla="*/ 2976 w 4385"/>
                <a:gd name="T47" fmla="*/ 415 h 2675"/>
                <a:gd name="T48" fmla="*/ 2662 w 4385"/>
                <a:gd name="T49" fmla="*/ 325 h 2675"/>
                <a:gd name="T50" fmla="*/ 2343 w 4385"/>
                <a:gd name="T51" fmla="*/ 353 h 2675"/>
                <a:gd name="T52" fmla="*/ 2065 w 4385"/>
                <a:gd name="T53" fmla="*/ 484 h 2675"/>
                <a:gd name="T54" fmla="*/ 1847 w 4385"/>
                <a:gd name="T55" fmla="*/ 705 h 2675"/>
                <a:gd name="T56" fmla="*/ 1547 w 4385"/>
                <a:gd name="T57" fmla="*/ 918 h 2675"/>
                <a:gd name="T58" fmla="*/ 1333 w 4385"/>
                <a:gd name="T59" fmla="*/ 863 h 2675"/>
                <a:gd name="T60" fmla="*/ 1111 w 4385"/>
                <a:gd name="T61" fmla="*/ 923 h 2675"/>
                <a:gd name="T62" fmla="*/ 952 w 4385"/>
                <a:gd name="T63" fmla="*/ 1081 h 2675"/>
                <a:gd name="T64" fmla="*/ 890 w 4385"/>
                <a:gd name="T65" fmla="*/ 1303 h 2675"/>
                <a:gd name="T66" fmla="*/ 682 w 4385"/>
                <a:gd name="T67" fmla="*/ 1473 h 2675"/>
                <a:gd name="T68" fmla="*/ 481 w 4385"/>
                <a:gd name="T69" fmla="*/ 1566 h 2675"/>
                <a:gd name="T70" fmla="*/ 352 w 4385"/>
                <a:gd name="T71" fmla="*/ 1741 h 2675"/>
                <a:gd name="T72" fmla="*/ 324 w 4385"/>
                <a:gd name="T73" fmla="*/ 1968 h 2675"/>
                <a:gd name="T74" fmla="*/ 412 w 4385"/>
                <a:gd name="T75" fmla="*/ 2178 h 2675"/>
                <a:gd name="T76" fmla="*/ 590 w 4385"/>
                <a:gd name="T77" fmla="*/ 2316 h 2675"/>
                <a:gd name="T78" fmla="*/ 805 w 4385"/>
                <a:gd name="T79" fmla="*/ 2348 h 2675"/>
                <a:gd name="T80" fmla="*/ 825 w 4385"/>
                <a:gd name="T81" fmla="*/ 2669 h 2675"/>
                <a:gd name="T82" fmla="*/ 536 w 4385"/>
                <a:gd name="T83" fmla="*/ 2637 h 2675"/>
                <a:gd name="T84" fmla="*/ 278 w 4385"/>
                <a:gd name="T85" fmla="*/ 2496 h 2675"/>
                <a:gd name="T86" fmla="*/ 92 w 4385"/>
                <a:gd name="T87" fmla="*/ 2271 h 2675"/>
                <a:gd name="T88" fmla="*/ 4 w 4385"/>
                <a:gd name="T89" fmla="*/ 1985 h 2675"/>
                <a:gd name="T90" fmla="*/ 32 w 4385"/>
                <a:gd name="T91" fmla="*/ 1687 h 2675"/>
                <a:gd name="T92" fmla="*/ 166 w 4385"/>
                <a:gd name="T93" fmla="*/ 1433 h 2675"/>
                <a:gd name="T94" fmla="*/ 381 w 4385"/>
                <a:gd name="T95" fmla="*/ 1247 h 2675"/>
                <a:gd name="T96" fmla="*/ 601 w 4385"/>
                <a:gd name="T97" fmla="*/ 1092 h 2675"/>
                <a:gd name="T98" fmla="*/ 739 w 4385"/>
                <a:gd name="T99" fmla="*/ 827 h 2675"/>
                <a:gd name="T100" fmla="*/ 966 w 4385"/>
                <a:gd name="T101" fmla="*/ 637 h 2675"/>
                <a:gd name="T102" fmla="*/ 1255 w 4385"/>
                <a:gd name="T103" fmla="*/ 547 h 2675"/>
                <a:gd name="T104" fmla="*/ 1551 w 4385"/>
                <a:gd name="T105" fmla="*/ 575 h 2675"/>
                <a:gd name="T106" fmla="*/ 1776 w 4385"/>
                <a:gd name="T107" fmla="*/ 306 h 2675"/>
                <a:gd name="T108" fmla="*/ 2065 w 4385"/>
                <a:gd name="T109" fmla="*/ 115 h 2675"/>
                <a:gd name="T110" fmla="*/ 2399 w 4385"/>
                <a:gd name="T111" fmla="*/ 14 h 26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385" h="2675">
                  <a:moveTo>
                    <a:pt x="2577" y="0"/>
                  </a:moveTo>
                  <a:lnTo>
                    <a:pt x="2674" y="4"/>
                  </a:lnTo>
                  <a:lnTo>
                    <a:pt x="2768" y="16"/>
                  </a:lnTo>
                  <a:lnTo>
                    <a:pt x="2862" y="35"/>
                  </a:lnTo>
                  <a:lnTo>
                    <a:pt x="2951" y="60"/>
                  </a:lnTo>
                  <a:lnTo>
                    <a:pt x="3037" y="92"/>
                  </a:lnTo>
                  <a:lnTo>
                    <a:pt x="3121" y="131"/>
                  </a:lnTo>
                  <a:lnTo>
                    <a:pt x="3200" y="174"/>
                  </a:lnTo>
                  <a:lnTo>
                    <a:pt x="3276" y="225"/>
                  </a:lnTo>
                  <a:lnTo>
                    <a:pt x="3349" y="281"/>
                  </a:lnTo>
                  <a:lnTo>
                    <a:pt x="3416" y="342"/>
                  </a:lnTo>
                  <a:lnTo>
                    <a:pt x="3478" y="407"/>
                  </a:lnTo>
                  <a:lnTo>
                    <a:pt x="3537" y="478"/>
                  </a:lnTo>
                  <a:lnTo>
                    <a:pt x="3589" y="552"/>
                  </a:lnTo>
                  <a:lnTo>
                    <a:pt x="3635" y="630"/>
                  </a:lnTo>
                  <a:lnTo>
                    <a:pt x="3676" y="713"/>
                  </a:lnTo>
                  <a:lnTo>
                    <a:pt x="3711" y="798"/>
                  </a:lnTo>
                  <a:lnTo>
                    <a:pt x="3739" y="887"/>
                  </a:lnTo>
                  <a:lnTo>
                    <a:pt x="3760" y="977"/>
                  </a:lnTo>
                  <a:lnTo>
                    <a:pt x="3775" y="1072"/>
                  </a:lnTo>
                  <a:lnTo>
                    <a:pt x="3848" y="1094"/>
                  </a:lnTo>
                  <a:lnTo>
                    <a:pt x="3919" y="1124"/>
                  </a:lnTo>
                  <a:lnTo>
                    <a:pt x="3987" y="1161"/>
                  </a:lnTo>
                  <a:lnTo>
                    <a:pt x="4051" y="1202"/>
                  </a:lnTo>
                  <a:lnTo>
                    <a:pt x="4111" y="1251"/>
                  </a:lnTo>
                  <a:lnTo>
                    <a:pt x="4167" y="1306"/>
                  </a:lnTo>
                  <a:lnTo>
                    <a:pt x="4216" y="1364"/>
                  </a:lnTo>
                  <a:lnTo>
                    <a:pt x="4260" y="1427"/>
                  </a:lnTo>
                  <a:lnTo>
                    <a:pt x="4297" y="1493"/>
                  </a:lnTo>
                  <a:lnTo>
                    <a:pt x="4329" y="1562"/>
                  </a:lnTo>
                  <a:lnTo>
                    <a:pt x="4353" y="1634"/>
                  </a:lnTo>
                  <a:lnTo>
                    <a:pt x="4370" y="1707"/>
                  </a:lnTo>
                  <a:lnTo>
                    <a:pt x="4381" y="1783"/>
                  </a:lnTo>
                  <a:lnTo>
                    <a:pt x="4385" y="1860"/>
                  </a:lnTo>
                  <a:lnTo>
                    <a:pt x="4381" y="1944"/>
                  </a:lnTo>
                  <a:lnTo>
                    <a:pt x="4367" y="2024"/>
                  </a:lnTo>
                  <a:lnTo>
                    <a:pt x="4347" y="2102"/>
                  </a:lnTo>
                  <a:lnTo>
                    <a:pt x="4321" y="2177"/>
                  </a:lnTo>
                  <a:lnTo>
                    <a:pt x="4286" y="2248"/>
                  </a:lnTo>
                  <a:lnTo>
                    <a:pt x="4245" y="2315"/>
                  </a:lnTo>
                  <a:lnTo>
                    <a:pt x="4199" y="2379"/>
                  </a:lnTo>
                  <a:lnTo>
                    <a:pt x="4145" y="2436"/>
                  </a:lnTo>
                  <a:lnTo>
                    <a:pt x="4088" y="2489"/>
                  </a:lnTo>
                  <a:lnTo>
                    <a:pt x="4024" y="2536"/>
                  </a:lnTo>
                  <a:lnTo>
                    <a:pt x="3958" y="2577"/>
                  </a:lnTo>
                  <a:lnTo>
                    <a:pt x="3886" y="2611"/>
                  </a:lnTo>
                  <a:lnTo>
                    <a:pt x="3812" y="2638"/>
                  </a:lnTo>
                  <a:lnTo>
                    <a:pt x="3733" y="2658"/>
                  </a:lnTo>
                  <a:lnTo>
                    <a:pt x="3654" y="2671"/>
                  </a:lnTo>
                  <a:lnTo>
                    <a:pt x="3570" y="2675"/>
                  </a:lnTo>
                  <a:lnTo>
                    <a:pt x="3546" y="2675"/>
                  </a:lnTo>
                  <a:lnTo>
                    <a:pt x="3521" y="2674"/>
                  </a:lnTo>
                  <a:lnTo>
                    <a:pt x="3497" y="2673"/>
                  </a:lnTo>
                  <a:lnTo>
                    <a:pt x="3497" y="2349"/>
                  </a:lnTo>
                  <a:lnTo>
                    <a:pt x="3533" y="2353"/>
                  </a:lnTo>
                  <a:lnTo>
                    <a:pt x="3570" y="2355"/>
                  </a:lnTo>
                  <a:lnTo>
                    <a:pt x="3632" y="2351"/>
                  </a:lnTo>
                  <a:lnTo>
                    <a:pt x="3692" y="2340"/>
                  </a:lnTo>
                  <a:lnTo>
                    <a:pt x="3748" y="2322"/>
                  </a:lnTo>
                  <a:lnTo>
                    <a:pt x="3803" y="2296"/>
                  </a:lnTo>
                  <a:lnTo>
                    <a:pt x="3852" y="2266"/>
                  </a:lnTo>
                  <a:lnTo>
                    <a:pt x="3898" y="2230"/>
                  </a:lnTo>
                  <a:lnTo>
                    <a:pt x="3939" y="2189"/>
                  </a:lnTo>
                  <a:lnTo>
                    <a:pt x="3975" y="2142"/>
                  </a:lnTo>
                  <a:lnTo>
                    <a:pt x="4006" y="2093"/>
                  </a:lnTo>
                  <a:lnTo>
                    <a:pt x="4031" y="2038"/>
                  </a:lnTo>
                  <a:lnTo>
                    <a:pt x="4050" y="1983"/>
                  </a:lnTo>
                  <a:lnTo>
                    <a:pt x="4060" y="1923"/>
                  </a:lnTo>
                  <a:lnTo>
                    <a:pt x="4064" y="1860"/>
                  </a:lnTo>
                  <a:lnTo>
                    <a:pt x="4060" y="1798"/>
                  </a:lnTo>
                  <a:lnTo>
                    <a:pt x="4048" y="1737"/>
                  </a:lnTo>
                  <a:lnTo>
                    <a:pt x="4030" y="1678"/>
                  </a:lnTo>
                  <a:lnTo>
                    <a:pt x="4003" y="1624"/>
                  </a:lnTo>
                  <a:lnTo>
                    <a:pt x="3971" y="1572"/>
                  </a:lnTo>
                  <a:lnTo>
                    <a:pt x="3933" y="1525"/>
                  </a:lnTo>
                  <a:lnTo>
                    <a:pt x="3889" y="1484"/>
                  </a:lnTo>
                  <a:lnTo>
                    <a:pt x="3841" y="1447"/>
                  </a:lnTo>
                  <a:lnTo>
                    <a:pt x="3788" y="1418"/>
                  </a:lnTo>
                  <a:lnTo>
                    <a:pt x="3732" y="1394"/>
                  </a:lnTo>
                  <a:lnTo>
                    <a:pt x="3672" y="1376"/>
                  </a:lnTo>
                  <a:lnTo>
                    <a:pt x="3610" y="1367"/>
                  </a:lnTo>
                  <a:lnTo>
                    <a:pt x="3462" y="1356"/>
                  </a:lnTo>
                  <a:lnTo>
                    <a:pt x="3462" y="1207"/>
                  </a:lnTo>
                  <a:lnTo>
                    <a:pt x="3462" y="1203"/>
                  </a:lnTo>
                  <a:lnTo>
                    <a:pt x="3458" y="1118"/>
                  </a:lnTo>
                  <a:lnTo>
                    <a:pt x="3445" y="1036"/>
                  </a:lnTo>
                  <a:lnTo>
                    <a:pt x="3426" y="956"/>
                  </a:lnTo>
                  <a:lnTo>
                    <a:pt x="3400" y="879"/>
                  </a:lnTo>
                  <a:lnTo>
                    <a:pt x="3367" y="806"/>
                  </a:lnTo>
                  <a:lnTo>
                    <a:pt x="3327" y="736"/>
                  </a:lnTo>
                  <a:lnTo>
                    <a:pt x="3280" y="669"/>
                  </a:lnTo>
                  <a:lnTo>
                    <a:pt x="3230" y="608"/>
                  </a:lnTo>
                  <a:lnTo>
                    <a:pt x="3173" y="552"/>
                  </a:lnTo>
                  <a:lnTo>
                    <a:pt x="3111" y="500"/>
                  </a:lnTo>
                  <a:lnTo>
                    <a:pt x="3046" y="455"/>
                  </a:lnTo>
                  <a:lnTo>
                    <a:pt x="2976" y="415"/>
                  </a:lnTo>
                  <a:lnTo>
                    <a:pt x="2901" y="382"/>
                  </a:lnTo>
                  <a:lnTo>
                    <a:pt x="2824" y="357"/>
                  </a:lnTo>
                  <a:lnTo>
                    <a:pt x="2745" y="337"/>
                  </a:lnTo>
                  <a:lnTo>
                    <a:pt x="2662" y="325"/>
                  </a:lnTo>
                  <a:lnTo>
                    <a:pt x="2577" y="321"/>
                  </a:lnTo>
                  <a:lnTo>
                    <a:pt x="2497" y="325"/>
                  </a:lnTo>
                  <a:lnTo>
                    <a:pt x="2419" y="335"/>
                  </a:lnTo>
                  <a:lnTo>
                    <a:pt x="2343" y="353"/>
                  </a:lnTo>
                  <a:lnTo>
                    <a:pt x="2269" y="377"/>
                  </a:lnTo>
                  <a:lnTo>
                    <a:pt x="2198" y="406"/>
                  </a:lnTo>
                  <a:lnTo>
                    <a:pt x="2129" y="443"/>
                  </a:lnTo>
                  <a:lnTo>
                    <a:pt x="2065" y="484"/>
                  </a:lnTo>
                  <a:lnTo>
                    <a:pt x="2004" y="532"/>
                  </a:lnTo>
                  <a:lnTo>
                    <a:pt x="1947" y="585"/>
                  </a:lnTo>
                  <a:lnTo>
                    <a:pt x="1895" y="642"/>
                  </a:lnTo>
                  <a:lnTo>
                    <a:pt x="1847" y="705"/>
                  </a:lnTo>
                  <a:lnTo>
                    <a:pt x="1806" y="771"/>
                  </a:lnTo>
                  <a:lnTo>
                    <a:pt x="1770" y="843"/>
                  </a:lnTo>
                  <a:lnTo>
                    <a:pt x="1699" y="1001"/>
                  </a:lnTo>
                  <a:lnTo>
                    <a:pt x="1547" y="918"/>
                  </a:lnTo>
                  <a:lnTo>
                    <a:pt x="1497" y="894"/>
                  </a:lnTo>
                  <a:lnTo>
                    <a:pt x="1443" y="876"/>
                  </a:lnTo>
                  <a:lnTo>
                    <a:pt x="1389" y="866"/>
                  </a:lnTo>
                  <a:lnTo>
                    <a:pt x="1333" y="863"/>
                  </a:lnTo>
                  <a:lnTo>
                    <a:pt x="1273" y="867"/>
                  </a:lnTo>
                  <a:lnTo>
                    <a:pt x="1216" y="879"/>
                  </a:lnTo>
                  <a:lnTo>
                    <a:pt x="1162" y="898"/>
                  </a:lnTo>
                  <a:lnTo>
                    <a:pt x="1111" y="923"/>
                  </a:lnTo>
                  <a:lnTo>
                    <a:pt x="1063" y="955"/>
                  </a:lnTo>
                  <a:lnTo>
                    <a:pt x="1021" y="992"/>
                  </a:lnTo>
                  <a:lnTo>
                    <a:pt x="984" y="1035"/>
                  </a:lnTo>
                  <a:lnTo>
                    <a:pt x="952" y="1081"/>
                  </a:lnTo>
                  <a:lnTo>
                    <a:pt x="926" y="1132"/>
                  </a:lnTo>
                  <a:lnTo>
                    <a:pt x="906" y="1186"/>
                  </a:lnTo>
                  <a:lnTo>
                    <a:pt x="894" y="1243"/>
                  </a:lnTo>
                  <a:lnTo>
                    <a:pt x="890" y="1303"/>
                  </a:lnTo>
                  <a:lnTo>
                    <a:pt x="890" y="1306"/>
                  </a:lnTo>
                  <a:lnTo>
                    <a:pt x="890" y="1459"/>
                  </a:lnTo>
                  <a:lnTo>
                    <a:pt x="739" y="1465"/>
                  </a:lnTo>
                  <a:lnTo>
                    <a:pt x="682" y="1473"/>
                  </a:lnTo>
                  <a:lnTo>
                    <a:pt x="626" y="1487"/>
                  </a:lnTo>
                  <a:lnTo>
                    <a:pt x="574" y="1507"/>
                  </a:lnTo>
                  <a:lnTo>
                    <a:pt x="526" y="1533"/>
                  </a:lnTo>
                  <a:lnTo>
                    <a:pt x="481" y="1566"/>
                  </a:lnTo>
                  <a:lnTo>
                    <a:pt x="441" y="1604"/>
                  </a:lnTo>
                  <a:lnTo>
                    <a:pt x="407" y="1645"/>
                  </a:lnTo>
                  <a:lnTo>
                    <a:pt x="376" y="1691"/>
                  </a:lnTo>
                  <a:lnTo>
                    <a:pt x="352" y="1741"/>
                  </a:lnTo>
                  <a:lnTo>
                    <a:pt x="335" y="1794"/>
                  </a:lnTo>
                  <a:lnTo>
                    <a:pt x="324" y="1850"/>
                  </a:lnTo>
                  <a:lnTo>
                    <a:pt x="320" y="1908"/>
                  </a:lnTo>
                  <a:lnTo>
                    <a:pt x="324" y="1968"/>
                  </a:lnTo>
                  <a:lnTo>
                    <a:pt x="336" y="2025"/>
                  </a:lnTo>
                  <a:lnTo>
                    <a:pt x="355" y="2080"/>
                  </a:lnTo>
                  <a:lnTo>
                    <a:pt x="380" y="2131"/>
                  </a:lnTo>
                  <a:lnTo>
                    <a:pt x="412" y="2178"/>
                  </a:lnTo>
                  <a:lnTo>
                    <a:pt x="449" y="2221"/>
                  </a:lnTo>
                  <a:lnTo>
                    <a:pt x="492" y="2258"/>
                  </a:lnTo>
                  <a:lnTo>
                    <a:pt x="540" y="2290"/>
                  </a:lnTo>
                  <a:lnTo>
                    <a:pt x="590" y="2316"/>
                  </a:lnTo>
                  <a:lnTo>
                    <a:pt x="645" y="2335"/>
                  </a:lnTo>
                  <a:lnTo>
                    <a:pt x="703" y="2347"/>
                  </a:lnTo>
                  <a:lnTo>
                    <a:pt x="763" y="2351"/>
                  </a:lnTo>
                  <a:lnTo>
                    <a:pt x="805" y="2348"/>
                  </a:lnTo>
                  <a:lnTo>
                    <a:pt x="847" y="2343"/>
                  </a:lnTo>
                  <a:lnTo>
                    <a:pt x="888" y="2332"/>
                  </a:lnTo>
                  <a:lnTo>
                    <a:pt x="888" y="2661"/>
                  </a:lnTo>
                  <a:lnTo>
                    <a:pt x="825" y="2669"/>
                  </a:lnTo>
                  <a:lnTo>
                    <a:pt x="763" y="2671"/>
                  </a:lnTo>
                  <a:lnTo>
                    <a:pt x="684" y="2667"/>
                  </a:lnTo>
                  <a:lnTo>
                    <a:pt x="609" y="2655"/>
                  </a:lnTo>
                  <a:lnTo>
                    <a:pt x="536" y="2637"/>
                  </a:lnTo>
                  <a:lnTo>
                    <a:pt x="467" y="2610"/>
                  </a:lnTo>
                  <a:lnTo>
                    <a:pt x="399" y="2578"/>
                  </a:lnTo>
                  <a:lnTo>
                    <a:pt x="336" y="2540"/>
                  </a:lnTo>
                  <a:lnTo>
                    <a:pt x="278" y="2496"/>
                  </a:lnTo>
                  <a:lnTo>
                    <a:pt x="223" y="2447"/>
                  </a:lnTo>
                  <a:lnTo>
                    <a:pt x="174" y="2393"/>
                  </a:lnTo>
                  <a:lnTo>
                    <a:pt x="130" y="2334"/>
                  </a:lnTo>
                  <a:lnTo>
                    <a:pt x="92" y="2271"/>
                  </a:lnTo>
                  <a:lnTo>
                    <a:pt x="60" y="2205"/>
                  </a:lnTo>
                  <a:lnTo>
                    <a:pt x="35" y="2134"/>
                  </a:lnTo>
                  <a:lnTo>
                    <a:pt x="16" y="2061"/>
                  </a:lnTo>
                  <a:lnTo>
                    <a:pt x="4" y="1985"/>
                  </a:lnTo>
                  <a:lnTo>
                    <a:pt x="0" y="1908"/>
                  </a:lnTo>
                  <a:lnTo>
                    <a:pt x="4" y="1832"/>
                  </a:lnTo>
                  <a:lnTo>
                    <a:pt x="15" y="1758"/>
                  </a:lnTo>
                  <a:lnTo>
                    <a:pt x="32" y="1687"/>
                  </a:lnTo>
                  <a:lnTo>
                    <a:pt x="57" y="1618"/>
                  </a:lnTo>
                  <a:lnTo>
                    <a:pt x="88" y="1553"/>
                  </a:lnTo>
                  <a:lnTo>
                    <a:pt x="124" y="1491"/>
                  </a:lnTo>
                  <a:lnTo>
                    <a:pt x="166" y="1433"/>
                  </a:lnTo>
                  <a:lnTo>
                    <a:pt x="213" y="1379"/>
                  </a:lnTo>
                  <a:lnTo>
                    <a:pt x="264" y="1330"/>
                  </a:lnTo>
                  <a:lnTo>
                    <a:pt x="320" y="1286"/>
                  </a:lnTo>
                  <a:lnTo>
                    <a:pt x="381" y="1247"/>
                  </a:lnTo>
                  <a:lnTo>
                    <a:pt x="445" y="1214"/>
                  </a:lnTo>
                  <a:lnTo>
                    <a:pt x="513" y="1188"/>
                  </a:lnTo>
                  <a:lnTo>
                    <a:pt x="583" y="1166"/>
                  </a:lnTo>
                  <a:lnTo>
                    <a:pt x="601" y="1092"/>
                  </a:lnTo>
                  <a:lnTo>
                    <a:pt x="626" y="1020"/>
                  </a:lnTo>
                  <a:lnTo>
                    <a:pt x="658" y="952"/>
                  </a:lnTo>
                  <a:lnTo>
                    <a:pt x="695" y="887"/>
                  </a:lnTo>
                  <a:lnTo>
                    <a:pt x="739" y="827"/>
                  </a:lnTo>
                  <a:lnTo>
                    <a:pt x="788" y="771"/>
                  </a:lnTo>
                  <a:lnTo>
                    <a:pt x="843" y="721"/>
                  </a:lnTo>
                  <a:lnTo>
                    <a:pt x="902" y="677"/>
                  </a:lnTo>
                  <a:lnTo>
                    <a:pt x="966" y="637"/>
                  </a:lnTo>
                  <a:lnTo>
                    <a:pt x="1033" y="604"/>
                  </a:lnTo>
                  <a:lnTo>
                    <a:pt x="1103" y="577"/>
                  </a:lnTo>
                  <a:lnTo>
                    <a:pt x="1178" y="559"/>
                  </a:lnTo>
                  <a:lnTo>
                    <a:pt x="1255" y="547"/>
                  </a:lnTo>
                  <a:lnTo>
                    <a:pt x="1333" y="543"/>
                  </a:lnTo>
                  <a:lnTo>
                    <a:pt x="1408" y="547"/>
                  </a:lnTo>
                  <a:lnTo>
                    <a:pt x="1479" y="557"/>
                  </a:lnTo>
                  <a:lnTo>
                    <a:pt x="1551" y="575"/>
                  </a:lnTo>
                  <a:lnTo>
                    <a:pt x="1600" y="500"/>
                  </a:lnTo>
                  <a:lnTo>
                    <a:pt x="1655" y="431"/>
                  </a:lnTo>
                  <a:lnTo>
                    <a:pt x="1713" y="366"/>
                  </a:lnTo>
                  <a:lnTo>
                    <a:pt x="1776" y="306"/>
                  </a:lnTo>
                  <a:lnTo>
                    <a:pt x="1842" y="250"/>
                  </a:lnTo>
                  <a:lnTo>
                    <a:pt x="1914" y="200"/>
                  </a:lnTo>
                  <a:lnTo>
                    <a:pt x="1987" y="155"/>
                  </a:lnTo>
                  <a:lnTo>
                    <a:pt x="2065" y="115"/>
                  </a:lnTo>
                  <a:lnTo>
                    <a:pt x="2145" y="81"/>
                  </a:lnTo>
                  <a:lnTo>
                    <a:pt x="2228" y="52"/>
                  </a:lnTo>
                  <a:lnTo>
                    <a:pt x="2313" y="30"/>
                  </a:lnTo>
                  <a:lnTo>
                    <a:pt x="2399" y="14"/>
                  </a:lnTo>
                  <a:lnTo>
                    <a:pt x="2488" y="4"/>
                  </a:lnTo>
                  <a:lnTo>
                    <a:pt x="257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9" name="Freeform 19"/>
            <p:cNvSpPr>
              <a:spLocks noEditPoints="1"/>
            </p:cNvSpPr>
            <p:nvPr/>
          </p:nvSpPr>
          <p:spPr bwMode="auto">
            <a:xfrm>
              <a:off x="2936" y="1839"/>
              <a:ext cx="1013" cy="2034"/>
            </a:xfrm>
            <a:custGeom>
              <a:avLst/>
              <a:gdLst>
                <a:gd name="T0" fmla="*/ 142 w 1013"/>
                <a:gd name="T1" fmla="*/ 1898 h 2034"/>
                <a:gd name="T2" fmla="*/ 248 w 1013"/>
                <a:gd name="T3" fmla="*/ 1804 h 2034"/>
                <a:gd name="T4" fmla="*/ 340 w 1013"/>
                <a:gd name="T5" fmla="*/ 1648 h 2034"/>
                <a:gd name="T6" fmla="*/ 409 w 1013"/>
                <a:gd name="T7" fmla="*/ 1446 h 2034"/>
                <a:gd name="T8" fmla="*/ 498 w 1013"/>
                <a:gd name="T9" fmla="*/ 1531 h 2034"/>
                <a:gd name="T10" fmla="*/ 411 w 1013"/>
                <a:gd name="T11" fmla="*/ 1753 h 2034"/>
                <a:gd name="T12" fmla="*/ 409 w 1013"/>
                <a:gd name="T13" fmla="*/ 1839 h 2034"/>
                <a:gd name="T14" fmla="*/ 607 w 1013"/>
                <a:gd name="T15" fmla="*/ 1703 h 2034"/>
                <a:gd name="T16" fmla="*/ 761 w 1013"/>
                <a:gd name="T17" fmla="*/ 1517 h 2034"/>
                <a:gd name="T18" fmla="*/ 566 w 1013"/>
                <a:gd name="T19" fmla="*/ 1074 h 2034"/>
                <a:gd name="T20" fmla="*/ 542 w 1013"/>
                <a:gd name="T21" fmla="*/ 1333 h 2034"/>
                <a:gd name="T22" fmla="*/ 886 w 1013"/>
                <a:gd name="T23" fmla="*/ 1207 h 2034"/>
                <a:gd name="T24" fmla="*/ 566 w 1013"/>
                <a:gd name="T25" fmla="*/ 1074 h 2034"/>
                <a:gd name="T26" fmla="*/ 433 w 1013"/>
                <a:gd name="T27" fmla="*/ 1333 h 2034"/>
                <a:gd name="T28" fmla="*/ 458 w 1013"/>
                <a:gd name="T29" fmla="*/ 1074 h 2034"/>
                <a:gd name="T30" fmla="*/ 553 w 1013"/>
                <a:gd name="T31" fmla="*/ 779 h 2034"/>
                <a:gd name="T32" fmla="*/ 904 w 1013"/>
                <a:gd name="T33" fmla="*/ 961 h 2034"/>
                <a:gd name="T34" fmla="*/ 869 w 1013"/>
                <a:gd name="T35" fmla="*/ 758 h 2034"/>
                <a:gd name="T36" fmla="*/ 103 w 1013"/>
                <a:gd name="T37" fmla="*/ 694 h 2034"/>
                <a:gd name="T38" fmla="*/ 453 w 1013"/>
                <a:gd name="T39" fmla="*/ 868 h 2034"/>
                <a:gd name="T40" fmla="*/ 103 w 1013"/>
                <a:gd name="T41" fmla="*/ 694 h 2034"/>
                <a:gd name="T42" fmla="*/ 409 w 1013"/>
                <a:gd name="T43" fmla="*/ 279 h 2034"/>
                <a:gd name="T44" fmla="*/ 496 w 1013"/>
                <a:gd name="T45" fmla="*/ 497 h 2034"/>
                <a:gd name="T46" fmla="*/ 757 w 1013"/>
                <a:gd name="T47" fmla="*/ 510 h 2034"/>
                <a:gd name="T48" fmla="*/ 603 w 1013"/>
                <a:gd name="T49" fmla="*/ 328 h 2034"/>
                <a:gd name="T50" fmla="*/ 408 w 1013"/>
                <a:gd name="T51" fmla="*/ 195 h 2034"/>
                <a:gd name="T52" fmla="*/ 103 w 1013"/>
                <a:gd name="T53" fmla="*/ 580 h 2034"/>
                <a:gd name="T54" fmla="*/ 363 w 1013"/>
                <a:gd name="T55" fmla="*/ 443 h 2034"/>
                <a:gd name="T56" fmla="*/ 279 w 1013"/>
                <a:gd name="T57" fmla="*/ 274 h 2034"/>
                <a:gd name="T58" fmla="*/ 178 w 1013"/>
                <a:gd name="T59" fmla="*/ 161 h 2034"/>
                <a:gd name="T60" fmla="*/ 49 w 1013"/>
                <a:gd name="T61" fmla="*/ 0 h 2034"/>
                <a:gd name="T62" fmla="*/ 57 w 1013"/>
                <a:gd name="T63" fmla="*/ 0 h 2034"/>
                <a:gd name="T64" fmla="*/ 311 w 1013"/>
                <a:gd name="T65" fmla="*/ 37 h 2034"/>
                <a:gd name="T66" fmla="*/ 539 w 1013"/>
                <a:gd name="T67" fmla="*/ 141 h 2034"/>
                <a:gd name="T68" fmla="*/ 732 w 1013"/>
                <a:gd name="T69" fmla="*/ 300 h 2034"/>
                <a:gd name="T70" fmla="*/ 881 w 1013"/>
                <a:gd name="T71" fmla="*/ 506 h 2034"/>
                <a:gd name="T72" fmla="*/ 978 w 1013"/>
                <a:gd name="T73" fmla="*/ 748 h 2034"/>
                <a:gd name="T74" fmla="*/ 1013 w 1013"/>
                <a:gd name="T75" fmla="*/ 1017 h 2034"/>
                <a:gd name="T76" fmla="*/ 979 w 1013"/>
                <a:gd name="T77" fmla="*/ 1279 h 2034"/>
                <a:gd name="T78" fmla="*/ 889 w 1013"/>
                <a:gd name="T79" fmla="*/ 1516 h 2034"/>
                <a:gd name="T80" fmla="*/ 747 w 1013"/>
                <a:gd name="T81" fmla="*/ 1718 h 2034"/>
                <a:gd name="T82" fmla="*/ 563 w 1013"/>
                <a:gd name="T83" fmla="*/ 1877 h 2034"/>
                <a:gd name="T84" fmla="*/ 345 w 1013"/>
                <a:gd name="T85" fmla="*/ 1986 h 2034"/>
                <a:gd name="T86" fmla="*/ 103 w 1013"/>
                <a:gd name="T87" fmla="*/ 2034 h 2034"/>
                <a:gd name="T88" fmla="*/ 0 w 1013"/>
                <a:gd name="T89" fmla="*/ 694 h 2034"/>
                <a:gd name="T90" fmla="*/ 0 w 1013"/>
                <a:gd name="T91" fmla="*/ 121 h 2034"/>
                <a:gd name="T92" fmla="*/ 45 w 1013"/>
                <a:gd name="T93" fmla="*/ 0 h 20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013" h="2034">
                  <a:moveTo>
                    <a:pt x="103" y="1446"/>
                  </a:moveTo>
                  <a:lnTo>
                    <a:pt x="103" y="1914"/>
                  </a:lnTo>
                  <a:lnTo>
                    <a:pt x="142" y="1898"/>
                  </a:lnTo>
                  <a:lnTo>
                    <a:pt x="179" y="1874"/>
                  </a:lnTo>
                  <a:lnTo>
                    <a:pt x="215" y="1843"/>
                  </a:lnTo>
                  <a:lnTo>
                    <a:pt x="248" y="1804"/>
                  </a:lnTo>
                  <a:lnTo>
                    <a:pt x="282" y="1757"/>
                  </a:lnTo>
                  <a:lnTo>
                    <a:pt x="312" y="1707"/>
                  </a:lnTo>
                  <a:lnTo>
                    <a:pt x="340" y="1648"/>
                  </a:lnTo>
                  <a:lnTo>
                    <a:pt x="365" y="1586"/>
                  </a:lnTo>
                  <a:lnTo>
                    <a:pt x="388" y="1518"/>
                  </a:lnTo>
                  <a:lnTo>
                    <a:pt x="409" y="1446"/>
                  </a:lnTo>
                  <a:lnTo>
                    <a:pt x="103" y="1446"/>
                  </a:lnTo>
                  <a:close/>
                  <a:moveTo>
                    <a:pt x="519" y="1446"/>
                  </a:moveTo>
                  <a:lnTo>
                    <a:pt x="498" y="1531"/>
                  </a:lnTo>
                  <a:lnTo>
                    <a:pt x="472" y="1610"/>
                  </a:lnTo>
                  <a:lnTo>
                    <a:pt x="442" y="1684"/>
                  </a:lnTo>
                  <a:lnTo>
                    <a:pt x="411" y="1753"/>
                  </a:lnTo>
                  <a:lnTo>
                    <a:pt x="375" y="1815"/>
                  </a:lnTo>
                  <a:lnTo>
                    <a:pt x="335" y="1870"/>
                  </a:lnTo>
                  <a:lnTo>
                    <a:pt x="409" y="1839"/>
                  </a:lnTo>
                  <a:lnTo>
                    <a:pt x="478" y="1800"/>
                  </a:lnTo>
                  <a:lnTo>
                    <a:pt x="545" y="1755"/>
                  </a:lnTo>
                  <a:lnTo>
                    <a:pt x="607" y="1703"/>
                  </a:lnTo>
                  <a:lnTo>
                    <a:pt x="663" y="1646"/>
                  </a:lnTo>
                  <a:lnTo>
                    <a:pt x="716" y="1585"/>
                  </a:lnTo>
                  <a:lnTo>
                    <a:pt x="761" y="1517"/>
                  </a:lnTo>
                  <a:lnTo>
                    <a:pt x="803" y="1446"/>
                  </a:lnTo>
                  <a:lnTo>
                    <a:pt x="519" y="1446"/>
                  </a:lnTo>
                  <a:close/>
                  <a:moveTo>
                    <a:pt x="566" y="1074"/>
                  </a:moveTo>
                  <a:lnTo>
                    <a:pt x="561" y="1163"/>
                  </a:lnTo>
                  <a:lnTo>
                    <a:pt x="553" y="1250"/>
                  </a:lnTo>
                  <a:lnTo>
                    <a:pt x="542" y="1333"/>
                  </a:lnTo>
                  <a:lnTo>
                    <a:pt x="852" y="1333"/>
                  </a:lnTo>
                  <a:lnTo>
                    <a:pt x="870" y="1271"/>
                  </a:lnTo>
                  <a:lnTo>
                    <a:pt x="886" y="1207"/>
                  </a:lnTo>
                  <a:lnTo>
                    <a:pt x="897" y="1141"/>
                  </a:lnTo>
                  <a:lnTo>
                    <a:pt x="904" y="1074"/>
                  </a:lnTo>
                  <a:lnTo>
                    <a:pt x="566" y="1074"/>
                  </a:lnTo>
                  <a:close/>
                  <a:moveTo>
                    <a:pt x="103" y="1074"/>
                  </a:moveTo>
                  <a:lnTo>
                    <a:pt x="103" y="1333"/>
                  </a:lnTo>
                  <a:lnTo>
                    <a:pt x="433" y="1333"/>
                  </a:lnTo>
                  <a:lnTo>
                    <a:pt x="445" y="1250"/>
                  </a:lnTo>
                  <a:lnTo>
                    <a:pt x="453" y="1163"/>
                  </a:lnTo>
                  <a:lnTo>
                    <a:pt x="458" y="1074"/>
                  </a:lnTo>
                  <a:lnTo>
                    <a:pt x="103" y="1074"/>
                  </a:lnTo>
                  <a:close/>
                  <a:moveTo>
                    <a:pt x="541" y="694"/>
                  </a:moveTo>
                  <a:lnTo>
                    <a:pt x="553" y="779"/>
                  </a:lnTo>
                  <a:lnTo>
                    <a:pt x="561" y="868"/>
                  </a:lnTo>
                  <a:lnTo>
                    <a:pt x="566" y="961"/>
                  </a:lnTo>
                  <a:lnTo>
                    <a:pt x="904" y="961"/>
                  </a:lnTo>
                  <a:lnTo>
                    <a:pt x="897" y="891"/>
                  </a:lnTo>
                  <a:lnTo>
                    <a:pt x="885" y="823"/>
                  </a:lnTo>
                  <a:lnTo>
                    <a:pt x="869" y="758"/>
                  </a:lnTo>
                  <a:lnTo>
                    <a:pt x="848" y="694"/>
                  </a:lnTo>
                  <a:lnTo>
                    <a:pt x="541" y="694"/>
                  </a:lnTo>
                  <a:close/>
                  <a:moveTo>
                    <a:pt x="103" y="694"/>
                  </a:moveTo>
                  <a:lnTo>
                    <a:pt x="103" y="961"/>
                  </a:lnTo>
                  <a:lnTo>
                    <a:pt x="458" y="961"/>
                  </a:lnTo>
                  <a:lnTo>
                    <a:pt x="453" y="868"/>
                  </a:lnTo>
                  <a:lnTo>
                    <a:pt x="444" y="779"/>
                  </a:lnTo>
                  <a:lnTo>
                    <a:pt x="430" y="694"/>
                  </a:lnTo>
                  <a:lnTo>
                    <a:pt x="103" y="694"/>
                  </a:lnTo>
                  <a:close/>
                  <a:moveTo>
                    <a:pt x="335" y="165"/>
                  </a:moveTo>
                  <a:lnTo>
                    <a:pt x="373" y="219"/>
                  </a:lnTo>
                  <a:lnTo>
                    <a:pt x="409" y="279"/>
                  </a:lnTo>
                  <a:lnTo>
                    <a:pt x="441" y="347"/>
                  </a:lnTo>
                  <a:lnTo>
                    <a:pt x="470" y="419"/>
                  </a:lnTo>
                  <a:lnTo>
                    <a:pt x="496" y="497"/>
                  </a:lnTo>
                  <a:lnTo>
                    <a:pt x="518" y="580"/>
                  </a:lnTo>
                  <a:lnTo>
                    <a:pt x="799" y="580"/>
                  </a:lnTo>
                  <a:lnTo>
                    <a:pt x="757" y="510"/>
                  </a:lnTo>
                  <a:lnTo>
                    <a:pt x="711" y="445"/>
                  </a:lnTo>
                  <a:lnTo>
                    <a:pt x="660" y="384"/>
                  </a:lnTo>
                  <a:lnTo>
                    <a:pt x="603" y="328"/>
                  </a:lnTo>
                  <a:lnTo>
                    <a:pt x="542" y="278"/>
                  </a:lnTo>
                  <a:lnTo>
                    <a:pt x="477" y="234"/>
                  </a:lnTo>
                  <a:lnTo>
                    <a:pt x="408" y="195"/>
                  </a:lnTo>
                  <a:lnTo>
                    <a:pt x="335" y="165"/>
                  </a:lnTo>
                  <a:close/>
                  <a:moveTo>
                    <a:pt x="103" y="121"/>
                  </a:moveTo>
                  <a:lnTo>
                    <a:pt x="103" y="580"/>
                  </a:lnTo>
                  <a:lnTo>
                    <a:pt x="407" y="580"/>
                  </a:lnTo>
                  <a:lnTo>
                    <a:pt x="387" y="509"/>
                  </a:lnTo>
                  <a:lnTo>
                    <a:pt x="363" y="443"/>
                  </a:lnTo>
                  <a:lnTo>
                    <a:pt x="337" y="381"/>
                  </a:lnTo>
                  <a:lnTo>
                    <a:pt x="310" y="324"/>
                  </a:lnTo>
                  <a:lnTo>
                    <a:pt x="279" y="274"/>
                  </a:lnTo>
                  <a:lnTo>
                    <a:pt x="247" y="230"/>
                  </a:lnTo>
                  <a:lnTo>
                    <a:pt x="214" y="191"/>
                  </a:lnTo>
                  <a:lnTo>
                    <a:pt x="178" y="161"/>
                  </a:lnTo>
                  <a:lnTo>
                    <a:pt x="141" y="137"/>
                  </a:lnTo>
                  <a:lnTo>
                    <a:pt x="103" y="121"/>
                  </a:lnTo>
                  <a:close/>
                  <a:moveTo>
                    <a:pt x="49" y="0"/>
                  </a:moveTo>
                  <a:lnTo>
                    <a:pt x="53" y="0"/>
                  </a:lnTo>
                  <a:lnTo>
                    <a:pt x="56" y="0"/>
                  </a:lnTo>
                  <a:lnTo>
                    <a:pt x="57" y="0"/>
                  </a:lnTo>
                  <a:lnTo>
                    <a:pt x="145" y="4"/>
                  </a:lnTo>
                  <a:lnTo>
                    <a:pt x="228" y="17"/>
                  </a:lnTo>
                  <a:lnTo>
                    <a:pt x="311" y="37"/>
                  </a:lnTo>
                  <a:lnTo>
                    <a:pt x="391" y="65"/>
                  </a:lnTo>
                  <a:lnTo>
                    <a:pt x="466" y="100"/>
                  </a:lnTo>
                  <a:lnTo>
                    <a:pt x="539" y="141"/>
                  </a:lnTo>
                  <a:lnTo>
                    <a:pt x="607" y="189"/>
                  </a:lnTo>
                  <a:lnTo>
                    <a:pt x="672" y="242"/>
                  </a:lnTo>
                  <a:lnTo>
                    <a:pt x="732" y="300"/>
                  </a:lnTo>
                  <a:lnTo>
                    <a:pt x="788" y="364"/>
                  </a:lnTo>
                  <a:lnTo>
                    <a:pt x="837" y="433"/>
                  </a:lnTo>
                  <a:lnTo>
                    <a:pt x="881" y="506"/>
                  </a:lnTo>
                  <a:lnTo>
                    <a:pt x="920" y="584"/>
                  </a:lnTo>
                  <a:lnTo>
                    <a:pt x="953" y="665"/>
                  </a:lnTo>
                  <a:lnTo>
                    <a:pt x="978" y="748"/>
                  </a:lnTo>
                  <a:lnTo>
                    <a:pt x="997" y="835"/>
                  </a:lnTo>
                  <a:lnTo>
                    <a:pt x="1009" y="925"/>
                  </a:lnTo>
                  <a:lnTo>
                    <a:pt x="1013" y="1017"/>
                  </a:lnTo>
                  <a:lnTo>
                    <a:pt x="1009" y="1106"/>
                  </a:lnTo>
                  <a:lnTo>
                    <a:pt x="998" y="1194"/>
                  </a:lnTo>
                  <a:lnTo>
                    <a:pt x="979" y="1279"/>
                  </a:lnTo>
                  <a:lnTo>
                    <a:pt x="955" y="1361"/>
                  </a:lnTo>
                  <a:lnTo>
                    <a:pt x="925" y="1440"/>
                  </a:lnTo>
                  <a:lnTo>
                    <a:pt x="889" y="1516"/>
                  </a:lnTo>
                  <a:lnTo>
                    <a:pt x="846" y="1587"/>
                  </a:lnTo>
                  <a:lnTo>
                    <a:pt x="800" y="1655"/>
                  </a:lnTo>
                  <a:lnTo>
                    <a:pt x="747" y="1718"/>
                  </a:lnTo>
                  <a:lnTo>
                    <a:pt x="690" y="1776"/>
                  </a:lnTo>
                  <a:lnTo>
                    <a:pt x="628" y="1829"/>
                  </a:lnTo>
                  <a:lnTo>
                    <a:pt x="563" y="1877"/>
                  </a:lnTo>
                  <a:lnTo>
                    <a:pt x="494" y="1920"/>
                  </a:lnTo>
                  <a:lnTo>
                    <a:pt x="421" y="1956"/>
                  </a:lnTo>
                  <a:lnTo>
                    <a:pt x="345" y="1986"/>
                  </a:lnTo>
                  <a:lnTo>
                    <a:pt x="267" y="2009"/>
                  </a:lnTo>
                  <a:lnTo>
                    <a:pt x="186" y="2025"/>
                  </a:lnTo>
                  <a:lnTo>
                    <a:pt x="103" y="2034"/>
                  </a:lnTo>
                  <a:lnTo>
                    <a:pt x="0" y="2034"/>
                  </a:lnTo>
                  <a:lnTo>
                    <a:pt x="0" y="961"/>
                  </a:lnTo>
                  <a:lnTo>
                    <a:pt x="0" y="694"/>
                  </a:lnTo>
                  <a:lnTo>
                    <a:pt x="0" y="694"/>
                  </a:lnTo>
                  <a:lnTo>
                    <a:pt x="0" y="580"/>
                  </a:lnTo>
                  <a:lnTo>
                    <a:pt x="0" y="121"/>
                  </a:lnTo>
                  <a:lnTo>
                    <a:pt x="0" y="121"/>
                  </a:lnTo>
                  <a:lnTo>
                    <a:pt x="0" y="1"/>
                  </a:lnTo>
                  <a:lnTo>
                    <a:pt x="45" y="0"/>
                  </a:lnTo>
                  <a:lnTo>
                    <a:pt x="46" y="0"/>
                  </a:lnTo>
                  <a:lnTo>
                    <a:pt x="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" name="Freeform 20"/>
            <p:cNvSpPr>
              <a:spLocks/>
            </p:cNvSpPr>
            <p:nvPr/>
          </p:nvSpPr>
          <p:spPr bwMode="auto">
            <a:xfrm>
              <a:off x="1845" y="1838"/>
              <a:ext cx="1012" cy="2035"/>
            </a:xfrm>
            <a:custGeom>
              <a:avLst/>
              <a:gdLst>
                <a:gd name="T0" fmla="*/ 1012 w 1012"/>
                <a:gd name="T1" fmla="*/ 204 h 2035"/>
                <a:gd name="T2" fmla="*/ 943 w 1012"/>
                <a:gd name="T3" fmla="*/ 210 h 2035"/>
                <a:gd name="T4" fmla="*/ 872 w 1012"/>
                <a:gd name="T5" fmla="*/ 226 h 2035"/>
                <a:gd name="T6" fmla="*/ 801 w 1012"/>
                <a:gd name="T7" fmla="*/ 254 h 2035"/>
                <a:gd name="T8" fmla="*/ 735 w 1012"/>
                <a:gd name="T9" fmla="*/ 292 h 2035"/>
                <a:gd name="T10" fmla="*/ 679 w 1012"/>
                <a:gd name="T11" fmla="*/ 344 h 2035"/>
                <a:gd name="T12" fmla="*/ 638 w 1012"/>
                <a:gd name="T13" fmla="*/ 406 h 2035"/>
                <a:gd name="T14" fmla="*/ 615 w 1012"/>
                <a:gd name="T15" fmla="*/ 481 h 2035"/>
                <a:gd name="T16" fmla="*/ 612 w 1012"/>
                <a:gd name="T17" fmla="*/ 916 h 2035"/>
                <a:gd name="T18" fmla="*/ 1012 w 1012"/>
                <a:gd name="T19" fmla="*/ 1268 h 2035"/>
                <a:gd name="T20" fmla="*/ 946 w 1012"/>
                <a:gd name="T21" fmla="*/ 1271 h 2035"/>
                <a:gd name="T22" fmla="*/ 886 w 1012"/>
                <a:gd name="T23" fmla="*/ 1283 h 2035"/>
                <a:gd name="T24" fmla="*/ 833 w 1012"/>
                <a:gd name="T25" fmla="*/ 1305 h 2035"/>
                <a:gd name="T26" fmla="*/ 790 w 1012"/>
                <a:gd name="T27" fmla="*/ 1341 h 2035"/>
                <a:gd name="T28" fmla="*/ 764 w 1012"/>
                <a:gd name="T29" fmla="*/ 1393 h 2035"/>
                <a:gd name="T30" fmla="*/ 755 w 1012"/>
                <a:gd name="T31" fmla="*/ 1463 h 2035"/>
                <a:gd name="T32" fmla="*/ 767 w 1012"/>
                <a:gd name="T33" fmla="*/ 1532 h 2035"/>
                <a:gd name="T34" fmla="*/ 801 w 1012"/>
                <a:gd name="T35" fmla="*/ 1591 h 2035"/>
                <a:gd name="T36" fmla="*/ 853 w 1012"/>
                <a:gd name="T37" fmla="*/ 1634 h 2035"/>
                <a:gd name="T38" fmla="*/ 1012 w 1012"/>
                <a:gd name="T39" fmla="*/ 1858 h 2035"/>
                <a:gd name="T40" fmla="*/ 129 w 1012"/>
                <a:gd name="T41" fmla="*/ 2035 h 2035"/>
                <a:gd name="T42" fmla="*/ 71 w 1012"/>
                <a:gd name="T43" fmla="*/ 2022 h 2035"/>
                <a:gd name="T44" fmla="*/ 28 w 1012"/>
                <a:gd name="T45" fmla="*/ 1986 h 2035"/>
                <a:gd name="T46" fmla="*/ 2 w 1012"/>
                <a:gd name="T47" fmla="*/ 1935 h 2035"/>
                <a:gd name="T48" fmla="*/ 0 w 1012"/>
                <a:gd name="T49" fmla="*/ 916 h 2035"/>
                <a:gd name="T50" fmla="*/ 408 w 1012"/>
                <a:gd name="T51" fmla="*/ 523 h 2035"/>
                <a:gd name="T52" fmla="*/ 418 w 1012"/>
                <a:gd name="T53" fmla="*/ 408 h 2035"/>
                <a:gd name="T54" fmla="*/ 452 w 1012"/>
                <a:gd name="T55" fmla="*/ 303 h 2035"/>
                <a:gd name="T56" fmla="*/ 506 w 1012"/>
                <a:gd name="T57" fmla="*/ 210 h 2035"/>
                <a:gd name="T58" fmla="*/ 582 w 1012"/>
                <a:gd name="T59" fmla="*/ 130 h 2035"/>
                <a:gd name="T60" fmla="*/ 660 w 1012"/>
                <a:gd name="T61" fmla="*/ 79 h 2035"/>
                <a:gd name="T62" fmla="*/ 756 w 1012"/>
                <a:gd name="T63" fmla="*/ 41 h 2035"/>
                <a:gd name="T64" fmla="*/ 861 w 1012"/>
                <a:gd name="T65" fmla="*/ 14 h 2035"/>
                <a:gd name="T66" fmla="*/ 963 w 1012"/>
                <a:gd name="T67" fmla="*/ 1 h 20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12" h="2035">
                  <a:moveTo>
                    <a:pt x="1012" y="0"/>
                  </a:moveTo>
                  <a:lnTo>
                    <a:pt x="1012" y="204"/>
                  </a:lnTo>
                  <a:lnTo>
                    <a:pt x="978" y="206"/>
                  </a:lnTo>
                  <a:lnTo>
                    <a:pt x="943" y="210"/>
                  </a:lnTo>
                  <a:lnTo>
                    <a:pt x="907" y="216"/>
                  </a:lnTo>
                  <a:lnTo>
                    <a:pt x="872" y="226"/>
                  </a:lnTo>
                  <a:lnTo>
                    <a:pt x="836" y="239"/>
                  </a:lnTo>
                  <a:lnTo>
                    <a:pt x="801" y="254"/>
                  </a:lnTo>
                  <a:lnTo>
                    <a:pt x="767" y="272"/>
                  </a:lnTo>
                  <a:lnTo>
                    <a:pt x="735" y="292"/>
                  </a:lnTo>
                  <a:lnTo>
                    <a:pt x="705" y="316"/>
                  </a:lnTo>
                  <a:lnTo>
                    <a:pt x="679" y="344"/>
                  </a:lnTo>
                  <a:lnTo>
                    <a:pt x="656" y="373"/>
                  </a:lnTo>
                  <a:lnTo>
                    <a:pt x="638" y="406"/>
                  </a:lnTo>
                  <a:lnTo>
                    <a:pt x="624" y="442"/>
                  </a:lnTo>
                  <a:lnTo>
                    <a:pt x="615" y="481"/>
                  </a:lnTo>
                  <a:lnTo>
                    <a:pt x="612" y="523"/>
                  </a:lnTo>
                  <a:lnTo>
                    <a:pt x="612" y="916"/>
                  </a:lnTo>
                  <a:lnTo>
                    <a:pt x="1012" y="916"/>
                  </a:lnTo>
                  <a:lnTo>
                    <a:pt x="1012" y="1268"/>
                  </a:lnTo>
                  <a:lnTo>
                    <a:pt x="979" y="1268"/>
                  </a:lnTo>
                  <a:lnTo>
                    <a:pt x="946" y="1271"/>
                  </a:lnTo>
                  <a:lnTo>
                    <a:pt x="915" y="1276"/>
                  </a:lnTo>
                  <a:lnTo>
                    <a:pt x="886" y="1283"/>
                  </a:lnTo>
                  <a:lnTo>
                    <a:pt x="858" y="1293"/>
                  </a:lnTo>
                  <a:lnTo>
                    <a:pt x="833" y="1305"/>
                  </a:lnTo>
                  <a:lnTo>
                    <a:pt x="810" y="1322"/>
                  </a:lnTo>
                  <a:lnTo>
                    <a:pt x="790" y="1341"/>
                  </a:lnTo>
                  <a:lnTo>
                    <a:pt x="776" y="1365"/>
                  </a:lnTo>
                  <a:lnTo>
                    <a:pt x="764" y="1393"/>
                  </a:lnTo>
                  <a:lnTo>
                    <a:pt x="756" y="1426"/>
                  </a:lnTo>
                  <a:lnTo>
                    <a:pt x="755" y="1463"/>
                  </a:lnTo>
                  <a:lnTo>
                    <a:pt x="757" y="1499"/>
                  </a:lnTo>
                  <a:lnTo>
                    <a:pt x="767" y="1532"/>
                  </a:lnTo>
                  <a:lnTo>
                    <a:pt x="781" y="1563"/>
                  </a:lnTo>
                  <a:lnTo>
                    <a:pt x="801" y="1591"/>
                  </a:lnTo>
                  <a:lnTo>
                    <a:pt x="825" y="1615"/>
                  </a:lnTo>
                  <a:lnTo>
                    <a:pt x="853" y="1634"/>
                  </a:lnTo>
                  <a:lnTo>
                    <a:pt x="853" y="1858"/>
                  </a:lnTo>
                  <a:lnTo>
                    <a:pt x="1012" y="1858"/>
                  </a:lnTo>
                  <a:lnTo>
                    <a:pt x="1012" y="2035"/>
                  </a:lnTo>
                  <a:lnTo>
                    <a:pt x="129" y="2035"/>
                  </a:lnTo>
                  <a:lnTo>
                    <a:pt x="99" y="2031"/>
                  </a:lnTo>
                  <a:lnTo>
                    <a:pt x="71" y="2022"/>
                  </a:lnTo>
                  <a:lnTo>
                    <a:pt x="47" y="2006"/>
                  </a:lnTo>
                  <a:lnTo>
                    <a:pt x="28" y="1986"/>
                  </a:lnTo>
                  <a:lnTo>
                    <a:pt x="13" y="1962"/>
                  </a:lnTo>
                  <a:lnTo>
                    <a:pt x="2" y="1935"/>
                  </a:lnTo>
                  <a:lnTo>
                    <a:pt x="0" y="1906"/>
                  </a:lnTo>
                  <a:lnTo>
                    <a:pt x="0" y="916"/>
                  </a:lnTo>
                  <a:lnTo>
                    <a:pt x="408" y="916"/>
                  </a:lnTo>
                  <a:lnTo>
                    <a:pt x="408" y="523"/>
                  </a:lnTo>
                  <a:lnTo>
                    <a:pt x="410" y="465"/>
                  </a:lnTo>
                  <a:lnTo>
                    <a:pt x="418" y="408"/>
                  </a:lnTo>
                  <a:lnTo>
                    <a:pt x="433" y="355"/>
                  </a:lnTo>
                  <a:lnTo>
                    <a:pt x="452" y="303"/>
                  </a:lnTo>
                  <a:lnTo>
                    <a:pt x="477" y="255"/>
                  </a:lnTo>
                  <a:lnTo>
                    <a:pt x="506" y="210"/>
                  </a:lnTo>
                  <a:lnTo>
                    <a:pt x="542" y="168"/>
                  </a:lnTo>
                  <a:lnTo>
                    <a:pt x="582" y="130"/>
                  </a:lnTo>
                  <a:lnTo>
                    <a:pt x="618" y="103"/>
                  </a:lnTo>
                  <a:lnTo>
                    <a:pt x="660" y="79"/>
                  </a:lnTo>
                  <a:lnTo>
                    <a:pt x="707" y="59"/>
                  </a:lnTo>
                  <a:lnTo>
                    <a:pt x="756" y="41"/>
                  </a:lnTo>
                  <a:lnTo>
                    <a:pt x="808" y="26"/>
                  </a:lnTo>
                  <a:lnTo>
                    <a:pt x="861" y="14"/>
                  </a:lnTo>
                  <a:lnTo>
                    <a:pt x="913" y="6"/>
                  </a:lnTo>
                  <a:lnTo>
                    <a:pt x="963" y="1"/>
                  </a:lnTo>
                  <a:lnTo>
                    <a:pt x="101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31" name="Group 10"/>
          <p:cNvGrpSpPr>
            <a:grpSpLocks noChangeAspect="1"/>
          </p:cNvGrpSpPr>
          <p:nvPr/>
        </p:nvGrpSpPr>
        <p:grpSpPr bwMode="auto">
          <a:xfrm>
            <a:off x="7446551" y="1112906"/>
            <a:ext cx="594490" cy="468000"/>
            <a:chOff x="-4954" y="236"/>
            <a:chExt cx="4385" cy="3452"/>
          </a:xfrm>
          <a:solidFill>
            <a:schemeClr val="tx2"/>
          </a:solidFill>
        </p:grpSpPr>
        <p:sp>
          <p:nvSpPr>
            <p:cNvPr id="32" name="Freeform 12"/>
            <p:cNvSpPr>
              <a:spLocks/>
            </p:cNvSpPr>
            <p:nvPr/>
          </p:nvSpPr>
          <p:spPr bwMode="auto">
            <a:xfrm>
              <a:off x="-4954" y="236"/>
              <a:ext cx="4385" cy="2673"/>
            </a:xfrm>
            <a:custGeom>
              <a:avLst/>
              <a:gdLst>
                <a:gd name="T0" fmla="*/ 2862 w 4385"/>
                <a:gd name="T1" fmla="*/ 35 h 2673"/>
                <a:gd name="T2" fmla="*/ 3200 w 4385"/>
                <a:gd name="T3" fmla="*/ 174 h 2673"/>
                <a:gd name="T4" fmla="*/ 3478 w 4385"/>
                <a:gd name="T5" fmla="*/ 407 h 2673"/>
                <a:gd name="T6" fmla="*/ 3676 w 4385"/>
                <a:gd name="T7" fmla="*/ 712 h 2673"/>
                <a:gd name="T8" fmla="*/ 3775 w 4385"/>
                <a:gd name="T9" fmla="*/ 1071 h 2673"/>
                <a:gd name="T10" fmla="*/ 4051 w 4385"/>
                <a:gd name="T11" fmla="*/ 1202 h 2673"/>
                <a:gd name="T12" fmla="*/ 4260 w 4385"/>
                <a:gd name="T13" fmla="*/ 1426 h 2673"/>
                <a:gd name="T14" fmla="*/ 4370 w 4385"/>
                <a:gd name="T15" fmla="*/ 1706 h 2673"/>
                <a:gd name="T16" fmla="*/ 4367 w 4385"/>
                <a:gd name="T17" fmla="*/ 2022 h 2673"/>
                <a:gd name="T18" fmla="*/ 4245 w 4385"/>
                <a:gd name="T19" fmla="*/ 2313 h 2673"/>
                <a:gd name="T20" fmla="*/ 4024 w 4385"/>
                <a:gd name="T21" fmla="*/ 2534 h 2673"/>
                <a:gd name="T22" fmla="*/ 3733 w 4385"/>
                <a:gd name="T23" fmla="*/ 2656 h 2673"/>
                <a:gd name="T24" fmla="*/ 3521 w 4385"/>
                <a:gd name="T25" fmla="*/ 2672 h 2673"/>
                <a:gd name="T26" fmla="*/ 3570 w 4385"/>
                <a:gd name="T27" fmla="*/ 2353 h 2673"/>
                <a:gd name="T28" fmla="*/ 3803 w 4385"/>
                <a:gd name="T29" fmla="*/ 2295 h 2673"/>
                <a:gd name="T30" fmla="*/ 3975 w 4385"/>
                <a:gd name="T31" fmla="*/ 2141 h 2673"/>
                <a:gd name="T32" fmla="*/ 4060 w 4385"/>
                <a:gd name="T33" fmla="*/ 1921 h 2673"/>
                <a:gd name="T34" fmla="*/ 4030 w 4385"/>
                <a:gd name="T35" fmla="*/ 1677 h 2673"/>
                <a:gd name="T36" fmla="*/ 3889 w 4385"/>
                <a:gd name="T37" fmla="*/ 1483 h 2673"/>
                <a:gd name="T38" fmla="*/ 3672 w 4385"/>
                <a:gd name="T39" fmla="*/ 1375 h 2673"/>
                <a:gd name="T40" fmla="*/ 3462 w 4385"/>
                <a:gd name="T41" fmla="*/ 1202 h 2673"/>
                <a:gd name="T42" fmla="*/ 3400 w 4385"/>
                <a:gd name="T43" fmla="*/ 878 h 2673"/>
                <a:gd name="T44" fmla="*/ 3230 w 4385"/>
                <a:gd name="T45" fmla="*/ 607 h 2673"/>
                <a:gd name="T46" fmla="*/ 2976 w 4385"/>
                <a:gd name="T47" fmla="*/ 415 h 2673"/>
                <a:gd name="T48" fmla="*/ 2662 w 4385"/>
                <a:gd name="T49" fmla="*/ 324 h 2673"/>
                <a:gd name="T50" fmla="*/ 2343 w 4385"/>
                <a:gd name="T51" fmla="*/ 352 h 2673"/>
                <a:gd name="T52" fmla="*/ 2065 w 4385"/>
                <a:gd name="T53" fmla="*/ 484 h 2673"/>
                <a:gd name="T54" fmla="*/ 1847 w 4385"/>
                <a:gd name="T55" fmla="*/ 704 h 2673"/>
                <a:gd name="T56" fmla="*/ 1547 w 4385"/>
                <a:gd name="T57" fmla="*/ 917 h 2673"/>
                <a:gd name="T58" fmla="*/ 1333 w 4385"/>
                <a:gd name="T59" fmla="*/ 862 h 2673"/>
                <a:gd name="T60" fmla="*/ 1111 w 4385"/>
                <a:gd name="T61" fmla="*/ 922 h 2673"/>
                <a:gd name="T62" fmla="*/ 952 w 4385"/>
                <a:gd name="T63" fmla="*/ 1080 h 2673"/>
                <a:gd name="T64" fmla="*/ 890 w 4385"/>
                <a:gd name="T65" fmla="*/ 1302 h 2673"/>
                <a:gd name="T66" fmla="*/ 682 w 4385"/>
                <a:gd name="T67" fmla="*/ 1472 h 2673"/>
                <a:gd name="T68" fmla="*/ 481 w 4385"/>
                <a:gd name="T69" fmla="*/ 1565 h 2673"/>
                <a:gd name="T70" fmla="*/ 352 w 4385"/>
                <a:gd name="T71" fmla="*/ 1739 h 2673"/>
                <a:gd name="T72" fmla="*/ 324 w 4385"/>
                <a:gd name="T73" fmla="*/ 1966 h 2673"/>
                <a:gd name="T74" fmla="*/ 412 w 4385"/>
                <a:gd name="T75" fmla="*/ 2176 h 2673"/>
                <a:gd name="T76" fmla="*/ 590 w 4385"/>
                <a:gd name="T77" fmla="*/ 2315 h 2673"/>
                <a:gd name="T78" fmla="*/ 805 w 4385"/>
                <a:gd name="T79" fmla="*/ 2347 h 2673"/>
                <a:gd name="T80" fmla="*/ 825 w 4385"/>
                <a:gd name="T81" fmla="*/ 2667 h 2673"/>
                <a:gd name="T82" fmla="*/ 536 w 4385"/>
                <a:gd name="T83" fmla="*/ 2635 h 2673"/>
                <a:gd name="T84" fmla="*/ 278 w 4385"/>
                <a:gd name="T85" fmla="*/ 2494 h 2673"/>
                <a:gd name="T86" fmla="*/ 92 w 4385"/>
                <a:gd name="T87" fmla="*/ 2269 h 2673"/>
                <a:gd name="T88" fmla="*/ 4 w 4385"/>
                <a:gd name="T89" fmla="*/ 1984 h 2673"/>
                <a:gd name="T90" fmla="*/ 32 w 4385"/>
                <a:gd name="T91" fmla="*/ 1686 h 2673"/>
                <a:gd name="T92" fmla="*/ 166 w 4385"/>
                <a:gd name="T93" fmla="*/ 1432 h 2673"/>
                <a:gd name="T94" fmla="*/ 381 w 4385"/>
                <a:gd name="T95" fmla="*/ 1246 h 2673"/>
                <a:gd name="T96" fmla="*/ 601 w 4385"/>
                <a:gd name="T97" fmla="*/ 1091 h 2673"/>
                <a:gd name="T98" fmla="*/ 739 w 4385"/>
                <a:gd name="T99" fmla="*/ 826 h 2673"/>
                <a:gd name="T100" fmla="*/ 966 w 4385"/>
                <a:gd name="T101" fmla="*/ 636 h 2673"/>
                <a:gd name="T102" fmla="*/ 1255 w 4385"/>
                <a:gd name="T103" fmla="*/ 546 h 2673"/>
                <a:gd name="T104" fmla="*/ 1551 w 4385"/>
                <a:gd name="T105" fmla="*/ 574 h 2673"/>
                <a:gd name="T106" fmla="*/ 1776 w 4385"/>
                <a:gd name="T107" fmla="*/ 306 h 2673"/>
                <a:gd name="T108" fmla="*/ 2065 w 4385"/>
                <a:gd name="T109" fmla="*/ 114 h 2673"/>
                <a:gd name="T110" fmla="*/ 2399 w 4385"/>
                <a:gd name="T111" fmla="*/ 13 h 26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4385" h="2673">
                  <a:moveTo>
                    <a:pt x="2577" y="0"/>
                  </a:moveTo>
                  <a:lnTo>
                    <a:pt x="2674" y="4"/>
                  </a:lnTo>
                  <a:lnTo>
                    <a:pt x="2768" y="16"/>
                  </a:lnTo>
                  <a:lnTo>
                    <a:pt x="2862" y="35"/>
                  </a:lnTo>
                  <a:lnTo>
                    <a:pt x="2951" y="60"/>
                  </a:lnTo>
                  <a:lnTo>
                    <a:pt x="3037" y="92"/>
                  </a:lnTo>
                  <a:lnTo>
                    <a:pt x="3121" y="130"/>
                  </a:lnTo>
                  <a:lnTo>
                    <a:pt x="3200" y="174"/>
                  </a:lnTo>
                  <a:lnTo>
                    <a:pt x="3276" y="225"/>
                  </a:lnTo>
                  <a:lnTo>
                    <a:pt x="3349" y="280"/>
                  </a:lnTo>
                  <a:lnTo>
                    <a:pt x="3416" y="341"/>
                  </a:lnTo>
                  <a:lnTo>
                    <a:pt x="3478" y="407"/>
                  </a:lnTo>
                  <a:lnTo>
                    <a:pt x="3537" y="477"/>
                  </a:lnTo>
                  <a:lnTo>
                    <a:pt x="3589" y="551"/>
                  </a:lnTo>
                  <a:lnTo>
                    <a:pt x="3635" y="630"/>
                  </a:lnTo>
                  <a:lnTo>
                    <a:pt x="3676" y="712"/>
                  </a:lnTo>
                  <a:lnTo>
                    <a:pt x="3711" y="797"/>
                  </a:lnTo>
                  <a:lnTo>
                    <a:pt x="3739" y="886"/>
                  </a:lnTo>
                  <a:lnTo>
                    <a:pt x="3760" y="977"/>
                  </a:lnTo>
                  <a:lnTo>
                    <a:pt x="3775" y="1071"/>
                  </a:lnTo>
                  <a:lnTo>
                    <a:pt x="3848" y="1094"/>
                  </a:lnTo>
                  <a:lnTo>
                    <a:pt x="3919" y="1123"/>
                  </a:lnTo>
                  <a:lnTo>
                    <a:pt x="3987" y="1160"/>
                  </a:lnTo>
                  <a:lnTo>
                    <a:pt x="4051" y="1202"/>
                  </a:lnTo>
                  <a:lnTo>
                    <a:pt x="4111" y="1250"/>
                  </a:lnTo>
                  <a:lnTo>
                    <a:pt x="4167" y="1305"/>
                  </a:lnTo>
                  <a:lnTo>
                    <a:pt x="4216" y="1363"/>
                  </a:lnTo>
                  <a:lnTo>
                    <a:pt x="4260" y="1426"/>
                  </a:lnTo>
                  <a:lnTo>
                    <a:pt x="4297" y="1492"/>
                  </a:lnTo>
                  <a:lnTo>
                    <a:pt x="4329" y="1561"/>
                  </a:lnTo>
                  <a:lnTo>
                    <a:pt x="4353" y="1633"/>
                  </a:lnTo>
                  <a:lnTo>
                    <a:pt x="4370" y="1706"/>
                  </a:lnTo>
                  <a:lnTo>
                    <a:pt x="4381" y="1782"/>
                  </a:lnTo>
                  <a:lnTo>
                    <a:pt x="4385" y="1859"/>
                  </a:lnTo>
                  <a:lnTo>
                    <a:pt x="4381" y="1943"/>
                  </a:lnTo>
                  <a:lnTo>
                    <a:pt x="4367" y="2022"/>
                  </a:lnTo>
                  <a:lnTo>
                    <a:pt x="4347" y="2101"/>
                  </a:lnTo>
                  <a:lnTo>
                    <a:pt x="4321" y="2175"/>
                  </a:lnTo>
                  <a:lnTo>
                    <a:pt x="4286" y="2247"/>
                  </a:lnTo>
                  <a:lnTo>
                    <a:pt x="4245" y="2313"/>
                  </a:lnTo>
                  <a:lnTo>
                    <a:pt x="4199" y="2377"/>
                  </a:lnTo>
                  <a:lnTo>
                    <a:pt x="4145" y="2434"/>
                  </a:lnTo>
                  <a:lnTo>
                    <a:pt x="4088" y="2487"/>
                  </a:lnTo>
                  <a:lnTo>
                    <a:pt x="4024" y="2534"/>
                  </a:lnTo>
                  <a:lnTo>
                    <a:pt x="3958" y="2575"/>
                  </a:lnTo>
                  <a:lnTo>
                    <a:pt x="3886" y="2610"/>
                  </a:lnTo>
                  <a:lnTo>
                    <a:pt x="3812" y="2636"/>
                  </a:lnTo>
                  <a:lnTo>
                    <a:pt x="3733" y="2656"/>
                  </a:lnTo>
                  <a:lnTo>
                    <a:pt x="3654" y="2669"/>
                  </a:lnTo>
                  <a:lnTo>
                    <a:pt x="3570" y="2673"/>
                  </a:lnTo>
                  <a:lnTo>
                    <a:pt x="3546" y="2673"/>
                  </a:lnTo>
                  <a:lnTo>
                    <a:pt x="3521" y="2672"/>
                  </a:lnTo>
                  <a:lnTo>
                    <a:pt x="3497" y="2671"/>
                  </a:lnTo>
                  <a:lnTo>
                    <a:pt x="3497" y="2348"/>
                  </a:lnTo>
                  <a:lnTo>
                    <a:pt x="3533" y="2352"/>
                  </a:lnTo>
                  <a:lnTo>
                    <a:pt x="3570" y="2353"/>
                  </a:lnTo>
                  <a:lnTo>
                    <a:pt x="3632" y="2349"/>
                  </a:lnTo>
                  <a:lnTo>
                    <a:pt x="3692" y="2339"/>
                  </a:lnTo>
                  <a:lnTo>
                    <a:pt x="3748" y="2320"/>
                  </a:lnTo>
                  <a:lnTo>
                    <a:pt x="3803" y="2295"/>
                  </a:lnTo>
                  <a:lnTo>
                    <a:pt x="3852" y="2264"/>
                  </a:lnTo>
                  <a:lnTo>
                    <a:pt x="3898" y="2228"/>
                  </a:lnTo>
                  <a:lnTo>
                    <a:pt x="3939" y="2187"/>
                  </a:lnTo>
                  <a:lnTo>
                    <a:pt x="3975" y="2141"/>
                  </a:lnTo>
                  <a:lnTo>
                    <a:pt x="4006" y="2091"/>
                  </a:lnTo>
                  <a:lnTo>
                    <a:pt x="4031" y="2037"/>
                  </a:lnTo>
                  <a:lnTo>
                    <a:pt x="4050" y="1981"/>
                  </a:lnTo>
                  <a:lnTo>
                    <a:pt x="4060" y="1921"/>
                  </a:lnTo>
                  <a:lnTo>
                    <a:pt x="4064" y="1859"/>
                  </a:lnTo>
                  <a:lnTo>
                    <a:pt x="4060" y="1796"/>
                  </a:lnTo>
                  <a:lnTo>
                    <a:pt x="4048" y="1735"/>
                  </a:lnTo>
                  <a:lnTo>
                    <a:pt x="4030" y="1677"/>
                  </a:lnTo>
                  <a:lnTo>
                    <a:pt x="4003" y="1622"/>
                  </a:lnTo>
                  <a:lnTo>
                    <a:pt x="3971" y="1571"/>
                  </a:lnTo>
                  <a:lnTo>
                    <a:pt x="3933" y="1524"/>
                  </a:lnTo>
                  <a:lnTo>
                    <a:pt x="3889" y="1483"/>
                  </a:lnTo>
                  <a:lnTo>
                    <a:pt x="3841" y="1446"/>
                  </a:lnTo>
                  <a:lnTo>
                    <a:pt x="3788" y="1416"/>
                  </a:lnTo>
                  <a:lnTo>
                    <a:pt x="3732" y="1392"/>
                  </a:lnTo>
                  <a:lnTo>
                    <a:pt x="3672" y="1375"/>
                  </a:lnTo>
                  <a:lnTo>
                    <a:pt x="3610" y="1367"/>
                  </a:lnTo>
                  <a:lnTo>
                    <a:pt x="3462" y="1355"/>
                  </a:lnTo>
                  <a:lnTo>
                    <a:pt x="3462" y="1206"/>
                  </a:lnTo>
                  <a:lnTo>
                    <a:pt x="3462" y="1202"/>
                  </a:lnTo>
                  <a:lnTo>
                    <a:pt x="3458" y="1117"/>
                  </a:lnTo>
                  <a:lnTo>
                    <a:pt x="3445" y="1035"/>
                  </a:lnTo>
                  <a:lnTo>
                    <a:pt x="3426" y="955"/>
                  </a:lnTo>
                  <a:lnTo>
                    <a:pt x="3400" y="878"/>
                  </a:lnTo>
                  <a:lnTo>
                    <a:pt x="3367" y="805"/>
                  </a:lnTo>
                  <a:lnTo>
                    <a:pt x="3327" y="735"/>
                  </a:lnTo>
                  <a:lnTo>
                    <a:pt x="3280" y="670"/>
                  </a:lnTo>
                  <a:lnTo>
                    <a:pt x="3230" y="607"/>
                  </a:lnTo>
                  <a:lnTo>
                    <a:pt x="3173" y="551"/>
                  </a:lnTo>
                  <a:lnTo>
                    <a:pt x="3111" y="501"/>
                  </a:lnTo>
                  <a:lnTo>
                    <a:pt x="3046" y="454"/>
                  </a:lnTo>
                  <a:lnTo>
                    <a:pt x="2976" y="415"/>
                  </a:lnTo>
                  <a:lnTo>
                    <a:pt x="2901" y="383"/>
                  </a:lnTo>
                  <a:lnTo>
                    <a:pt x="2824" y="356"/>
                  </a:lnTo>
                  <a:lnTo>
                    <a:pt x="2745" y="336"/>
                  </a:lnTo>
                  <a:lnTo>
                    <a:pt x="2662" y="324"/>
                  </a:lnTo>
                  <a:lnTo>
                    <a:pt x="2577" y="320"/>
                  </a:lnTo>
                  <a:lnTo>
                    <a:pt x="2497" y="324"/>
                  </a:lnTo>
                  <a:lnTo>
                    <a:pt x="2419" y="335"/>
                  </a:lnTo>
                  <a:lnTo>
                    <a:pt x="2343" y="352"/>
                  </a:lnTo>
                  <a:lnTo>
                    <a:pt x="2269" y="376"/>
                  </a:lnTo>
                  <a:lnTo>
                    <a:pt x="2198" y="407"/>
                  </a:lnTo>
                  <a:lnTo>
                    <a:pt x="2129" y="442"/>
                  </a:lnTo>
                  <a:lnTo>
                    <a:pt x="2065" y="484"/>
                  </a:lnTo>
                  <a:lnTo>
                    <a:pt x="2004" y="531"/>
                  </a:lnTo>
                  <a:lnTo>
                    <a:pt x="1947" y="585"/>
                  </a:lnTo>
                  <a:lnTo>
                    <a:pt x="1895" y="642"/>
                  </a:lnTo>
                  <a:lnTo>
                    <a:pt x="1847" y="704"/>
                  </a:lnTo>
                  <a:lnTo>
                    <a:pt x="1806" y="771"/>
                  </a:lnTo>
                  <a:lnTo>
                    <a:pt x="1770" y="842"/>
                  </a:lnTo>
                  <a:lnTo>
                    <a:pt x="1699" y="1001"/>
                  </a:lnTo>
                  <a:lnTo>
                    <a:pt x="1547" y="917"/>
                  </a:lnTo>
                  <a:lnTo>
                    <a:pt x="1497" y="893"/>
                  </a:lnTo>
                  <a:lnTo>
                    <a:pt x="1443" y="876"/>
                  </a:lnTo>
                  <a:lnTo>
                    <a:pt x="1389" y="865"/>
                  </a:lnTo>
                  <a:lnTo>
                    <a:pt x="1333" y="862"/>
                  </a:lnTo>
                  <a:lnTo>
                    <a:pt x="1273" y="866"/>
                  </a:lnTo>
                  <a:lnTo>
                    <a:pt x="1216" y="878"/>
                  </a:lnTo>
                  <a:lnTo>
                    <a:pt x="1162" y="897"/>
                  </a:lnTo>
                  <a:lnTo>
                    <a:pt x="1111" y="922"/>
                  </a:lnTo>
                  <a:lnTo>
                    <a:pt x="1063" y="954"/>
                  </a:lnTo>
                  <a:lnTo>
                    <a:pt x="1021" y="991"/>
                  </a:lnTo>
                  <a:lnTo>
                    <a:pt x="984" y="1034"/>
                  </a:lnTo>
                  <a:lnTo>
                    <a:pt x="952" y="1080"/>
                  </a:lnTo>
                  <a:lnTo>
                    <a:pt x="926" y="1131"/>
                  </a:lnTo>
                  <a:lnTo>
                    <a:pt x="906" y="1185"/>
                  </a:lnTo>
                  <a:lnTo>
                    <a:pt x="894" y="1242"/>
                  </a:lnTo>
                  <a:lnTo>
                    <a:pt x="890" y="1302"/>
                  </a:lnTo>
                  <a:lnTo>
                    <a:pt x="890" y="1305"/>
                  </a:lnTo>
                  <a:lnTo>
                    <a:pt x="890" y="1458"/>
                  </a:lnTo>
                  <a:lnTo>
                    <a:pt x="739" y="1466"/>
                  </a:lnTo>
                  <a:lnTo>
                    <a:pt x="682" y="1472"/>
                  </a:lnTo>
                  <a:lnTo>
                    <a:pt x="626" y="1485"/>
                  </a:lnTo>
                  <a:lnTo>
                    <a:pt x="574" y="1505"/>
                  </a:lnTo>
                  <a:lnTo>
                    <a:pt x="526" y="1532"/>
                  </a:lnTo>
                  <a:lnTo>
                    <a:pt x="481" y="1565"/>
                  </a:lnTo>
                  <a:lnTo>
                    <a:pt x="441" y="1602"/>
                  </a:lnTo>
                  <a:lnTo>
                    <a:pt x="407" y="1644"/>
                  </a:lnTo>
                  <a:lnTo>
                    <a:pt x="376" y="1690"/>
                  </a:lnTo>
                  <a:lnTo>
                    <a:pt x="352" y="1739"/>
                  </a:lnTo>
                  <a:lnTo>
                    <a:pt x="335" y="1792"/>
                  </a:lnTo>
                  <a:lnTo>
                    <a:pt x="324" y="1848"/>
                  </a:lnTo>
                  <a:lnTo>
                    <a:pt x="320" y="1907"/>
                  </a:lnTo>
                  <a:lnTo>
                    <a:pt x="324" y="1966"/>
                  </a:lnTo>
                  <a:lnTo>
                    <a:pt x="336" y="2024"/>
                  </a:lnTo>
                  <a:lnTo>
                    <a:pt x="355" y="2078"/>
                  </a:lnTo>
                  <a:lnTo>
                    <a:pt x="380" y="2130"/>
                  </a:lnTo>
                  <a:lnTo>
                    <a:pt x="412" y="2176"/>
                  </a:lnTo>
                  <a:lnTo>
                    <a:pt x="449" y="2219"/>
                  </a:lnTo>
                  <a:lnTo>
                    <a:pt x="492" y="2256"/>
                  </a:lnTo>
                  <a:lnTo>
                    <a:pt x="540" y="2288"/>
                  </a:lnTo>
                  <a:lnTo>
                    <a:pt x="590" y="2315"/>
                  </a:lnTo>
                  <a:lnTo>
                    <a:pt x="645" y="2333"/>
                  </a:lnTo>
                  <a:lnTo>
                    <a:pt x="703" y="2345"/>
                  </a:lnTo>
                  <a:lnTo>
                    <a:pt x="763" y="2349"/>
                  </a:lnTo>
                  <a:lnTo>
                    <a:pt x="805" y="2347"/>
                  </a:lnTo>
                  <a:lnTo>
                    <a:pt x="847" y="2341"/>
                  </a:lnTo>
                  <a:lnTo>
                    <a:pt x="888" y="2331"/>
                  </a:lnTo>
                  <a:lnTo>
                    <a:pt x="888" y="2659"/>
                  </a:lnTo>
                  <a:lnTo>
                    <a:pt x="825" y="2667"/>
                  </a:lnTo>
                  <a:lnTo>
                    <a:pt x="763" y="2669"/>
                  </a:lnTo>
                  <a:lnTo>
                    <a:pt x="684" y="2665"/>
                  </a:lnTo>
                  <a:lnTo>
                    <a:pt x="609" y="2653"/>
                  </a:lnTo>
                  <a:lnTo>
                    <a:pt x="536" y="2635"/>
                  </a:lnTo>
                  <a:lnTo>
                    <a:pt x="467" y="2608"/>
                  </a:lnTo>
                  <a:lnTo>
                    <a:pt x="399" y="2576"/>
                  </a:lnTo>
                  <a:lnTo>
                    <a:pt x="336" y="2539"/>
                  </a:lnTo>
                  <a:lnTo>
                    <a:pt x="278" y="2494"/>
                  </a:lnTo>
                  <a:lnTo>
                    <a:pt x="223" y="2445"/>
                  </a:lnTo>
                  <a:lnTo>
                    <a:pt x="174" y="2392"/>
                  </a:lnTo>
                  <a:lnTo>
                    <a:pt x="130" y="2332"/>
                  </a:lnTo>
                  <a:lnTo>
                    <a:pt x="92" y="2269"/>
                  </a:lnTo>
                  <a:lnTo>
                    <a:pt x="60" y="2203"/>
                  </a:lnTo>
                  <a:lnTo>
                    <a:pt x="35" y="2133"/>
                  </a:lnTo>
                  <a:lnTo>
                    <a:pt x="16" y="2060"/>
                  </a:lnTo>
                  <a:lnTo>
                    <a:pt x="4" y="1984"/>
                  </a:lnTo>
                  <a:lnTo>
                    <a:pt x="0" y="1907"/>
                  </a:lnTo>
                  <a:lnTo>
                    <a:pt x="4" y="1831"/>
                  </a:lnTo>
                  <a:lnTo>
                    <a:pt x="15" y="1757"/>
                  </a:lnTo>
                  <a:lnTo>
                    <a:pt x="32" y="1686"/>
                  </a:lnTo>
                  <a:lnTo>
                    <a:pt x="57" y="1617"/>
                  </a:lnTo>
                  <a:lnTo>
                    <a:pt x="88" y="1552"/>
                  </a:lnTo>
                  <a:lnTo>
                    <a:pt x="124" y="1489"/>
                  </a:lnTo>
                  <a:lnTo>
                    <a:pt x="166" y="1432"/>
                  </a:lnTo>
                  <a:lnTo>
                    <a:pt x="213" y="1378"/>
                  </a:lnTo>
                  <a:lnTo>
                    <a:pt x="264" y="1329"/>
                  </a:lnTo>
                  <a:lnTo>
                    <a:pt x="320" y="1285"/>
                  </a:lnTo>
                  <a:lnTo>
                    <a:pt x="381" y="1246"/>
                  </a:lnTo>
                  <a:lnTo>
                    <a:pt x="445" y="1213"/>
                  </a:lnTo>
                  <a:lnTo>
                    <a:pt x="513" y="1187"/>
                  </a:lnTo>
                  <a:lnTo>
                    <a:pt x="583" y="1165"/>
                  </a:lnTo>
                  <a:lnTo>
                    <a:pt x="601" y="1091"/>
                  </a:lnTo>
                  <a:lnTo>
                    <a:pt x="626" y="1019"/>
                  </a:lnTo>
                  <a:lnTo>
                    <a:pt x="658" y="951"/>
                  </a:lnTo>
                  <a:lnTo>
                    <a:pt x="695" y="886"/>
                  </a:lnTo>
                  <a:lnTo>
                    <a:pt x="739" y="826"/>
                  </a:lnTo>
                  <a:lnTo>
                    <a:pt x="788" y="771"/>
                  </a:lnTo>
                  <a:lnTo>
                    <a:pt x="843" y="721"/>
                  </a:lnTo>
                  <a:lnTo>
                    <a:pt x="902" y="676"/>
                  </a:lnTo>
                  <a:lnTo>
                    <a:pt x="966" y="636"/>
                  </a:lnTo>
                  <a:lnTo>
                    <a:pt x="1033" y="603"/>
                  </a:lnTo>
                  <a:lnTo>
                    <a:pt x="1103" y="577"/>
                  </a:lnTo>
                  <a:lnTo>
                    <a:pt x="1178" y="558"/>
                  </a:lnTo>
                  <a:lnTo>
                    <a:pt x="1255" y="546"/>
                  </a:lnTo>
                  <a:lnTo>
                    <a:pt x="1333" y="542"/>
                  </a:lnTo>
                  <a:lnTo>
                    <a:pt x="1408" y="546"/>
                  </a:lnTo>
                  <a:lnTo>
                    <a:pt x="1479" y="557"/>
                  </a:lnTo>
                  <a:lnTo>
                    <a:pt x="1551" y="574"/>
                  </a:lnTo>
                  <a:lnTo>
                    <a:pt x="1600" y="500"/>
                  </a:lnTo>
                  <a:lnTo>
                    <a:pt x="1655" y="430"/>
                  </a:lnTo>
                  <a:lnTo>
                    <a:pt x="1713" y="365"/>
                  </a:lnTo>
                  <a:lnTo>
                    <a:pt x="1776" y="306"/>
                  </a:lnTo>
                  <a:lnTo>
                    <a:pt x="1842" y="250"/>
                  </a:lnTo>
                  <a:lnTo>
                    <a:pt x="1914" y="199"/>
                  </a:lnTo>
                  <a:lnTo>
                    <a:pt x="1987" y="154"/>
                  </a:lnTo>
                  <a:lnTo>
                    <a:pt x="2065" y="114"/>
                  </a:lnTo>
                  <a:lnTo>
                    <a:pt x="2145" y="81"/>
                  </a:lnTo>
                  <a:lnTo>
                    <a:pt x="2228" y="52"/>
                  </a:lnTo>
                  <a:lnTo>
                    <a:pt x="2313" y="29"/>
                  </a:lnTo>
                  <a:lnTo>
                    <a:pt x="2399" y="13"/>
                  </a:lnTo>
                  <a:lnTo>
                    <a:pt x="2488" y="4"/>
                  </a:lnTo>
                  <a:lnTo>
                    <a:pt x="257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3" name="Freeform 13"/>
            <p:cNvSpPr>
              <a:spLocks noEditPoints="1"/>
            </p:cNvSpPr>
            <p:nvPr/>
          </p:nvSpPr>
          <p:spPr bwMode="auto">
            <a:xfrm>
              <a:off x="-3808" y="1594"/>
              <a:ext cx="2092" cy="2094"/>
            </a:xfrm>
            <a:custGeom>
              <a:avLst/>
              <a:gdLst>
                <a:gd name="T0" fmla="*/ 1224 w 2092"/>
                <a:gd name="T1" fmla="*/ 1897 h 2094"/>
                <a:gd name="T2" fmla="*/ 1389 w 2092"/>
                <a:gd name="T3" fmla="*/ 1633 h 2094"/>
                <a:gd name="T4" fmla="*/ 679 w 2092"/>
                <a:gd name="T5" fmla="*/ 1564 h 2094"/>
                <a:gd name="T6" fmla="*/ 830 w 2092"/>
                <a:gd name="T7" fmla="*/ 1857 h 2094"/>
                <a:gd name="T8" fmla="*/ 990 w 2092"/>
                <a:gd name="T9" fmla="*/ 1489 h 2094"/>
                <a:gd name="T10" fmla="*/ 1472 w 2092"/>
                <a:gd name="T11" fmla="*/ 1734 h 2094"/>
                <a:gd name="T12" fmla="*/ 1495 w 2092"/>
                <a:gd name="T13" fmla="*/ 1863 h 2094"/>
                <a:gd name="T14" fmla="*/ 1782 w 2092"/>
                <a:gd name="T15" fmla="*/ 1617 h 2094"/>
                <a:gd name="T16" fmla="*/ 267 w 2092"/>
                <a:gd name="T17" fmla="*/ 1555 h 2094"/>
                <a:gd name="T18" fmla="*/ 533 w 2092"/>
                <a:gd name="T19" fmla="*/ 1823 h 2094"/>
                <a:gd name="T20" fmla="*/ 656 w 2092"/>
                <a:gd name="T21" fmla="*/ 1804 h 2094"/>
                <a:gd name="T22" fmla="*/ 228 w 2092"/>
                <a:gd name="T23" fmla="*/ 1489 h 2094"/>
                <a:gd name="T24" fmla="*/ 1918 w 2092"/>
                <a:gd name="T25" fmla="*/ 1373 h 2094"/>
                <a:gd name="T26" fmla="*/ 1607 w 2092"/>
                <a:gd name="T27" fmla="*/ 1105 h 2094"/>
                <a:gd name="T28" fmla="*/ 1484 w 2092"/>
                <a:gd name="T29" fmla="*/ 1197 h 2094"/>
                <a:gd name="T30" fmla="*/ 618 w 2092"/>
                <a:gd name="T31" fmla="*/ 1286 h 2094"/>
                <a:gd name="T32" fmla="*/ 119 w 2092"/>
                <a:gd name="T33" fmla="*/ 1105 h 2094"/>
                <a:gd name="T34" fmla="*/ 513 w 2092"/>
                <a:gd name="T35" fmla="*/ 1373 h 2094"/>
                <a:gd name="T36" fmla="*/ 1579 w 2092"/>
                <a:gd name="T37" fmla="*/ 715 h 2094"/>
                <a:gd name="T38" fmla="*/ 1967 w 2092"/>
                <a:gd name="T39" fmla="*/ 918 h 2094"/>
                <a:gd name="T40" fmla="*/ 179 w 2092"/>
                <a:gd name="T41" fmla="*/ 715 h 2094"/>
                <a:gd name="T42" fmla="*/ 486 w 2092"/>
                <a:gd name="T43" fmla="*/ 990 h 2094"/>
                <a:gd name="T44" fmla="*/ 1103 w 2092"/>
                <a:gd name="T45" fmla="*/ 715 h 2094"/>
                <a:gd name="T46" fmla="*/ 1460 w 2092"/>
                <a:gd name="T47" fmla="*/ 715 h 2094"/>
                <a:gd name="T48" fmla="*/ 603 w 2092"/>
                <a:gd name="T49" fmla="*/ 990 h 2094"/>
                <a:gd name="T50" fmla="*/ 1397 w 2092"/>
                <a:gd name="T51" fmla="*/ 226 h 2094"/>
                <a:gd name="T52" fmla="*/ 1555 w 2092"/>
                <a:gd name="T53" fmla="*/ 598 h 2094"/>
                <a:gd name="T54" fmla="*/ 1676 w 2092"/>
                <a:gd name="T55" fmla="*/ 364 h 2094"/>
                <a:gd name="T56" fmla="*/ 1355 w 2092"/>
                <a:gd name="T57" fmla="*/ 170 h 2094"/>
                <a:gd name="T58" fmla="*/ 474 w 2092"/>
                <a:gd name="T59" fmla="*/ 315 h 2094"/>
                <a:gd name="T60" fmla="*/ 234 w 2092"/>
                <a:gd name="T61" fmla="*/ 598 h 2094"/>
                <a:gd name="T62" fmla="*/ 658 w 2092"/>
                <a:gd name="T63" fmla="*/ 288 h 2094"/>
                <a:gd name="T64" fmla="*/ 1432 w 2092"/>
                <a:gd name="T65" fmla="*/ 598 h 2094"/>
                <a:gd name="T66" fmla="*/ 1296 w 2092"/>
                <a:gd name="T67" fmla="*/ 283 h 2094"/>
                <a:gd name="T68" fmla="*/ 1103 w 2092"/>
                <a:gd name="T69" fmla="*/ 125 h 2094"/>
                <a:gd name="T70" fmla="*/ 833 w 2092"/>
                <a:gd name="T71" fmla="*/ 236 h 2094"/>
                <a:gd name="T72" fmla="*/ 682 w 2092"/>
                <a:gd name="T73" fmla="*/ 525 h 2094"/>
                <a:gd name="T74" fmla="*/ 1051 w 2092"/>
                <a:gd name="T75" fmla="*/ 0 h 2094"/>
                <a:gd name="T76" fmla="*/ 1415 w 2092"/>
                <a:gd name="T77" fmla="*/ 68 h 2094"/>
                <a:gd name="T78" fmla="*/ 1787 w 2092"/>
                <a:gd name="T79" fmla="*/ 311 h 2094"/>
                <a:gd name="T80" fmla="*/ 2028 w 2092"/>
                <a:gd name="T81" fmla="*/ 684 h 2094"/>
                <a:gd name="T82" fmla="*/ 2088 w 2092"/>
                <a:gd name="T83" fmla="*/ 1140 h 2094"/>
                <a:gd name="T84" fmla="*/ 1959 w 2092"/>
                <a:gd name="T85" fmla="*/ 1560 h 2094"/>
                <a:gd name="T86" fmla="*/ 1676 w 2092"/>
                <a:gd name="T87" fmla="*/ 1884 h 2094"/>
                <a:gd name="T88" fmla="*/ 1281 w 2092"/>
                <a:gd name="T89" fmla="*/ 2069 h 2094"/>
                <a:gd name="T90" fmla="*/ 810 w 2092"/>
                <a:gd name="T91" fmla="*/ 2069 h 2094"/>
                <a:gd name="T92" fmla="*/ 417 w 2092"/>
                <a:gd name="T93" fmla="*/ 1884 h 2094"/>
                <a:gd name="T94" fmla="*/ 134 w 2092"/>
                <a:gd name="T95" fmla="*/ 1560 h 2094"/>
                <a:gd name="T96" fmla="*/ 4 w 2092"/>
                <a:gd name="T97" fmla="*/ 1140 h 2094"/>
                <a:gd name="T98" fmla="*/ 65 w 2092"/>
                <a:gd name="T99" fmla="*/ 684 h 2094"/>
                <a:gd name="T100" fmla="*/ 305 w 2092"/>
                <a:gd name="T101" fmla="*/ 311 h 2094"/>
                <a:gd name="T102" fmla="*/ 678 w 2092"/>
                <a:gd name="T103" fmla="*/ 68 h 2094"/>
                <a:gd name="T104" fmla="*/ 1042 w 2092"/>
                <a:gd name="T105" fmla="*/ 0 h 20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092" h="2094">
                  <a:moveTo>
                    <a:pt x="1103" y="1489"/>
                  </a:moveTo>
                  <a:lnTo>
                    <a:pt x="1103" y="1970"/>
                  </a:lnTo>
                  <a:lnTo>
                    <a:pt x="1144" y="1954"/>
                  </a:lnTo>
                  <a:lnTo>
                    <a:pt x="1185" y="1929"/>
                  </a:lnTo>
                  <a:lnTo>
                    <a:pt x="1224" y="1897"/>
                  </a:lnTo>
                  <a:lnTo>
                    <a:pt x="1261" y="1857"/>
                  </a:lnTo>
                  <a:lnTo>
                    <a:pt x="1297" y="1810"/>
                  </a:lnTo>
                  <a:lnTo>
                    <a:pt x="1330" y="1757"/>
                  </a:lnTo>
                  <a:lnTo>
                    <a:pt x="1361" y="1698"/>
                  </a:lnTo>
                  <a:lnTo>
                    <a:pt x="1389" y="1633"/>
                  </a:lnTo>
                  <a:lnTo>
                    <a:pt x="1414" y="1564"/>
                  </a:lnTo>
                  <a:lnTo>
                    <a:pt x="1435" y="1489"/>
                  </a:lnTo>
                  <a:lnTo>
                    <a:pt x="1103" y="1489"/>
                  </a:lnTo>
                  <a:close/>
                  <a:moveTo>
                    <a:pt x="658" y="1489"/>
                  </a:moveTo>
                  <a:lnTo>
                    <a:pt x="679" y="1564"/>
                  </a:lnTo>
                  <a:lnTo>
                    <a:pt x="704" y="1633"/>
                  </a:lnTo>
                  <a:lnTo>
                    <a:pt x="732" y="1698"/>
                  </a:lnTo>
                  <a:lnTo>
                    <a:pt x="763" y="1757"/>
                  </a:lnTo>
                  <a:lnTo>
                    <a:pt x="796" y="1810"/>
                  </a:lnTo>
                  <a:lnTo>
                    <a:pt x="830" y="1857"/>
                  </a:lnTo>
                  <a:lnTo>
                    <a:pt x="869" y="1897"/>
                  </a:lnTo>
                  <a:lnTo>
                    <a:pt x="907" y="1929"/>
                  </a:lnTo>
                  <a:lnTo>
                    <a:pt x="947" y="1954"/>
                  </a:lnTo>
                  <a:lnTo>
                    <a:pt x="990" y="1970"/>
                  </a:lnTo>
                  <a:lnTo>
                    <a:pt x="990" y="1489"/>
                  </a:lnTo>
                  <a:lnTo>
                    <a:pt x="658" y="1489"/>
                  </a:lnTo>
                  <a:close/>
                  <a:moveTo>
                    <a:pt x="1556" y="1489"/>
                  </a:moveTo>
                  <a:lnTo>
                    <a:pt x="1532" y="1576"/>
                  </a:lnTo>
                  <a:lnTo>
                    <a:pt x="1504" y="1658"/>
                  </a:lnTo>
                  <a:lnTo>
                    <a:pt x="1472" y="1734"/>
                  </a:lnTo>
                  <a:lnTo>
                    <a:pt x="1436" y="1804"/>
                  </a:lnTo>
                  <a:lnTo>
                    <a:pt x="1398" y="1868"/>
                  </a:lnTo>
                  <a:lnTo>
                    <a:pt x="1355" y="1925"/>
                  </a:lnTo>
                  <a:lnTo>
                    <a:pt x="1427" y="1896"/>
                  </a:lnTo>
                  <a:lnTo>
                    <a:pt x="1495" y="1863"/>
                  </a:lnTo>
                  <a:lnTo>
                    <a:pt x="1560" y="1823"/>
                  </a:lnTo>
                  <a:lnTo>
                    <a:pt x="1621" y="1778"/>
                  </a:lnTo>
                  <a:lnTo>
                    <a:pt x="1680" y="1729"/>
                  </a:lnTo>
                  <a:lnTo>
                    <a:pt x="1733" y="1674"/>
                  </a:lnTo>
                  <a:lnTo>
                    <a:pt x="1782" y="1617"/>
                  </a:lnTo>
                  <a:lnTo>
                    <a:pt x="1826" y="1555"/>
                  </a:lnTo>
                  <a:lnTo>
                    <a:pt x="1864" y="1489"/>
                  </a:lnTo>
                  <a:lnTo>
                    <a:pt x="1556" y="1489"/>
                  </a:lnTo>
                  <a:close/>
                  <a:moveTo>
                    <a:pt x="228" y="1489"/>
                  </a:moveTo>
                  <a:lnTo>
                    <a:pt x="267" y="1555"/>
                  </a:lnTo>
                  <a:lnTo>
                    <a:pt x="311" y="1617"/>
                  </a:lnTo>
                  <a:lnTo>
                    <a:pt x="360" y="1674"/>
                  </a:lnTo>
                  <a:lnTo>
                    <a:pt x="413" y="1729"/>
                  </a:lnTo>
                  <a:lnTo>
                    <a:pt x="470" y="1778"/>
                  </a:lnTo>
                  <a:lnTo>
                    <a:pt x="533" y="1823"/>
                  </a:lnTo>
                  <a:lnTo>
                    <a:pt x="598" y="1863"/>
                  </a:lnTo>
                  <a:lnTo>
                    <a:pt x="666" y="1896"/>
                  </a:lnTo>
                  <a:lnTo>
                    <a:pt x="737" y="1925"/>
                  </a:lnTo>
                  <a:lnTo>
                    <a:pt x="695" y="1868"/>
                  </a:lnTo>
                  <a:lnTo>
                    <a:pt x="656" y="1804"/>
                  </a:lnTo>
                  <a:lnTo>
                    <a:pt x="620" y="1734"/>
                  </a:lnTo>
                  <a:lnTo>
                    <a:pt x="588" y="1658"/>
                  </a:lnTo>
                  <a:lnTo>
                    <a:pt x="561" y="1576"/>
                  </a:lnTo>
                  <a:lnTo>
                    <a:pt x="537" y="1489"/>
                  </a:lnTo>
                  <a:lnTo>
                    <a:pt x="228" y="1489"/>
                  </a:lnTo>
                  <a:close/>
                  <a:moveTo>
                    <a:pt x="1607" y="1105"/>
                  </a:moveTo>
                  <a:lnTo>
                    <a:pt x="1601" y="1197"/>
                  </a:lnTo>
                  <a:lnTo>
                    <a:pt x="1593" y="1286"/>
                  </a:lnTo>
                  <a:lnTo>
                    <a:pt x="1580" y="1373"/>
                  </a:lnTo>
                  <a:lnTo>
                    <a:pt x="1918" y="1373"/>
                  </a:lnTo>
                  <a:lnTo>
                    <a:pt x="1939" y="1309"/>
                  </a:lnTo>
                  <a:lnTo>
                    <a:pt x="1955" y="1242"/>
                  </a:lnTo>
                  <a:lnTo>
                    <a:pt x="1967" y="1176"/>
                  </a:lnTo>
                  <a:lnTo>
                    <a:pt x="1973" y="1105"/>
                  </a:lnTo>
                  <a:lnTo>
                    <a:pt x="1607" y="1105"/>
                  </a:lnTo>
                  <a:close/>
                  <a:moveTo>
                    <a:pt x="1103" y="1105"/>
                  </a:moveTo>
                  <a:lnTo>
                    <a:pt x="1103" y="1373"/>
                  </a:lnTo>
                  <a:lnTo>
                    <a:pt x="1462" y="1373"/>
                  </a:lnTo>
                  <a:lnTo>
                    <a:pt x="1475" y="1286"/>
                  </a:lnTo>
                  <a:lnTo>
                    <a:pt x="1484" y="1197"/>
                  </a:lnTo>
                  <a:lnTo>
                    <a:pt x="1490" y="1105"/>
                  </a:lnTo>
                  <a:lnTo>
                    <a:pt x="1103" y="1105"/>
                  </a:lnTo>
                  <a:close/>
                  <a:moveTo>
                    <a:pt x="603" y="1105"/>
                  </a:moveTo>
                  <a:lnTo>
                    <a:pt x="608" y="1197"/>
                  </a:lnTo>
                  <a:lnTo>
                    <a:pt x="618" y="1286"/>
                  </a:lnTo>
                  <a:lnTo>
                    <a:pt x="631" y="1373"/>
                  </a:lnTo>
                  <a:lnTo>
                    <a:pt x="990" y="1373"/>
                  </a:lnTo>
                  <a:lnTo>
                    <a:pt x="990" y="1105"/>
                  </a:lnTo>
                  <a:lnTo>
                    <a:pt x="603" y="1105"/>
                  </a:lnTo>
                  <a:close/>
                  <a:moveTo>
                    <a:pt x="119" y="1105"/>
                  </a:moveTo>
                  <a:lnTo>
                    <a:pt x="126" y="1176"/>
                  </a:lnTo>
                  <a:lnTo>
                    <a:pt x="138" y="1242"/>
                  </a:lnTo>
                  <a:lnTo>
                    <a:pt x="154" y="1309"/>
                  </a:lnTo>
                  <a:lnTo>
                    <a:pt x="175" y="1373"/>
                  </a:lnTo>
                  <a:lnTo>
                    <a:pt x="513" y="1373"/>
                  </a:lnTo>
                  <a:lnTo>
                    <a:pt x="499" y="1286"/>
                  </a:lnTo>
                  <a:lnTo>
                    <a:pt x="491" y="1197"/>
                  </a:lnTo>
                  <a:lnTo>
                    <a:pt x="486" y="1105"/>
                  </a:lnTo>
                  <a:lnTo>
                    <a:pt x="119" y="1105"/>
                  </a:lnTo>
                  <a:close/>
                  <a:moveTo>
                    <a:pt x="1579" y="715"/>
                  </a:moveTo>
                  <a:lnTo>
                    <a:pt x="1592" y="802"/>
                  </a:lnTo>
                  <a:lnTo>
                    <a:pt x="1601" y="895"/>
                  </a:lnTo>
                  <a:lnTo>
                    <a:pt x="1607" y="990"/>
                  </a:lnTo>
                  <a:lnTo>
                    <a:pt x="1973" y="990"/>
                  </a:lnTo>
                  <a:lnTo>
                    <a:pt x="1967" y="918"/>
                  </a:lnTo>
                  <a:lnTo>
                    <a:pt x="1953" y="848"/>
                  </a:lnTo>
                  <a:lnTo>
                    <a:pt x="1936" y="780"/>
                  </a:lnTo>
                  <a:lnTo>
                    <a:pt x="1914" y="715"/>
                  </a:lnTo>
                  <a:lnTo>
                    <a:pt x="1579" y="715"/>
                  </a:lnTo>
                  <a:close/>
                  <a:moveTo>
                    <a:pt x="179" y="715"/>
                  </a:moveTo>
                  <a:lnTo>
                    <a:pt x="157" y="780"/>
                  </a:lnTo>
                  <a:lnTo>
                    <a:pt x="138" y="848"/>
                  </a:lnTo>
                  <a:lnTo>
                    <a:pt x="126" y="918"/>
                  </a:lnTo>
                  <a:lnTo>
                    <a:pt x="119" y="990"/>
                  </a:lnTo>
                  <a:lnTo>
                    <a:pt x="486" y="990"/>
                  </a:lnTo>
                  <a:lnTo>
                    <a:pt x="491" y="895"/>
                  </a:lnTo>
                  <a:lnTo>
                    <a:pt x="501" y="802"/>
                  </a:lnTo>
                  <a:lnTo>
                    <a:pt x="514" y="715"/>
                  </a:lnTo>
                  <a:lnTo>
                    <a:pt x="179" y="715"/>
                  </a:lnTo>
                  <a:close/>
                  <a:moveTo>
                    <a:pt x="1103" y="715"/>
                  </a:moveTo>
                  <a:lnTo>
                    <a:pt x="1103" y="990"/>
                  </a:lnTo>
                  <a:lnTo>
                    <a:pt x="1490" y="990"/>
                  </a:lnTo>
                  <a:lnTo>
                    <a:pt x="1484" y="895"/>
                  </a:lnTo>
                  <a:lnTo>
                    <a:pt x="1474" y="802"/>
                  </a:lnTo>
                  <a:lnTo>
                    <a:pt x="1460" y="715"/>
                  </a:lnTo>
                  <a:lnTo>
                    <a:pt x="1103" y="715"/>
                  </a:lnTo>
                  <a:close/>
                  <a:moveTo>
                    <a:pt x="632" y="715"/>
                  </a:moveTo>
                  <a:lnTo>
                    <a:pt x="618" y="802"/>
                  </a:lnTo>
                  <a:lnTo>
                    <a:pt x="608" y="895"/>
                  </a:lnTo>
                  <a:lnTo>
                    <a:pt x="603" y="990"/>
                  </a:lnTo>
                  <a:lnTo>
                    <a:pt x="990" y="990"/>
                  </a:lnTo>
                  <a:lnTo>
                    <a:pt x="990" y="715"/>
                  </a:lnTo>
                  <a:lnTo>
                    <a:pt x="632" y="715"/>
                  </a:lnTo>
                  <a:close/>
                  <a:moveTo>
                    <a:pt x="1355" y="170"/>
                  </a:moveTo>
                  <a:lnTo>
                    <a:pt x="1397" y="226"/>
                  </a:lnTo>
                  <a:lnTo>
                    <a:pt x="1435" y="288"/>
                  </a:lnTo>
                  <a:lnTo>
                    <a:pt x="1471" y="357"/>
                  </a:lnTo>
                  <a:lnTo>
                    <a:pt x="1503" y="432"/>
                  </a:lnTo>
                  <a:lnTo>
                    <a:pt x="1531" y="513"/>
                  </a:lnTo>
                  <a:lnTo>
                    <a:pt x="1555" y="598"/>
                  </a:lnTo>
                  <a:lnTo>
                    <a:pt x="1859" y="598"/>
                  </a:lnTo>
                  <a:lnTo>
                    <a:pt x="1821" y="534"/>
                  </a:lnTo>
                  <a:lnTo>
                    <a:pt x="1777" y="473"/>
                  </a:lnTo>
                  <a:lnTo>
                    <a:pt x="1727" y="416"/>
                  </a:lnTo>
                  <a:lnTo>
                    <a:pt x="1676" y="364"/>
                  </a:lnTo>
                  <a:lnTo>
                    <a:pt x="1619" y="315"/>
                  </a:lnTo>
                  <a:lnTo>
                    <a:pt x="1557" y="271"/>
                  </a:lnTo>
                  <a:lnTo>
                    <a:pt x="1494" y="232"/>
                  </a:lnTo>
                  <a:lnTo>
                    <a:pt x="1426" y="198"/>
                  </a:lnTo>
                  <a:lnTo>
                    <a:pt x="1355" y="170"/>
                  </a:lnTo>
                  <a:close/>
                  <a:moveTo>
                    <a:pt x="737" y="170"/>
                  </a:moveTo>
                  <a:lnTo>
                    <a:pt x="667" y="198"/>
                  </a:lnTo>
                  <a:lnTo>
                    <a:pt x="599" y="232"/>
                  </a:lnTo>
                  <a:lnTo>
                    <a:pt x="535" y="271"/>
                  </a:lnTo>
                  <a:lnTo>
                    <a:pt x="474" y="315"/>
                  </a:lnTo>
                  <a:lnTo>
                    <a:pt x="417" y="364"/>
                  </a:lnTo>
                  <a:lnTo>
                    <a:pt x="364" y="416"/>
                  </a:lnTo>
                  <a:lnTo>
                    <a:pt x="316" y="473"/>
                  </a:lnTo>
                  <a:lnTo>
                    <a:pt x="272" y="534"/>
                  </a:lnTo>
                  <a:lnTo>
                    <a:pt x="234" y="598"/>
                  </a:lnTo>
                  <a:lnTo>
                    <a:pt x="538" y="598"/>
                  </a:lnTo>
                  <a:lnTo>
                    <a:pt x="562" y="513"/>
                  </a:lnTo>
                  <a:lnTo>
                    <a:pt x="590" y="432"/>
                  </a:lnTo>
                  <a:lnTo>
                    <a:pt x="622" y="357"/>
                  </a:lnTo>
                  <a:lnTo>
                    <a:pt x="658" y="288"/>
                  </a:lnTo>
                  <a:lnTo>
                    <a:pt x="695" y="226"/>
                  </a:lnTo>
                  <a:lnTo>
                    <a:pt x="737" y="170"/>
                  </a:lnTo>
                  <a:close/>
                  <a:moveTo>
                    <a:pt x="1103" y="125"/>
                  </a:moveTo>
                  <a:lnTo>
                    <a:pt x="1103" y="598"/>
                  </a:lnTo>
                  <a:lnTo>
                    <a:pt x="1432" y="598"/>
                  </a:lnTo>
                  <a:lnTo>
                    <a:pt x="1411" y="525"/>
                  </a:lnTo>
                  <a:lnTo>
                    <a:pt x="1386" y="457"/>
                  </a:lnTo>
                  <a:lnTo>
                    <a:pt x="1358" y="393"/>
                  </a:lnTo>
                  <a:lnTo>
                    <a:pt x="1327" y="335"/>
                  </a:lnTo>
                  <a:lnTo>
                    <a:pt x="1296" y="283"/>
                  </a:lnTo>
                  <a:lnTo>
                    <a:pt x="1260" y="236"/>
                  </a:lnTo>
                  <a:lnTo>
                    <a:pt x="1222" y="198"/>
                  </a:lnTo>
                  <a:lnTo>
                    <a:pt x="1184" y="166"/>
                  </a:lnTo>
                  <a:lnTo>
                    <a:pt x="1144" y="141"/>
                  </a:lnTo>
                  <a:lnTo>
                    <a:pt x="1103" y="125"/>
                  </a:lnTo>
                  <a:close/>
                  <a:moveTo>
                    <a:pt x="990" y="125"/>
                  </a:moveTo>
                  <a:lnTo>
                    <a:pt x="949" y="141"/>
                  </a:lnTo>
                  <a:lnTo>
                    <a:pt x="909" y="166"/>
                  </a:lnTo>
                  <a:lnTo>
                    <a:pt x="869" y="198"/>
                  </a:lnTo>
                  <a:lnTo>
                    <a:pt x="833" y="236"/>
                  </a:lnTo>
                  <a:lnTo>
                    <a:pt x="797" y="283"/>
                  </a:lnTo>
                  <a:lnTo>
                    <a:pt x="765" y="335"/>
                  </a:lnTo>
                  <a:lnTo>
                    <a:pt x="735" y="393"/>
                  </a:lnTo>
                  <a:lnTo>
                    <a:pt x="707" y="457"/>
                  </a:lnTo>
                  <a:lnTo>
                    <a:pt x="682" y="525"/>
                  </a:lnTo>
                  <a:lnTo>
                    <a:pt x="659" y="598"/>
                  </a:lnTo>
                  <a:lnTo>
                    <a:pt x="990" y="598"/>
                  </a:lnTo>
                  <a:lnTo>
                    <a:pt x="990" y="125"/>
                  </a:lnTo>
                  <a:close/>
                  <a:moveTo>
                    <a:pt x="1048" y="0"/>
                  </a:moveTo>
                  <a:lnTo>
                    <a:pt x="1051" y="0"/>
                  </a:lnTo>
                  <a:lnTo>
                    <a:pt x="1052" y="0"/>
                  </a:lnTo>
                  <a:lnTo>
                    <a:pt x="1148" y="5"/>
                  </a:lnTo>
                  <a:lnTo>
                    <a:pt x="1240" y="19"/>
                  </a:lnTo>
                  <a:lnTo>
                    <a:pt x="1329" y="40"/>
                  </a:lnTo>
                  <a:lnTo>
                    <a:pt x="1415" y="68"/>
                  </a:lnTo>
                  <a:lnTo>
                    <a:pt x="1499" y="104"/>
                  </a:lnTo>
                  <a:lnTo>
                    <a:pt x="1577" y="146"/>
                  </a:lnTo>
                  <a:lnTo>
                    <a:pt x="1652" y="195"/>
                  </a:lnTo>
                  <a:lnTo>
                    <a:pt x="1722" y="250"/>
                  </a:lnTo>
                  <a:lnTo>
                    <a:pt x="1787" y="311"/>
                  </a:lnTo>
                  <a:lnTo>
                    <a:pt x="1848" y="376"/>
                  </a:lnTo>
                  <a:lnTo>
                    <a:pt x="1902" y="446"/>
                  </a:lnTo>
                  <a:lnTo>
                    <a:pt x="1951" y="522"/>
                  </a:lnTo>
                  <a:lnTo>
                    <a:pt x="1992" y="601"/>
                  </a:lnTo>
                  <a:lnTo>
                    <a:pt x="2028" y="684"/>
                  </a:lnTo>
                  <a:lnTo>
                    <a:pt x="2056" y="771"/>
                  </a:lnTo>
                  <a:lnTo>
                    <a:pt x="2076" y="861"/>
                  </a:lnTo>
                  <a:lnTo>
                    <a:pt x="2088" y="953"/>
                  </a:lnTo>
                  <a:lnTo>
                    <a:pt x="2092" y="1048"/>
                  </a:lnTo>
                  <a:lnTo>
                    <a:pt x="2088" y="1140"/>
                  </a:lnTo>
                  <a:lnTo>
                    <a:pt x="2077" y="1229"/>
                  </a:lnTo>
                  <a:lnTo>
                    <a:pt x="2057" y="1317"/>
                  </a:lnTo>
                  <a:lnTo>
                    <a:pt x="2031" y="1402"/>
                  </a:lnTo>
                  <a:lnTo>
                    <a:pt x="1997" y="1483"/>
                  </a:lnTo>
                  <a:lnTo>
                    <a:pt x="1959" y="1560"/>
                  </a:lnTo>
                  <a:lnTo>
                    <a:pt x="1912" y="1634"/>
                  </a:lnTo>
                  <a:lnTo>
                    <a:pt x="1860" y="1703"/>
                  </a:lnTo>
                  <a:lnTo>
                    <a:pt x="1805" y="1768"/>
                  </a:lnTo>
                  <a:lnTo>
                    <a:pt x="1742" y="1828"/>
                  </a:lnTo>
                  <a:lnTo>
                    <a:pt x="1676" y="1884"/>
                  </a:lnTo>
                  <a:lnTo>
                    <a:pt x="1604" y="1933"/>
                  </a:lnTo>
                  <a:lnTo>
                    <a:pt x="1528" y="1977"/>
                  </a:lnTo>
                  <a:lnTo>
                    <a:pt x="1450" y="2014"/>
                  </a:lnTo>
                  <a:lnTo>
                    <a:pt x="1367" y="2045"/>
                  </a:lnTo>
                  <a:lnTo>
                    <a:pt x="1281" y="2069"/>
                  </a:lnTo>
                  <a:lnTo>
                    <a:pt x="1193" y="2085"/>
                  </a:lnTo>
                  <a:lnTo>
                    <a:pt x="1103" y="2094"/>
                  </a:lnTo>
                  <a:lnTo>
                    <a:pt x="990" y="2094"/>
                  </a:lnTo>
                  <a:lnTo>
                    <a:pt x="899" y="2085"/>
                  </a:lnTo>
                  <a:lnTo>
                    <a:pt x="810" y="2069"/>
                  </a:lnTo>
                  <a:lnTo>
                    <a:pt x="725" y="2045"/>
                  </a:lnTo>
                  <a:lnTo>
                    <a:pt x="643" y="2014"/>
                  </a:lnTo>
                  <a:lnTo>
                    <a:pt x="565" y="1977"/>
                  </a:lnTo>
                  <a:lnTo>
                    <a:pt x="489" y="1933"/>
                  </a:lnTo>
                  <a:lnTo>
                    <a:pt x="417" y="1884"/>
                  </a:lnTo>
                  <a:lnTo>
                    <a:pt x="351" y="1828"/>
                  </a:lnTo>
                  <a:lnTo>
                    <a:pt x="288" y="1768"/>
                  </a:lnTo>
                  <a:lnTo>
                    <a:pt x="232" y="1703"/>
                  </a:lnTo>
                  <a:lnTo>
                    <a:pt x="180" y="1634"/>
                  </a:lnTo>
                  <a:lnTo>
                    <a:pt x="134" y="1560"/>
                  </a:lnTo>
                  <a:lnTo>
                    <a:pt x="95" y="1483"/>
                  </a:lnTo>
                  <a:lnTo>
                    <a:pt x="62" y="1402"/>
                  </a:lnTo>
                  <a:lnTo>
                    <a:pt x="36" y="1317"/>
                  </a:lnTo>
                  <a:lnTo>
                    <a:pt x="16" y="1229"/>
                  </a:lnTo>
                  <a:lnTo>
                    <a:pt x="4" y="1140"/>
                  </a:lnTo>
                  <a:lnTo>
                    <a:pt x="0" y="1048"/>
                  </a:lnTo>
                  <a:lnTo>
                    <a:pt x="5" y="953"/>
                  </a:lnTo>
                  <a:lnTo>
                    <a:pt x="17" y="861"/>
                  </a:lnTo>
                  <a:lnTo>
                    <a:pt x="37" y="771"/>
                  </a:lnTo>
                  <a:lnTo>
                    <a:pt x="65" y="684"/>
                  </a:lnTo>
                  <a:lnTo>
                    <a:pt x="101" y="601"/>
                  </a:lnTo>
                  <a:lnTo>
                    <a:pt x="142" y="522"/>
                  </a:lnTo>
                  <a:lnTo>
                    <a:pt x="191" y="446"/>
                  </a:lnTo>
                  <a:lnTo>
                    <a:pt x="244" y="376"/>
                  </a:lnTo>
                  <a:lnTo>
                    <a:pt x="305" y="311"/>
                  </a:lnTo>
                  <a:lnTo>
                    <a:pt x="370" y="250"/>
                  </a:lnTo>
                  <a:lnTo>
                    <a:pt x="440" y="195"/>
                  </a:lnTo>
                  <a:lnTo>
                    <a:pt x="515" y="146"/>
                  </a:lnTo>
                  <a:lnTo>
                    <a:pt x="594" y="104"/>
                  </a:lnTo>
                  <a:lnTo>
                    <a:pt x="678" y="68"/>
                  </a:lnTo>
                  <a:lnTo>
                    <a:pt x="764" y="40"/>
                  </a:lnTo>
                  <a:lnTo>
                    <a:pt x="853" y="19"/>
                  </a:lnTo>
                  <a:lnTo>
                    <a:pt x="945" y="5"/>
                  </a:lnTo>
                  <a:lnTo>
                    <a:pt x="1039" y="0"/>
                  </a:lnTo>
                  <a:lnTo>
                    <a:pt x="1042" y="0"/>
                  </a:lnTo>
                  <a:lnTo>
                    <a:pt x="1044" y="0"/>
                  </a:lnTo>
                  <a:lnTo>
                    <a:pt x="104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40" name="Group 22"/>
          <p:cNvGrpSpPr>
            <a:grpSpLocks noChangeAspect="1"/>
          </p:cNvGrpSpPr>
          <p:nvPr/>
        </p:nvGrpSpPr>
        <p:grpSpPr bwMode="auto">
          <a:xfrm>
            <a:off x="4652322" y="3393456"/>
            <a:ext cx="468533" cy="468533"/>
            <a:chOff x="1003" y="617"/>
            <a:chExt cx="566" cy="566"/>
          </a:xfrm>
          <a:solidFill>
            <a:schemeClr val="bg1"/>
          </a:solidFill>
        </p:grpSpPr>
        <p:sp>
          <p:nvSpPr>
            <p:cNvPr id="41" name="Freeform 24"/>
            <p:cNvSpPr>
              <a:spLocks/>
            </p:cNvSpPr>
            <p:nvPr/>
          </p:nvSpPr>
          <p:spPr bwMode="auto">
            <a:xfrm>
              <a:off x="1003" y="623"/>
              <a:ext cx="225" cy="393"/>
            </a:xfrm>
            <a:custGeom>
              <a:avLst/>
              <a:gdLst>
                <a:gd name="T0" fmla="*/ 1348 w 1352"/>
                <a:gd name="T1" fmla="*/ 139 h 2356"/>
                <a:gd name="T2" fmla="*/ 1314 w 1352"/>
                <a:gd name="T3" fmla="*/ 293 h 2356"/>
                <a:gd name="T4" fmla="*/ 1244 w 1352"/>
                <a:gd name="T5" fmla="*/ 341 h 2356"/>
                <a:gd name="T6" fmla="*/ 1187 w 1352"/>
                <a:gd name="T7" fmla="*/ 406 h 2356"/>
                <a:gd name="T8" fmla="*/ 1146 w 1352"/>
                <a:gd name="T9" fmla="*/ 488 h 2356"/>
                <a:gd name="T10" fmla="*/ 1130 w 1352"/>
                <a:gd name="T11" fmla="*/ 574 h 2356"/>
                <a:gd name="T12" fmla="*/ 1135 w 1352"/>
                <a:gd name="T13" fmla="*/ 660 h 2356"/>
                <a:gd name="T14" fmla="*/ 1161 w 1352"/>
                <a:gd name="T15" fmla="*/ 742 h 2356"/>
                <a:gd name="T16" fmla="*/ 1028 w 1352"/>
                <a:gd name="T17" fmla="*/ 877 h 2356"/>
                <a:gd name="T18" fmla="*/ 913 w 1352"/>
                <a:gd name="T19" fmla="*/ 1020 h 2356"/>
                <a:gd name="T20" fmla="*/ 819 w 1352"/>
                <a:gd name="T21" fmla="*/ 1172 h 2356"/>
                <a:gd name="T22" fmla="*/ 746 w 1352"/>
                <a:gd name="T23" fmla="*/ 1331 h 2356"/>
                <a:gd name="T24" fmla="*/ 691 w 1352"/>
                <a:gd name="T25" fmla="*/ 1501 h 2356"/>
                <a:gd name="T26" fmla="*/ 657 w 1352"/>
                <a:gd name="T27" fmla="*/ 1678 h 2356"/>
                <a:gd name="T28" fmla="*/ 647 w 1352"/>
                <a:gd name="T29" fmla="*/ 1861 h 2356"/>
                <a:gd name="T30" fmla="*/ 659 w 1352"/>
                <a:gd name="T31" fmla="*/ 2049 h 2356"/>
                <a:gd name="T32" fmla="*/ 694 w 1352"/>
                <a:gd name="T33" fmla="*/ 2241 h 2356"/>
                <a:gd name="T34" fmla="*/ 643 w 1352"/>
                <a:gd name="T35" fmla="*/ 2292 h 2356"/>
                <a:gd name="T36" fmla="*/ 601 w 1352"/>
                <a:gd name="T37" fmla="*/ 2356 h 2356"/>
                <a:gd name="T38" fmla="*/ 335 w 1352"/>
                <a:gd name="T39" fmla="*/ 2263 h 2356"/>
                <a:gd name="T40" fmla="*/ 70 w 1352"/>
                <a:gd name="T41" fmla="*/ 2144 h 2356"/>
                <a:gd name="T42" fmla="*/ 26 w 1352"/>
                <a:gd name="T43" fmla="*/ 1959 h 2356"/>
                <a:gd name="T44" fmla="*/ 3 w 1352"/>
                <a:gd name="T45" fmla="*/ 1769 h 2356"/>
                <a:gd name="T46" fmla="*/ 2 w 1352"/>
                <a:gd name="T47" fmla="*/ 1577 h 2356"/>
                <a:gd name="T48" fmla="*/ 23 w 1352"/>
                <a:gd name="T49" fmla="*/ 1384 h 2356"/>
                <a:gd name="T50" fmla="*/ 66 w 1352"/>
                <a:gd name="T51" fmla="*/ 1192 h 2356"/>
                <a:gd name="T52" fmla="*/ 133 w 1352"/>
                <a:gd name="T53" fmla="*/ 1004 h 2356"/>
                <a:gd name="T54" fmla="*/ 223 w 1352"/>
                <a:gd name="T55" fmla="*/ 822 h 2356"/>
                <a:gd name="T56" fmla="*/ 331 w 1352"/>
                <a:gd name="T57" fmla="*/ 655 h 2356"/>
                <a:gd name="T58" fmla="*/ 455 w 1352"/>
                <a:gd name="T59" fmla="*/ 505 h 2356"/>
                <a:gd name="T60" fmla="*/ 594 w 1352"/>
                <a:gd name="T61" fmla="*/ 371 h 2356"/>
                <a:gd name="T62" fmla="*/ 746 w 1352"/>
                <a:gd name="T63" fmla="*/ 256 h 2356"/>
                <a:gd name="T64" fmla="*/ 908 w 1352"/>
                <a:gd name="T65" fmla="*/ 159 h 2356"/>
                <a:gd name="T66" fmla="*/ 1080 w 1352"/>
                <a:gd name="T67" fmla="*/ 81 h 2356"/>
                <a:gd name="T68" fmla="*/ 1259 w 1352"/>
                <a:gd name="T69" fmla="*/ 22 h 2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352" h="2356">
                  <a:moveTo>
                    <a:pt x="1351" y="0"/>
                  </a:moveTo>
                  <a:lnTo>
                    <a:pt x="1348" y="139"/>
                  </a:lnTo>
                  <a:lnTo>
                    <a:pt x="1352" y="276"/>
                  </a:lnTo>
                  <a:lnTo>
                    <a:pt x="1314" y="293"/>
                  </a:lnTo>
                  <a:lnTo>
                    <a:pt x="1278" y="314"/>
                  </a:lnTo>
                  <a:lnTo>
                    <a:pt x="1244" y="341"/>
                  </a:lnTo>
                  <a:lnTo>
                    <a:pt x="1213" y="371"/>
                  </a:lnTo>
                  <a:lnTo>
                    <a:pt x="1187" y="406"/>
                  </a:lnTo>
                  <a:lnTo>
                    <a:pt x="1163" y="445"/>
                  </a:lnTo>
                  <a:lnTo>
                    <a:pt x="1146" y="488"/>
                  </a:lnTo>
                  <a:lnTo>
                    <a:pt x="1135" y="530"/>
                  </a:lnTo>
                  <a:lnTo>
                    <a:pt x="1130" y="574"/>
                  </a:lnTo>
                  <a:lnTo>
                    <a:pt x="1130" y="617"/>
                  </a:lnTo>
                  <a:lnTo>
                    <a:pt x="1135" y="660"/>
                  </a:lnTo>
                  <a:lnTo>
                    <a:pt x="1146" y="701"/>
                  </a:lnTo>
                  <a:lnTo>
                    <a:pt x="1161" y="742"/>
                  </a:lnTo>
                  <a:lnTo>
                    <a:pt x="1092" y="809"/>
                  </a:lnTo>
                  <a:lnTo>
                    <a:pt x="1028" y="877"/>
                  </a:lnTo>
                  <a:lnTo>
                    <a:pt x="968" y="948"/>
                  </a:lnTo>
                  <a:lnTo>
                    <a:pt x="913" y="1020"/>
                  </a:lnTo>
                  <a:lnTo>
                    <a:pt x="864" y="1095"/>
                  </a:lnTo>
                  <a:lnTo>
                    <a:pt x="819" y="1172"/>
                  </a:lnTo>
                  <a:lnTo>
                    <a:pt x="780" y="1251"/>
                  </a:lnTo>
                  <a:lnTo>
                    <a:pt x="746" y="1331"/>
                  </a:lnTo>
                  <a:lnTo>
                    <a:pt x="716" y="1413"/>
                  </a:lnTo>
                  <a:lnTo>
                    <a:pt x="691" y="1501"/>
                  </a:lnTo>
                  <a:lnTo>
                    <a:pt x="671" y="1588"/>
                  </a:lnTo>
                  <a:lnTo>
                    <a:pt x="657" y="1678"/>
                  </a:lnTo>
                  <a:lnTo>
                    <a:pt x="649" y="1769"/>
                  </a:lnTo>
                  <a:lnTo>
                    <a:pt x="647" y="1861"/>
                  </a:lnTo>
                  <a:lnTo>
                    <a:pt x="650" y="1954"/>
                  </a:lnTo>
                  <a:lnTo>
                    <a:pt x="659" y="2049"/>
                  </a:lnTo>
                  <a:lnTo>
                    <a:pt x="674" y="2144"/>
                  </a:lnTo>
                  <a:lnTo>
                    <a:pt x="694" y="2241"/>
                  </a:lnTo>
                  <a:lnTo>
                    <a:pt x="668" y="2265"/>
                  </a:lnTo>
                  <a:lnTo>
                    <a:pt x="643" y="2292"/>
                  </a:lnTo>
                  <a:lnTo>
                    <a:pt x="621" y="2322"/>
                  </a:lnTo>
                  <a:lnTo>
                    <a:pt x="601" y="2356"/>
                  </a:lnTo>
                  <a:lnTo>
                    <a:pt x="468" y="2313"/>
                  </a:lnTo>
                  <a:lnTo>
                    <a:pt x="335" y="2263"/>
                  </a:lnTo>
                  <a:lnTo>
                    <a:pt x="203" y="2207"/>
                  </a:lnTo>
                  <a:lnTo>
                    <a:pt x="70" y="2144"/>
                  </a:lnTo>
                  <a:lnTo>
                    <a:pt x="46" y="2052"/>
                  </a:lnTo>
                  <a:lnTo>
                    <a:pt x="26" y="1959"/>
                  </a:lnTo>
                  <a:lnTo>
                    <a:pt x="12" y="1865"/>
                  </a:lnTo>
                  <a:lnTo>
                    <a:pt x="3" y="1769"/>
                  </a:lnTo>
                  <a:lnTo>
                    <a:pt x="0" y="1674"/>
                  </a:lnTo>
                  <a:lnTo>
                    <a:pt x="2" y="1577"/>
                  </a:lnTo>
                  <a:lnTo>
                    <a:pt x="10" y="1481"/>
                  </a:lnTo>
                  <a:lnTo>
                    <a:pt x="23" y="1384"/>
                  </a:lnTo>
                  <a:lnTo>
                    <a:pt x="42" y="1288"/>
                  </a:lnTo>
                  <a:lnTo>
                    <a:pt x="66" y="1192"/>
                  </a:lnTo>
                  <a:lnTo>
                    <a:pt x="96" y="1098"/>
                  </a:lnTo>
                  <a:lnTo>
                    <a:pt x="133" y="1004"/>
                  </a:lnTo>
                  <a:lnTo>
                    <a:pt x="175" y="911"/>
                  </a:lnTo>
                  <a:lnTo>
                    <a:pt x="223" y="822"/>
                  </a:lnTo>
                  <a:lnTo>
                    <a:pt x="275" y="736"/>
                  </a:lnTo>
                  <a:lnTo>
                    <a:pt x="331" y="655"/>
                  </a:lnTo>
                  <a:lnTo>
                    <a:pt x="391" y="577"/>
                  </a:lnTo>
                  <a:lnTo>
                    <a:pt x="455" y="505"/>
                  </a:lnTo>
                  <a:lnTo>
                    <a:pt x="523" y="436"/>
                  </a:lnTo>
                  <a:lnTo>
                    <a:pt x="594" y="371"/>
                  </a:lnTo>
                  <a:lnTo>
                    <a:pt x="668" y="312"/>
                  </a:lnTo>
                  <a:lnTo>
                    <a:pt x="746" y="256"/>
                  </a:lnTo>
                  <a:lnTo>
                    <a:pt x="826" y="206"/>
                  </a:lnTo>
                  <a:lnTo>
                    <a:pt x="908" y="159"/>
                  </a:lnTo>
                  <a:lnTo>
                    <a:pt x="992" y="118"/>
                  </a:lnTo>
                  <a:lnTo>
                    <a:pt x="1080" y="81"/>
                  </a:lnTo>
                  <a:lnTo>
                    <a:pt x="1169" y="49"/>
                  </a:lnTo>
                  <a:lnTo>
                    <a:pt x="1259" y="22"/>
                  </a:lnTo>
                  <a:lnTo>
                    <a:pt x="135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646464"/>
                </a:solidFill>
              </a:endParaRPr>
            </a:p>
          </p:txBody>
        </p:sp>
        <p:sp>
          <p:nvSpPr>
            <p:cNvPr id="42" name="Freeform 25"/>
            <p:cNvSpPr>
              <a:spLocks/>
            </p:cNvSpPr>
            <p:nvPr/>
          </p:nvSpPr>
          <p:spPr bwMode="auto">
            <a:xfrm>
              <a:off x="1029" y="1018"/>
              <a:ext cx="183" cy="155"/>
            </a:xfrm>
            <a:custGeom>
              <a:avLst/>
              <a:gdLst>
                <a:gd name="T0" fmla="*/ 0 w 1103"/>
                <a:gd name="T1" fmla="*/ 0 h 932"/>
                <a:gd name="T2" fmla="*/ 137 w 1103"/>
                <a:gd name="T3" fmla="*/ 56 h 932"/>
                <a:gd name="T4" fmla="*/ 274 w 1103"/>
                <a:gd name="T5" fmla="*/ 106 h 932"/>
                <a:gd name="T6" fmla="*/ 411 w 1103"/>
                <a:gd name="T7" fmla="*/ 149 h 932"/>
                <a:gd name="T8" fmla="*/ 414 w 1103"/>
                <a:gd name="T9" fmla="*/ 190 h 932"/>
                <a:gd name="T10" fmla="*/ 423 w 1103"/>
                <a:gd name="T11" fmla="*/ 229 h 932"/>
                <a:gd name="T12" fmla="*/ 436 w 1103"/>
                <a:gd name="T13" fmla="*/ 266 h 932"/>
                <a:gd name="T14" fmla="*/ 454 w 1103"/>
                <a:gd name="T15" fmla="*/ 303 h 932"/>
                <a:gd name="T16" fmla="*/ 474 w 1103"/>
                <a:gd name="T17" fmla="*/ 337 h 932"/>
                <a:gd name="T18" fmla="*/ 501 w 1103"/>
                <a:gd name="T19" fmla="*/ 368 h 932"/>
                <a:gd name="T20" fmla="*/ 530 w 1103"/>
                <a:gd name="T21" fmla="*/ 397 h 932"/>
                <a:gd name="T22" fmla="*/ 563 w 1103"/>
                <a:gd name="T23" fmla="*/ 421 h 932"/>
                <a:gd name="T24" fmla="*/ 601 w 1103"/>
                <a:gd name="T25" fmla="*/ 443 h 932"/>
                <a:gd name="T26" fmla="*/ 637 w 1103"/>
                <a:gd name="T27" fmla="*/ 458 h 932"/>
                <a:gd name="T28" fmla="*/ 675 w 1103"/>
                <a:gd name="T29" fmla="*/ 469 h 932"/>
                <a:gd name="T30" fmla="*/ 712 w 1103"/>
                <a:gd name="T31" fmla="*/ 476 h 932"/>
                <a:gd name="T32" fmla="*/ 751 w 1103"/>
                <a:gd name="T33" fmla="*/ 478 h 932"/>
                <a:gd name="T34" fmla="*/ 788 w 1103"/>
                <a:gd name="T35" fmla="*/ 476 h 932"/>
                <a:gd name="T36" fmla="*/ 856 w 1103"/>
                <a:gd name="T37" fmla="*/ 589 h 932"/>
                <a:gd name="T38" fmla="*/ 932 w 1103"/>
                <a:gd name="T39" fmla="*/ 703 h 932"/>
                <a:gd name="T40" fmla="*/ 1014 w 1103"/>
                <a:gd name="T41" fmla="*/ 817 h 932"/>
                <a:gd name="T42" fmla="*/ 1103 w 1103"/>
                <a:gd name="T43" fmla="*/ 932 h 932"/>
                <a:gd name="T44" fmla="*/ 1024 w 1103"/>
                <a:gd name="T45" fmla="*/ 909 h 932"/>
                <a:gd name="T46" fmla="*/ 946 w 1103"/>
                <a:gd name="T47" fmla="*/ 881 h 932"/>
                <a:gd name="T48" fmla="*/ 869 w 1103"/>
                <a:gd name="T49" fmla="*/ 850 h 932"/>
                <a:gd name="T50" fmla="*/ 792 w 1103"/>
                <a:gd name="T51" fmla="*/ 815 h 932"/>
                <a:gd name="T52" fmla="*/ 704 w 1103"/>
                <a:gd name="T53" fmla="*/ 767 h 932"/>
                <a:gd name="T54" fmla="*/ 618 w 1103"/>
                <a:gd name="T55" fmla="*/ 716 h 932"/>
                <a:gd name="T56" fmla="*/ 537 w 1103"/>
                <a:gd name="T57" fmla="*/ 659 h 932"/>
                <a:gd name="T58" fmla="*/ 460 w 1103"/>
                <a:gd name="T59" fmla="*/ 600 h 932"/>
                <a:gd name="T60" fmla="*/ 387 w 1103"/>
                <a:gd name="T61" fmla="*/ 535 h 932"/>
                <a:gd name="T62" fmla="*/ 319 w 1103"/>
                <a:gd name="T63" fmla="*/ 468 h 932"/>
                <a:gd name="T64" fmla="*/ 254 w 1103"/>
                <a:gd name="T65" fmla="*/ 397 h 932"/>
                <a:gd name="T66" fmla="*/ 194 w 1103"/>
                <a:gd name="T67" fmla="*/ 323 h 932"/>
                <a:gd name="T68" fmla="*/ 139 w 1103"/>
                <a:gd name="T69" fmla="*/ 246 h 932"/>
                <a:gd name="T70" fmla="*/ 87 w 1103"/>
                <a:gd name="T71" fmla="*/ 167 h 932"/>
                <a:gd name="T72" fmla="*/ 41 w 1103"/>
                <a:gd name="T73" fmla="*/ 84 h 932"/>
                <a:gd name="T74" fmla="*/ 0 w 1103"/>
                <a:gd name="T75" fmla="*/ 0 h 9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103" h="932">
                  <a:moveTo>
                    <a:pt x="0" y="0"/>
                  </a:moveTo>
                  <a:lnTo>
                    <a:pt x="137" y="56"/>
                  </a:lnTo>
                  <a:lnTo>
                    <a:pt x="274" y="106"/>
                  </a:lnTo>
                  <a:lnTo>
                    <a:pt x="411" y="149"/>
                  </a:lnTo>
                  <a:lnTo>
                    <a:pt x="414" y="190"/>
                  </a:lnTo>
                  <a:lnTo>
                    <a:pt x="423" y="229"/>
                  </a:lnTo>
                  <a:lnTo>
                    <a:pt x="436" y="266"/>
                  </a:lnTo>
                  <a:lnTo>
                    <a:pt x="454" y="303"/>
                  </a:lnTo>
                  <a:lnTo>
                    <a:pt x="474" y="337"/>
                  </a:lnTo>
                  <a:lnTo>
                    <a:pt x="501" y="368"/>
                  </a:lnTo>
                  <a:lnTo>
                    <a:pt x="530" y="397"/>
                  </a:lnTo>
                  <a:lnTo>
                    <a:pt x="563" y="421"/>
                  </a:lnTo>
                  <a:lnTo>
                    <a:pt x="601" y="443"/>
                  </a:lnTo>
                  <a:lnTo>
                    <a:pt x="637" y="458"/>
                  </a:lnTo>
                  <a:lnTo>
                    <a:pt x="675" y="469"/>
                  </a:lnTo>
                  <a:lnTo>
                    <a:pt x="712" y="476"/>
                  </a:lnTo>
                  <a:lnTo>
                    <a:pt x="751" y="478"/>
                  </a:lnTo>
                  <a:lnTo>
                    <a:pt x="788" y="476"/>
                  </a:lnTo>
                  <a:lnTo>
                    <a:pt x="856" y="589"/>
                  </a:lnTo>
                  <a:lnTo>
                    <a:pt x="932" y="703"/>
                  </a:lnTo>
                  <a:lnTo>
                    <a:pt x="1014" y="817"/>
                  </a:lnTo>
                  <a:lnTo>
                    <a:pt x="1103" y="932"/>
                  </a:lnTo>
                  <a:lnTo>
                    <a:pt x="1024" y="909"/>
                  </a:lnTo>
                  <a:lnTo>
                    <a:pt x="946" y="881"/>
                  </a:lnTo>
                  <a:lnTo>
                    <a:pt x="869" y="850"/>
                  </a:lnTo>
                  <a:lnTo>
                    <a:pt x="792" y="815"/>
                  </a:lnTo>
                  <a:lnTo>
                    <a:pt x="704" y="767"/>
                  </a:lnTo>
                  <a:lnTo>
                    <a:pt x="618" y="716"/>
                  </a:lnTo>
                  <a:lnTo>
                    <a:pt x="537" y="659"/>
                  </a:lnTo>
                  <a:lnTo>
                    <a:pt x="460" y="600"/>
                  </a:lnTo>
                  <a:lnTo>
                    <a:pt x="387" y="535"/>
                  </a:lnTo>
                  <a:lnTo>
                    <a:pt x="319" y="468"/>
                  </a:lnTo>
                  <a:lnTo>
                    <a:pt x="254" y="397"/>
                  </a:lnTo>
                  <a:lnTo>
                    <a:pt x="194" y="323"/>
                  </a:lnTo>
                  <a:lnTo>
                    <a:pt x="139" y="246"/>
                  </a:lnTo>
                  <a:lnTo>
                    <a:pt x="87" y="167"/>
                  </a:lnTo>
                  <a:lnTo>
                    <a:pt x="41" y="8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646464"/>
                </a:solidFill>
              </a:endParaRPr>
            </a:p>
          </p:txBody>
        </p:sp>
        <p:sp>
          <p:nvSpPr>
            <p:cNvPr id="43" name="Freeform 26"/>
            <p:cNvSpPr>
              <a:spLocks/>
            </p:cNvSpPr>
            <p:nvPr/>
          </p:nvSpPr>
          <p:spPr bwMode="auto">
            <a:xfrm>
              <a:off x="1139" y="768"/>
              <a:ext cx="226" cy="266"/>
            </a:xfrm>
            <a:custGeom>
              <a:avLst/>
              <a:gdLst>
                <a:gd name="T0" fmla="*/ 452 w 1352"/>
                <a:gd name="T1" fmla="*/ 0 h 1597"/>
                <a:gd name="T2" fmla="*/ 475 w 1352"/>
                <a:gd name="T3" fmla="*/ 16 h 1597"/>
                <a:gd name="T4" fmla="*/ 500 w 1352"/>
                <a:gd name="T5" fmla="*/ 29 h 1597"/>
                <a:gd name="T6" fmla="*/ 537 w 1352"/>
                <a:gd name="T7" fmla="*/ 45 h 1597"/>
                <a:gd name="T8" fmla="*/ 576 w 1352"/>
                <a:gd name="T9" fmla="*/ 56 h 1597"/>
                <a:gd name="T10" fmla="*/ 614 w 1352"/>
                <a:gd name="T11" fmla="*/ 63 h 1597"/>
                <a:gd name="T12" fmla="*/ 653 w 1352"/>
                <a:gd name="T13" fmla="*/ 64 h 1597"/>
                <a:gd name="T14" fmla="*/ 693 w 1352"/>
                <a:gd name="T15" fmla="*/ 187 h 1597"/>
                <a:gd name="T16" fmla="*/ 740 w 1352"/>
                <a:gd name="T17" fmla="*/ 306 h 1597"/>
                <a:gd name="T18" fmla="*/ 792 w 1352"/>
                <a:gd name="T19" fmla="*/ 424 h 1597"/>
                <a:gd name="T20" fmla="*/ 849 w 1352"/>
                <a:gd name="T21" fmla="*/ 540 h 1597"/>
                <a:gd name="T22" fmla="*/ 911 w 1352"/>
                <a:gd name="T23" fmla="*/ 653 h 1597"/>
                <a:gd name="T24" fmla="*/ 979 w 1352"/>
                <a:gd name="T25" fmla="*/ 762 h 1597"/>
                <a:gd name="T26" fmla="*/ 1052 w 1352"/>
                <a:gd name="T27" fmla="*/ 870 h 1597"/>
                <a:gd name="T28" fmla="*/ 1130 w 1352"/>
                <a:gd name="T29" fmla="*/ 974 h 1597"/>
                <a:gd name="T30" fmla="*/ 1213 w 1352"/>
                <a:gd name="T31" fmla="*/ 1076 h 1597"/>
                <a:gd name="T32" fmla="*/ 1301 w 1352"/>
                <a:gd name="T33" fmla="*/ 1173 h 1597"/>
                <a:gd name="T34" fmla="*/ 1352 w 1352"/>
                <a:gd name="T35" fmla="*/ 1227 h 1597"/>
                <a:gd name="T36" fmla="*/ 1348 w 1352"/>
                <a:gd name="T37" fmla="*/ 1235 h 1597"/>
                <a:gd name="T38" fmla="*/ 1330 w 1352"/>
                <a:gd name="T39" fmla="*/ 1278 h 1597"/>
                <a:gd name="T40" fmla="*/ 1319 w 1352"/>
                <a:gd name="T41" fmla="*/ 1321 h 1597"/>
                <a:gd name="T42" fmla="*/ 1314 w 1352"/>
                <a:gd name="T43" fmla="*/ 1366 h 1597"/>
                <a:gd name="T44" fmla="*/ 1314 w 1352"/>
                <a:gd name="T45" fmla="*/ 1410 h 1597"/>
                <a:gd name="T46" fmla="*/ 1320 w 1352"/>
                <a:gd name="T47" fmla="*/ 1454 h 1597"/>
                <a:gd name="T48" fmla="*/ 1214 w 1352"/>
                <a:gd name="T49" fmla="*/ 1491 h 1597"/>
                <a:gd name="T50" fmla="*/ 1107 w 1352"/>
                <a:gd name="T51" fmla="*/ 1523 h 1597"/>
                <a:gd name="T52" fmla="*/ 997 w 1352"/>
                <a:gd name="T53" fmla="*/ 1550 h 1597"/>
                <a:gd name="T54" fmla="*/ 886 w 1352"/>
                <a:gd name="T55" fmla="*/ 1570 h 1597"/>
                <a:gd name="T56" fmla="*/ 773 w 1352"/>
                <a:gd name="T57" fmla="*/ 1585 h 1597"/>
                <a:gd name="T58" fmla="*/ 659 w 1352"/>
                <a:gd name="T59" fmla="*/ 1593 h 1597"/>
                <a:gd name="T60" fmla="*/ 543 w 1352"/>
                <a:gd name="T61" fmla="*/ 1597 h 1597"/>
                <a:gd name="T62" fmla="*/ 427 w 1352"/>
                <a:gd name="T63" fmla="*/ 1594 h 1597"/>
                <a:gd name="T64" fmla="*/ 419 w 1352"/>
                <a:gd name="T65" fmla="*/ 1554 h 1597"/>
                <a:gd name="T66" fmla="*/ 407 w 1352"/>
                <a:gd name="T67" fmla="*/ 1514 h 1597"/>
                <a:gd name="T68" fmla="*/ 389 w 1352"/>
                <a:gd name="T69" fmla="*/ 1476 h 1597"/>
                <a:gd name="T70" fmla="*/ 367 w 1352"/>
                <a:gd name="T71" fmla="*/ 1441 h 1597"/>
                <a:gd name="T72" fmla="*/ 341 w 1352"/>
                <a:gd name="T73" fmla="*/ 1408 h 1597"/>
                <a:gd name="T74" fmla="*/ 312 w 1352"/>
                <a:gd name="T75" fmla="*/ 1378 h 1597"/>
                <a:gd name="T76" fmla="*/ 278 w 1352"/>
                <a:gd name="T77" fmla="*/ 1352 h 1597"/>
                <a:gd name="T78" fmla="*/ 239 w 1352"/>
                <a:gd name="T79" fmla="*/ 1330 h 1597"/>
                <a:gd name="T80" fmla="*/ 200 w 1352"/>
                <a:gd name="T81" fmla="*/ 1314 h 1597"/>
                <a:gd name="T82" fmla="*/ 159 w 1352"/>
                <a:gd name="T83" fmla="*/ 1302 h 1597"/>
                <a:gd name="T84" fmla="*/ 117 w 1352"/>
                <a:gd name="T85" fmla="*/ 1296 h 1597"/>
                <a:gd name="T86" fmla="*/ 77 w 1352"/>
                <a:gd name="T87" fmla="*/ 1295 h 1597"/>
                <a:gd name="T88" fmla="*/ 36 w 1352"/>
                <a:gd name="T89" fmla="*/ 1298 h 1597"/>
                <a:gd name="T90" fmla="*/ 19 w 1352"/>
                <a:gd name="T91" fmla="*/ 1206 h 1597"/>
                <a:gd name="T92" fmla="*/ 7 w 1352"/>
                <a:gd name="T93" fmla="*/ 1115 h 1597"/>
                <a:gd name="T94" fmla="*/ 0 w 1352"/>
                <a:gd name="T95" fmla="*/ 1024 h 1597"/>
                <a:gd name="T96" fmla="*/ 0 w 1352"/>
                <a:gd name="T97" fmla="*/ 936 h 1597"/>
                <a:gd name="T98" fmla="*/ 6 w 1352"/>
                <a:gd name="T99" fmla="*/ 848 h 1597"/>
                <a:gd name="T100" fmla="*/ 18 w 1352"/>
                <a:gd name="T101" fmla="*/ 761 h 1597"/>
                <a:gd name="T102" fmla="*/ 35 w 1352"/>
                <a:gd name="T103" fmla="*/ 677 h 1597"/>
                <a:gd name="T104" fmla="*/ 58 w 1352"/>
                <a:gd name="T105" fmla="*/ 593 h 1597"/>
                <a:gd name="T106" fmla="*/ 88 w 1352"/>
                <a:gd name="T107" fmla="*/ 512 h 1597"/>
                <a:gd name="T108" fmla="*/ 123 w 1352"/>
                <a:gd name="T109" fmla="*/ 433 h 1597"/>
                <a:gd name="T110" fmla="*/ 165 w 1352"/>
                <a:gd name="T111" fmla="*/ 356 h 1597"/>
                <a:gd name="T112" fmla="*/ 211 w 1352"/>
                <a:gd name="T113" fmla="*/ 280 h 1597"/>
                <a:gd name="T114" fmla="*/ 262 w 1352"/>
                <a:gd name="T115" fmla="*/ 208 h 1597"/>
                <a:gd name="T116" fmla="*/ 320 w 1352"/>
                <a:gd name="T117" fmla="*/ 136 h 1597"/>
                <a:gd name="T118" fmla="*/ 383 w 1352"/>
                <a:gd name="T119" fmla="*/ 67 h 1597"/>
                <a:gd name="T120" fmla="*/ 452 w 1352"/>
                <a:gd name="T121" fmla="*/ 0 h 15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352" h="1597">
                  <a:moveTo>
                    <a:pt x="452" y="0"/>
                  </a:moveTo>
                  <a:lnTo>
                    <a:pt x="475" y="16"/>
                  </a:lnTo>
                  <a:lnTo>
                    <a:pt x="500" y="29"/>
                  </a:lnTo>
                  <a:lnTo>
                    <a:pt x="537" y="45"/>
                  </a:lnTo>
                  <a:lnTo>
                    <a:pt x="576" y="56"/>
                  </a:lnTo>
                  <a:lnTo>
                    <a:pt x="614" y="63"/>
                  </a:lnTo>
                  <a:lnTo>
                    <a:pt x="653" y="64"/>
                  </a:lnTo>
                  <a:lnTo>
                    <a:pt x="693" y="187"/>
                  </a:lnTo>
                  <a:lnTo>
                    <a:pt x="740" y="306"/>
                  </a:lnTo>
                  <a:lnTo>
                    <a:pt x="792" y="424"/>
                  </a:lnTo>
                  <a:lnTo>
                    <a:pt x="849" y="540"/>
                  </a:lnTo>
                  <a:lnTo>
                    <a:pt x="911" y="653"/>
                  </a:lnTo>
                  <a:lnTo>
                    <a:pt x="979" y="762"/>
                  </a:lnTo>
                  <a:lnTo>
                    <a:pt x="1052" y="870"/>
                  </a:lnTo>
                  <a:lnTo>
                    <a:pt x="1130" y="974"/>
                  </a:lnTo>
                  <a:lnTo>
                    <a:pt x="1213" y="1076"/>
                  </a:lnTo>
                  <a:lnTo>
                    <a:pt x="1301" y="1173"/>
                  </a:lnTo>
                  <a:lnTo>
                    <a:pt x="1352" y="1227"/>
                  </a:lnTo>
                  <a:lnTo>
                    <a:pt x="1348" y="1235"/>
                  </a:lnTo>
                  <a:lnTo>
                    <a:pt x="1330" y="1278"/>
                  </a:lnTo>
                  <a:lnTo>
                    <a:pt x="1319" y="1321"/>
                  </a:lnTo>
                  <a:lnTo>
                    <a:pt x="1314" y="1366"/>
                  </a:lnTo>
                  <a:lnTo>
                    <a:pt x="1314" y="1410"/>
                  </a:lnTo>
                  <a:lnTo>
                    <a:pt x="1320" y="1454"/>
                  </a:lnTo>
                  <a:lnTo>
                    <a:pt x="1214" y="1491"/>
                  </a:lnTo>
                  <a:lnTo>
                    <a:pt x="1107" y="1523"/>
                  </a:lnTo>
                  <a:lnTo>
                    <a:pt x="997" y="1550"/>
                  </a:lnTo>
                  <a:lnTo>
                    <a:pt x="886" y="1570"/>
                  </a:lnTo>
                  <a:lnTo>
                    <a:pt x="773" y="1585"/>
                  </a:lnTo>
                  <a:lnTo>
                    <a:pt x="659" y="1593"/>
                  </a:lnTo>
                  <a:lnTo>
                    <a:pt x="543" y="1597"/>
                  </a:lnTo>
                  <a:lnTo>
                    <a:pt x="427" y="1594"/>
                  </a:lnTo>
                  <a:lnTo>
                    <a:pt x="419" y="1554"/>
                  </a:lnTo>
                  <a:lnTo>
                    <a:pt x="407" y="1514"/>
                  </a:lnTo>
                  <a:lnTo>
                    <a:pt x="389" y="1476"/>
                  </a:lnTo>
                  <a:lnTo>
                    <a:pt x="367" y="1441"/>
                  </a:lnTo>
                  <a:lnTo>
                    <a:pt x="341" y="1408"/>
                  </a:lnTo>
                  <a:lnTo>
                    <a:pt x="312" y="1378"/>
                  </a:lnTo>
                  <a:lnTo>
                    <a:pt x="278" y="1352"/>
                  </a:lnTo>
                  <a:lnTo>
                    <a:pt x="239" y="1330"/>
                  </a:lnTo>
                  <a:lnTo>
                    <a:pt x="200" y="1314"/>
                  </a:lnTo>
                  <a:lnTo>
                    <a:pt x="159" y="1302"/>
                  </a:lnTo>
                  <a:lnTo>
                    <a:pt x="117" y="1296"/>
                  </a:lnTo>
                  <a:lnTo>
                    <a:pt x="77" y="1295"/>
                  </a:lnTo>
                  <a:lnTo>
                    <a:pt x="36" y="1298"/>
                  </a:lnTo>
                  <a:lnTo>
                    <a:pt x="19" y="1206"/>
                  </a:lnTo>
                  <a:lnTo>
                    <a:pt x="7" y="1115"/>
                  </a:lnTo>
                  <a:lnTo>
                    <a:pt x="0" y="1024"/>
                  </a:lnTo>
                  <a:lnTo>
                    <a:pt x="0" y="936"/>
                  </a:lnTo>
                  <a:lnTo>
                    <a:pt x="6" y="848"/>
                  </a:lnTo>
                  <a:lnTo>
                    <a:pt x="18" y="761"/>
                  </a:lnTo>
                  <a:lnTo>
                    <a:pt x="35" y="677"/>
                  </a:lnTo>
                  <a:lnTo>
                    <a:pt x="58" y="593"/>
                  </a:lnTo>
                  <a:lnTo>
                    <a:pt x="88" y="512"/>
                  </a:lnTo>
                  <a:lnTo>
                    <a:pt x="123" y="433"/>
                  </a:lnTo>
                  <a:lnTo>
                    <a:pt x="165" y="356"/>
                  </a:lnTo>
                  <a:lnTo>
                    <a:pt x="211" y="280"/>
                  </a:lnTo>
                  <a:lnTo>
                    <a:pt x="262" y="208"/>
                  </a:lnTo>
                  <a:lnTo>
                    <a:pt x="320" y="136"/>
                  </a:lnTo>
                  <a:lnTo>
                    <a:pt x="383" y="67"/>
                  </a:lnTo>
                  <a:lnTo>
                    <a:pt x="45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646464"/>
                </a:solidFill>
              </a:endParaRPr>
            </a:p>
          </p:txBody>
        </p:sp>
        <p:sp>
          <p:nvSpPr>
            <p:cNvPr id="44" name="Freeform 27"/>
            <p:cNvSpPr>
              <a:spLocks/>
            </p:cNvSpPr>
            <p:nvPr/>
          </p:nvSpPr>
          <p:spPr bwMode="auto">
            <a:xfrm>
              <a:off x="1468" y="851"/>
              <a:ext cx="101" cy="200"/>
            </a:xfrm>
            <a:custGeom>
              <a:avLst/>
              <a:gdLst>
                <a:gd name="T0" fmla="*/ 581 w 607"/>
                <a:gd name="T1" fmla="*/ 0 h 1198"/>
                <a:gd name="T2" fmla="*/ 595 w 607"/>
                <a:gd name="T3" fmla="*/ 93 h 1198"/>
                <a:gd name="T4" fmla="*/ 604 w 607"/>
                <a:gd name="T5" fmla="*/ 188 h 1198"/>
                <a:gd name="T6" fmla="*/ 607 w 607"/>
                <a:gd name="T7" fmla="*/ 285 h 1198"/>
                <a:gd name="T8" fmla="*/ 605 w 607"/>
                <a:gd name="T9" fmla="*/ 380 h 1198"/>
                <a:gd name="T10" fmla="*/ 599 w 607"/>
                <a:gd name="T11" fmla="*/ 477 h 1198"/>
                <a:gd name="T12" fmla="*/ 585 w 607"/>
                <a:gd name="T13" fmla="*/ 573 h 1198"/>
                <a:gd name="T14" fmla="*/ 566 w 607"/>
                <a:gd name="T15" fmla="*/ 669 h 1198"/>
                <a:gd name="T16" fmla="*/ 542 w 607"/>
                <a:gd name="T17" fmla="*/ 764 h 1198"/>
                <a:gd name="T18" fmla="*/ 511 w 607"/>
                <a:gd name="T19" fmla="*/ 859 h 1198"/>
                <a:gd name="T20" fmla="*/ 475 w 607"/>
                <a:gd name="T21" fmla="*/ 953 h 1198"/>
                <a:gd name="T22" fmla="*/ 432 w 607"/>
                <a:gd name="T23" fmla="*/ 1046 h 1198"/>
                <a:gd name="T24" fmla="*/ 391 w 607"/>
                <a:gd name="T25" fmla="*/ 1124 h 1198"/>
                <a:gd name="T26" fmla="*/ 347 w 607"/>
                <a:gd name="T27" fmla="*/ 1198 h 1198"/>
                <a:gd name="T28" fmla="*/ 229 w 607"/>
                <a:gd name="T29" fmla="*/ 1141 h 1198"/>
                <a:gd name="T30" fmla="*/ 113 w 607"/>
                <a:gd name="T31" fmla="*/ 1080 h 1198"/>
                <a:gd name="T32" fmla="*/ 0 w 607"/>
                <a:gd name="T33" fmla="*/ 1013 h 1198"/>
                <a:gd name="T34" fmla="*/ 13 w 607"/>
                <a:gd name="T35" fmla="*/ 972 h 1198"/>
                <a:gd name="T36" fmla="*/ 21 w 607"/>
                <a:gd name="T37" fmla="*/ 931 h 1198"/>
                <a:gd name="T38" fmla="*/ 23 w 607"/>
                <a:gd name="T39" fmla="*/ 889 h 1198"/>
                <a:gd name="T40" fmla="*/ 21 w 607"/>
                <a:gd name="T41" fmla="*/ 847 h 1198"/>
                <a:gd name="T42" fmla="*/ 13 w 607"/>
                <a:gd name="T43" fmla="*/ 807 h 1198"/>
                <a:gd name="T44" fmla="*/ 0 w 607"/>
                <a:gd name="T45" fmla="*/ 767 h 1198"/>
                <a:gd name="T46" fmla="*/ 81 w 607"/>
                <a:gd name="T47" fmla="*/ 696 h 1198"/>
                <a:gd name="T48" fmla="*/ 158 w 607"/>
                <a:gd name="T49" fmla="*/ 621 h 1198"/>
                <a:gd name="T50" fmla="*/ 231 w 607"/>
                <a:gd name="T51" fmla="*/ 541 h 1198"/>
                <a:gd name="T52" fmla="*/ 300 w 607"/>
                <a:gd name="T53" fmla="*/ 458 h 1198"/>
                <a:gd name="T54" fmla="*/ 366 w 607"/>
                <a:gd name="T55" fmla="*/ 370 h 1198"/>
                <a:gd name="T56" fmla="*/ 428 w 607"/>
                <a:gd name="T57" fmla="*/ 280 h 1198"/>
                <a:gd name="T58" fmla="*/ 486 w 607"/>
                <a:gd name="T59" fmla="*/ 185 h 1198"/>
                <a:gd name="T60" fmla="*/ 535 w 607"/>
                <a:gd name="T61" fmla="*/ 94 h 1198"/>
                <a:gd name="T62" fmla="*/ 581 w 607"/>
                <a:gd name="T63" fmla="*/ 0 h 1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607" h="1198">
                  <a:moveTo>
                    <a:pt x="581" y="0"/>
                  </a:moveTo>
                  <a:lnTo>
                    <a:pt x="595" y="93"/>
                  </a:lnTo>
                  <a:lnTo>
                    <a:pt x="604" y="188"/>
                  </a:lnTo>
                  <a:lnTo>
                    <a:pt x="607" y="285"/>
                  </a:lnTo>
                  <a:lnTo>
                    <a:pt x="605" y="380"/>
                  </a:lnTo>
                  <a:lnTo>
                    <a:pt x="599" y="477"/>
                  </a:lnTo>
                  <a:lnTo>
                    <a:pt x="585" y="573"/>
                  </a:lnTo>
                  <a:lnTo>
                    <a:pt x="566" y="669"/>
                  </a:lnTo>
                  <a:lnTo>
                    <a:pt x="542" y="764"/>
                  </a:lnTo>
                  <a:lnTo>
                    <a:pt x="511" y="859"/>
                  </a:lnTo>
                  <a:lnTo>
                    <a:pt x="475" y="953"/>
                  </a:lnTo>
                  <a:lnTo>
                    <a:pt x="432" y="1046"/>
                  </a:lnTo>
                  <a:lnTo>
                    <a:pt x="391" y="1124"/>
                  </a:lnTo>
                  <a:lnTo>
                    <a:pt x="347" y="1198"/>
                  </a:lnTo>
                  <a:lnTo>
                    <a:pt x="229" y="1141"/>
                  </a:lnTo>
                  <a:lnTo>
                    <a:pt x="113" y="1080"/>
                  </a:lnTo>
                  <a:lnTo>
                    <a:pt x="0" y="1013"/>
                  </a:lnTo>
                  <a:lnTo>
                    <a:pt x="13" y="972"/>
                  </a:lnTo>
                  <a:lnTo>
                    <a:pt x="21" y="931"/>
                  </a:lnTo>
                  <a:lnTo>
                    <a:pt x="23" y="889"/>
                  </a:lnTo>
                  <a:lnTo>
                    <a:pt x="21" y="847"/>
                  </a:lnTo>
                  <a:lnTo>
                    <a:pt x="13" y="807"/>
                  </a:lnTo>
                  <a:lnTo>
                    <a:pt x="0" y="767"/>
                  </a:lnTo>
                  <a:lnTo>
                    <a:pt x="81" y="696"/>
                  </a:lnTo>
                  <a:lnTo>
                    <a:pt x="158" y="621"/>
                  </a:lnTo>
                  <a:lnTo>
                    <a:pt x="231" y="541"/>
                  </a:lnTo>
                  <a:lnTo>
                    <a:pt x="300" y="458"/>
                  </a:lnTo>
                  <a:lnTo>
                    <a:pt x="366" y="370"/>
                  </a:lnTo>
                  <a:lnTo>
                    <a:pt x="428" y="280"/>
                  </a:lnTo>
                  <a:lnTo>
                    <a:pt x="486" y="185"/>
                  </a:lnTo>
                  <a:lnTo>
                    <a:pt x="535" y="94"/>
                  </a:lnTo>
                  <a:lnTo>
                    <a:pt x="58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646464"/>
                </a:solidFill>
              </a:endParaRPr>
            </a:p>
          </p:txBody>
        </p:sp>
        <p:sp>
          <p:nvSpPr>
            <p:cNvPr id="45" name="Freeform 28"/>
            <p:cNvSpPr>
              <a:spLocks/>
            </p:cNvSpPr>
            <p:nvPr/>
          </p:nvSpPr>
          <p:spPr bwMode="auto">
            <a:xfrm>
              <a:off x="1187" y="1036"/>
              <a:ext cx="322" cy="147"/>
            </a:xfrm>
            <a:custGeom>
              <a:avLst/>
              <a:gdLst>
                <a:gd name="T0" fmla="*/ 1108 w 1933"/>
                <a:gd name="T1" fmla="*/ 0 h 881"/>
                <a:gd name="T2" fmla="*/ 1131 w 1933"/>
                <a:gd name="T3" fmla="*/ 24 h 881"/>
                <a:gd name="T4" fmla="*/ 1157 w 1933"/>
                <a:gd name="T5" fmla="*/ 47 h 881"/>
                <a:gd name="T6" fmla="*/ 1186 w 1933"/>
                <a:gd name="T7" fmla="*/ 66 h 881"/>
                <a:gd name="T8" fmla="*/ 1217 w 1933"/>
                <a:gd name="T9" fmla="*/ 84 h 881"/>
                <a:gd name="T10" fmla="*/ 1259 w 1933"/>
                <a:gd name="T11" fmla="*/ 101 h 881"/>
                <a:gd name="T12" fmla="*/ 1302 w 1933"/>
                <a:gd name="T13" fmla="*/ 112 h 881"/>
                <a:gd name="T14" fmla="*/ 1346 w 1933"/>
                <a:gd name="T15" fmla="*/ 118 h 881"/>
                <a:gd name="T16" fmla="*/ 1390 w 1933"/>
                <a:gd name="T17" fmla="*/ 118 h 881"/>
                <a:gd name="T18" fmla="*/ 1433 w 1933"/>
                <a:gd name="T19" fmla="*/ 112 h 881"/>
                <a:gd name="T20" fmla="*/ 1474 w 1933"/>
                <a:gd name="T21" fmla="*/ 101 h 881"/>
                <a:gd name="T22" fmla="*/ 1514 w 1933"/>
                <a:gd name="T23" fmla="*/ 86 h 881"/>
                <a:gd name="T24" fmla="*/ 1551 w 1933"/>
                <a:gd name="T25" fmla="*/ 65 h 881"/>
                <a:gd name="T26" fmla="*/ 1586 w 1933"/>
                <a:gd name="T27" fmla="*/ 39 h 881"/>
                <a:gd name="T28" fmla="*/ 1699 w 1933"/>
                <a:gd name="T29" fmla="*/ 107 h 881"/>
                <a:gd name="T30" fmla="*/ 1814 w 1933"/>
                <a:gd name="T31" fmla="*/ 171 h 881"/>
                <a:gd name="T32" fmla="*/ 1933 w 1933"/>
                <a:gd name="T33" fmla="*/ 228 h 881"/>
                <a:gd name="T34" fmla="*/ 1870 w 1933"/>
                <a:gd name="T35" fmla="*/ 303 h 881"/>
                <a:gd name="T36" fmla="*/ 1804 w 1933"/>
                <a:gd name="T37" fmla="*/ 374 h 881"/>
                <a:gd name="T38" fmla="*/ 1735 w 1933"/>
                <a:gd name="T39" fmla="*/ 441 h 881"/>
                <a:gd name="T40" fmla="*/ 1662 w 1933"/>
                <a:gd name="T41" fmla="*/ 504 h 881"/>
                <a:gd name="T42" fmla="*/ 1586 w 1933"/>
                <a:gd name="T43" fmla="*/ 561 h 881"/>
                <a:gd name="T44" fmla="*/ 1507 w 1933"/>
                <a:gd name="T45" fmla="*/ 615 h 881"/>
                <a:gd name="T46" fmla="*/ 1426 w 1933"/>
                <a:gd name="T47" fmla="*/ 663 h 881"/>
                <a:gd name="T48" fmla="*/ 1342 w 1933"/>
                <a:gd name="T49" fmla="*/ 708 h 881"/>
                <a:gd name="T50" fmla="*/ 1255 w 1933"/>
                <a:gd name="T51" fmla="*/ 746 h 881"/>
                <a:gd name="T52" fmla="*/ 1167 w 1933"/>
                <a:gd name="T53" fmla="*/ 781 h 881"/>
                <a:gd name="T54" fmla="*/ 1077 w 1933"/>
                <a:gd name="T55" fmla="*/ 810 h 881"/>
                <a:gd name="T56" fmla="*/ 986 w 1933"/>
                <a:gd name="T57" fmla="*/ 835 h 881"/>
                <a:gd name="T58" fmla="*/ 893 w 1933"/>
                <a:gd name="T59" fmla="*/ 854 h 881"/>
                <a:gd name="T60" fmla="*/ 800 w 1933"/>
                <a:gd name="T61" fmla="*/ 868 h 881"/>
                <a:gd name="T62" fmla="*/ 704 w 1933"/>
                <a:gd name="T63" fmla="*/ 877 h 881"/>
                <a:gd name="T64" fmla="*/ 610 w 1933"/>
                <a:gd name="T65" fmla="*/ 881 h 881"/>
                <a:gd name="T66" fmla="*/ 514 w 1933"/>
                <a:gd name="T67" fmla="*/ 879 h 881"/>
                <a:gd name="T68" fmla="*/ 418 w 1933"/>
                <a:gd name="T69" fmla="*/ 871 h 881"/>
                <a:gd name="T70" fmla="*/ 321 w 1933"/>
                <a:gd name="T71" fmla="*/ 757 h 881"/>
                <a:gd name="T72" fmla="*/ 229 w 1933"/>
                <a:gd name="T73" fmla="*/ 644 h 881"/>
                <a:gd name="T74" fmla="*/ 146 w 1933"/>
                <a:gd name="T75" fmla="*/ 530 h 881"/>
                <a:gd name="T76" fmla="*/ 69 w 1933"/>
                <a:gd name="T77" fmla="*/ 417 h 881"/>
                <a:gd name="T78" fmla="*/ 0 w 1933"/>
                <a:gd name="T79" fmla="*/ 305 h 881"/>
                <a:gd name="T80" fmla="*/ 32 w 1933"/>
                <a:gd name="T81" fmla="*/ 279 h 881"/>
                <a:gd name="T82" fmla="*/ 61 w 1933"/>
                <a:gd name="T83" fmla="*/ 249 h 881"/>
                <a:gd name="T84" fmla="*/ 86 w 1933"/>
                <a:gd name="T85" fmla="*/ 217 h 881"/>
                <a:gd name="T86" fmla="*/ 108 w 1933"/>
                <a:gd name="T87" fmla="*/ 179 h 881"/>
                <a:gd name="T88" fmla="*/ 119 w 1933"/>
                <a:gd name="T89" fmla="*/ 153 h 881"/>
                <a:gd name="T90" fmla="*/ 235 w 1933"/>
                <a:gd name="T91" fmla="*/ 156 h 881"/>
                <a:gd name="T92" fmla="*/ 350 w 1933"/>
                <a:gd name="T93" fmla="*/ 155 h 881"/>
                <a:gd name="T94" fmla="*/ 463 w 1933"/>
                <a:gd name="T95" fmla="*/ 148 h 881"/>
                <a:gd name="T96" fmla="*/ 575 w 1933"/>
                <a:gd name="T97" fmla="*/ 135 h 881"/>
                <a:gd name="T98" fmla="*/ 686 w 1933"/>
                <a:gd name="T99" fmla="*/ 119 h 881"/>
                <a:gd name="T100" fmla="*/ 794 w 1933"/>
                <a:gd name="T101" fmla="*/ 96 h 881"/>
                <a:gd name="T102" fmla="*/ 901 w 1933"/>
                <a:gd name="T103" fmla="*/ 69 h 881"/>
                <a:gd name="T104" fmla="*/ 1006 w 1933"/>
                <a:gd name="T105" fmla="*/ 37 h 881"/>
                <a:gd name="T106" fmla="*/ 1108 w 1933"/>
                <a:gd name="T107" fmla="*/ 0 h 8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933" h="881">
                  <a:moveTo>
                    <a:pt x="1108" y="0"/>
                  </a:moveTo>
                  <a:lnTo>
                    <a:pt x="1131" y="24"/>
                  </a:lnTo>
                  <a:lnTo>
                    <a:pt x="1157" y="47"/>
                  </a:lnTo>
                  <a:lnTo>
                    <a:pt x="1186" y="66"/>
                  </a:lnTo>
                  <a:lnTo>
                    <a:pt x="1217" y="84"/>
                  </a:lnTo>
                  <a:lnTo>
                    <a:pt x="1259" y="101"/>
                  </a:lnTo>
                  <a:lnTo>
                    <a:pt x="1302" y="112"/>
                  </a:lnTo>
                  <a:lnTo>
                    <a:pt x="1346" y="118"/>
                  </a:lnTo>
                  <a:lnTo>
                    <a:pt x="1390" y="118"/>
                  </a:lnTo>
                  <a:lnTo>
                    <a:pt x="1433" y="112"/>
                  </a:lnTo>
                  <a:lnTo>
                    <a:pt x="1474" y="101"/>
                  </a:lnTo>
                  <a:lnTo>
                    <a:pt x="1514" y="86"/>
                  </a:lnTo>
                  <a:lnTo>
                    <a:pt x="1551" y="65"/>
                  </a:lnTo>
                  <a:lnTo>
                    <a:pt x="1586" y="39"/>
                  </a:lnTo>
                  <a:lnTo>
                    <a:pt x="1699" y="107"/>
                  </a:lnTo>
                  <a:lnTo>
                    <a:pt x="1814" y="171"/>
                  </a:lnTo>
                  <a:lnTo>
                    <a:pt x="1933" y="228"/>
                  </a:lnTo>
                  <a:lnTo>
                    <a:pt x="1870" y="303"/>
                  </a:lnTo>
                  <a:lnTo>
                    <a:pt x="1804" y="374"/>
                  </a:lnTo>
                  <a:lnTo>
                    <a:pt x="1735" y="441"/>
                  </a:lnTo>
                  <a:lnTo>
                    <a:pt x="1662" y="504"/>
                  </a:lnTo>
                  <a:lnTo>
                    <a:pt x="1586" y="561"/>
                  </a:lnTo>
                  <a:lnTo>
                    <a:pt x="1507" y="615"/>
                  </a:lnTo>
                  <a:lnTo>
                    <a:pt x="1426" y="663"/>
                  </a:lnTo>
                  <a:lnTo>
                    <a:pt x="1342" y="708"/>
                  </a:lnTo>
                  <a:lnTo>
                    <a:pt x="1255" y="746"/>
                  </a:lnTo>
                  <a:lnTo>
                    <a:pt x="1167" y="781"/>
                  </a:lnTo>
                  <a:lnTo>
                    <a:pt x="1077" y="810"/>
                  </a:lnTo>
                  <a:lnTo>
                    <a:pt x="986" y="835"/>
                  </a:lnTo>
                  <a:lnTo>
                    <a:pt x="893" y="854"/>
                  </a:lnTo>
                  <a:lnTo>
                    <a:pt x="800" y="868"/>
                  </a:lnTo>
                  <a:lnTo>
                    <a:pt x="704" y="877"/>
                  </a:lnTo>
                  <a:lnTo>
                    <a:pt x="610" y="881"/>
                  </a:lnTo>
                  <a:lnTo>
                    <a:pt x="514" y="879"/>
                  </a:lnTo>
                  <a:lnTo>
                    <a:pt x="418" y="871"/>
                  </a:lnTo>
                  <a:lnTo>
                    <a:pt x="321" y="757"/>
                  </a:lnTo>
                  <a:lnTo>
                    <a:pt x="229" y="644"/>
                  </a:lnTo>
                  <a:lnTo>
                    <a:pt x="146" y="530"/>
                  </a:lnTo>
                  <a:lnTo>
                    <a:pt x="69" y="417"/>
                  </a:lnTo>
                  <a:lnTo>
                    <a:pt x="0" y="305"/>
                  </a:lnTo>
                  <a:lnTo>
                    <a:pt x="32" y="279"/>
                  </a:lnTo>
                  <a:lnTo>
                    <a:pt x="61" y="249"/>
                  </a:lnTo>
                  <a:lnTo>
                    <a:pt x="86" y="217"/>
                  </a:lnTo>
                  <a:lnTo>
                    <a:pt x="108" y="179"/>
                  </a:lnTo>
                  <a:lnTo>
                    <a:pt x="119" y="153"/>
                  </a:lnTo>
                  <a:lnTo>
                    <a:pt x="235" y="156"/>
                  </a:lnTo>
                  <a:lnTo>
                    <a:pt x="350" y="155"/>
                  </a:lnTo>
                  <a:lnTo>
                    <a:pt x="463" y="148"/>
                  </a:lnTo>
                  <a:lnTo>
                    <a:pt x="575" y="135"/>
                  </a:lnTo>
                  <a:lnTo>
                    <a:pt x="686" y="119"/>
                  </a:lnTo>
                  <a:lnTo>
                    <a:pt x="794" y="96"/>
                  </a:lnTo>
                  <a:lnTo>
                    <a:pt x="901" y="69"/>
                  </a:lnTo>
                  <a:lnTo>
                    <a:pt x="1006" y="37"/>
                  </a:lnTo>
                  <a:lnTo>
                    <a:pt x="11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646464"/>
                </a:solidFill>
              </a:endParaRPr>
            </a:p>
          </p:txBody>
        </p:sp>
        <p:sp>
          <p:nvSpPr>
            <p:cNvPr id="46" name="Freeform 29"/>
            <p:cNvSpPr>
              <a:spLocks/>
            </p:cNvSpPr>
            <p:nvPr/>
          </p:nvSpPr>
          <p:spPr bwMode="auto">
            <a:xfrm>
              <a:off x="1256" y="617"/>
              <a:ext cx="145" cy="67"/>
            </a:xfrm>
            <a:custGeom>
              <a:avLst/>
              <a:gdLst>
                <a:gd name="T0" fmla="*/ 196 w 869"/>
                <a:gd name="T1" fmla="*/ 0 h 402"/>
                <a:gd name="T2" fmla="*/ 294 w 869"/>
                <a:gd name="T3" fmla="*/ 5 h 402"/>
                <a:gd name="T4" fmla="*/ 390 w 869"/>
                <a:gd name="T5" fmla="*/ 14 h 402"/>
                <a:gd name="T6" fmla="*/ 488 w 869"/>
                <a:gd name="T7" fmla="*/ 29 h 402"/>
                <a:gd name="T8" fmla="*/ 584 w 869"/>
                <a:gd name="T9" fmla="*/ 50 h 402"/>
                <a:gd name="T10" fmla="*/ 680 w 869"/>
                <a:gd name="T11" fmla="*/ 76 h 402"/>
                <a:gd name="T12" fmla="*/ 775 w 869"/>
                <a:gd name="T13" fmla="*/ 109 h 402"/>
                <a:gd name="T14" fmla="*/ 869 w 869"/>
                <a:gd name="T15" fmla="*/ 147 h 402"/>
                <a:gd name="T16" fmla="*/ 749 w 869"/>
                <a:gd name="T17" fmla="*/ 184 h 402"/>
                <a:gd name="T18" fmla="*/ 631 w 869"/>
                <a:gd name="T19" fmla="*/ 222 h 402"/>
                <a:gd name="T20" fmla="*/ 518 w 869"/>
                <a:gd name="T21" fmla="*/ 264 h 402"/>
                <a:gd name="T22" fmla="*/ 409 w 869"/>
                <a:gd name="T23" fmla="*/ 307 h 402"/>
                <a:gd name="T24" fmla="*/ 304 w 869"/>
                <a:gd name="T25" fmla="*/ 354 h 402"/>
                <a:gd name="T26" fmla="*/ 202 w 869"/>
                <a:gd name="T27" fmla="*/ 402 h 402"/>
                <a:gd name="T28" fmla="*/ 172 w 869"/>
                <a:gd name="T29" fmla="*/ 373 h 402"/>
                <a:gd name="T30" fmla="*/ 139 w 869"/>
                <a:gd name="T31" fmla="*/ 349 h 402"/>
                <a:gd name="T32" fmla="*/ 102 w 869"/>
                <a:gd name="T33" fmla="*/ 327 h 402"/>
                <a:gd name="T34" fmla="*/ 70 w 869"/>
                <a:gd name="T35" fmla="*/ 313 h 402"/>
                <a:gd name="T36" fmla="*/ 36 w 869"/>
                <a:gd name="T37" fmla="*/ 303 h 402"/>
                <a:gd name="T38" fmla="*/ 3 w 869"/>
                <a:gd name="T39" fmla="*/ 296 h 402"/>
                <a:gd name="T40" fmla="*/ 0 w 869"/>
                <a:gd name="T41" fmla="*/ 154 h 402"/>
                <a:gd name="T42" fmla="*/ 3 w 869"/>
                <a:gd name="T43" fmla="*/ 10 h 402"/>
                <a:gd name="T44" fmla="*/ 100 w 869"/>
                <a:gd name="T45" fmla="*/ 3 h 402"/>
                <a:gd name="T46" fmla="*/ 196 w 869"/>
                <a:gd name="T47" fmla="*/ 0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869" h="402">
                  <a:moveTo>
                    <a:pt x="196" y="0"/>
                  </a:moveTo>
                  <a:lnTo>
                    <a:pt x="294" y="5"/>
                  </a:lnTo>
                  <a:lnTo>
                    <a:pt x="390" y="14"/>
                  </a:lnTo>
                  <a:lnTo>
                    <a:pt x="488" y="29"/>
                  </a:lnTo>
                  <a:lnTo>
                    <a:pt x="584" y="50"/>
                  </a:lnTo>
                  <a:lnTo>
                    <a:pt x="680" y="76"/>
                  </a:lnTo>
                  <a:lnTo>
                    <a:pt x="775" y="109"/>
                  </a:lnTo>
                  <a:lnTo>
                    <a:pt x="869" y="147"/>
                  </a:lnTo>
                  <a:lnTo>
                    <a:pt x="749" y="184"/>
                  </a:lnTo>
                  <a:lnTo>
                    <a:pt x="631" y="222"/>
                  </a:lnTo>
                  <a:lnTo>
                    <a:pt x="518" y="264"/>
                  </a:lnTo>
                  <a:lnTo>
                    <a:pt x="409" y="307"/>
                  </a:lnTo>
                  <a:lnTo>
                    <a:pt x="304" y="354"/>
                  </a:lnTo>
                  <a:lnTo>
                    <a:pt x="202" y="402"/>
                  </a:lnTo>
                  <a:lnTo>
                    <a:pt x="172" y="373"/>
                  </a:lnTo>
                  <a:lnTo>
                    <a:pt x="139" y="349"/>
                  </a:lnTo>
                  <a:lnTo>
                    <a:pt x="102" y="327"/>
                  </a:lnTo>
                  <a:lnTo>
                    <a:pt x="70" y="313"/>
                  </a:lnTo>
                  <a:lnTo>
                    <a:pt x="36" y="303"/>
                  </a:lnTo>
                  <a:lnTo>
                    <a:pt x="3" y="296"/>
                  </a:lnTo>
                  <a:lnTo>
                    <a:pt x="0" y="154"/>
                  </a:lnTo>
                  <a:lnTo>
                    <a:pt x="3" y="10"/>
                  </a:lnTo>
                  <a:lnTo>
                    <a:pt x="100" y="3"/>
                  </a:lnTo>
                  <a:lnTo>
                    <a:pt x="19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646464"/>
                </a:solidFill>
              </a:endParaRPr>
            </a:p>
          </p:txBody>
        </p:sp>
        <p:sp>
          <p:nvSpPr>
            <p:cNvPr id="47" name="Freeform 30"/>
            <p:cNvSpPr>
              <a:spLocks/>
            </p:cNvSpPr>
            <p:nvPr/>
          </p:nvSpPr>
          <p:spPr bwMode="auto">
            <a:xfrm>
              <a:off x="1275" y="662"/>
              <a:ext cx="272" cy="294"/>
            </a:xfrm>
            <a:custGeom>
              <a:avLst/>
              <a:gdLst>
                <a:gd name="T0" fmla="*/ 797 w 1561"/>
                <a:gd name="T1" fmla="*/ 48 h 1730"/>
                <a:gd name="T2" fmla="*/ 750 w 1561"/>
                <a:gd name="T3" fmla="*/ 154 h 1730"/>
                <a:gd name="T4" fmla="*/ 721 w 1561"/>
                <a:gd name="T5" fmla="*/ 266 h 1730"/>
                <a:gd name="T6" fmla="*/ 710 w 1561"/>
                <a:gd name="T7" fmla="*/ 387 h 1730"/>
                <a:gd name="T8" fmla="*/ 723 w 1561"/>
                <a:gd name="T9" fmla="*/ 520 h 1730"/>
                <a:gd name="T10" fmla="*/ 759 w 1561"/>
                <a:gd name="T11" fmla="*/ 645 h 1730"/>
                <a:gd name="T12" fmla="*/ 817 w 1561"/>
                <a:gd name="T13" fmla="*/ 758 h 1730"/>
                <a:gd name="T14" fmla="*/ 894 w 1561"/>
                <a:gd name="T15" fmla="*/ 859 h 1730"/>
                <a:gd name="T16" fmla="*/ 987 w 1561"/>
                <a:gd name="T17" fmla="*/ 944 h 1730"/>
                <a:gd name="T18" fmla="*/ 1094 w 1561"/>
                <a:gd name="T19" fmla="*/ 1012 h 1730"/>
                <a:gd name="T20" fmla="*/ 1214 w 1561"/>
                <a:gd name="T21" fmla="*/ 1059 h 1730"/>
                <a:gd name="T22" fmla="*/ 1343 w 1561"/>
                <a:gd name="T23" fmla="*/ 1083 h 1730"/>
                <a:gd name="T24" fmla="*/ 1462 w 1561"/>
                <a:gd name="T25" fmla="*/ 1085 h 1730"/>
                <a:gd name="T26" fmla="*/ 1561 w 1561"/>
                <a:gd name="T27" fmla="*/ 1070 h 1730"/>
                <a:gd name="T28" fmla="*/ 1457 w 1561"/>
                <a:gd name="T29" fmla="*/ 1259 h 1730"/>
                <a:gd name="T30" fmla="*/ 1339 w 1561"/>
                <a:gd name="T31" fmla="*/ 1431 h 1730"/>
                <a:gd name="T32" fmla="*/ 1205 w 1561"/>
                <a:gd name="T33" fmla="*/ 1589 h 1730"/>
                <a:gd name="T34" fmla="*/ 1056 w 1561"/>
                <a:gd name="T35" fmla="*/ 1730 h 1730"/>
                <a:gd name="T36" fmla="*/ 988 w 1561"/>
                <a:gd name="T37" fmla="*/ 1686 h 1730"/>
                <a:gd name="T38" fmla="*/ 901 w 1561"/>
                <a:gd name="T39" fmla="*/ 1657 h 1730"/>
                <a:gd name="T40" fmla="*/ 814 w 1561"/>
                <a:gd name="T41" fmla="*/ 1651 h 1730"/>
                <a:gd name="T42" fmla="*/ 728 w 1561"/>
                <a:gd name="T43" fmla="*/ 1669 h 1730"/>
                <a:gd name="T44" fmla="*/ 650 w 1561"/>
                <a:gd name="T45" fmla="*/ 1707 h 1730"/>
                <a:gd name="T46" fmla="*/ 524 w 1561"/>
                <a:gd name="T47" fmla="*/ 1570 h 1730"/>
                <a:gd name="T48" fmla="*/ 372 w 1561"/>
                <a:gd name="T49" fmla="*/ 1376 h 1730"/>
                <a:gd name="T50" fmla="*/ 240 w 1561"/>
                <a:gd name="T51" fmla="*/ 1172 h 1730"/>
                <a:gd name="T52" fmla="*/ 129 w 1561"/>
                <a:gd name="T53" fmla="*/ 960 h 1730"/>
                <a:gd name="T54" fmla="*/ 38 w 1561"/>
                <a:gd name="T55" fmla="*/ 740 h 1730"/>
                <a:gd name="T56" fmla="*/ 34 w 1561"/>
                <a:gd name="T57" fmla="*/ 606 h 1730"/>
                <a:gd name="T58" fmla="*/ 94 w 1561"/>
                <a:gd name="T59" fmla="*/ 550 h 1730"/>
                <a:gd name="T60" fmla="*/ 140 w 1561"/>
                <a:gd name="T61" fmla="*/ 480 h 1730"/>
                <a:gd name="T62" fmla="*/ 168 w 1561"/>
                <a:gd name="T63" fmla="*/ 404 h 1730"/>
                <a:gd name="T64" fmla="*/ 175 w 1561"/>
                <a:gd name="T65" fmla="*/ 326 h 1730"/>
                <a:gd name="T66" fmla="*/ 166 w 1561"/>
                <a:gd name="T67" fmla="*/ 248 h 1730"/>
                <a:gd name="T68" fmla="*/ 370 w 1561"/>
                <a:gd name="T69" fmla="*/ 156 h 1730"/>
                <a:gd name="T70" fmla="*/ 590 w 1561"/>
                <a:gd name="T71" fmla="*/ 72 h 1730"/>
                <a:gd name="T72" fmla="*/ 827 w 1561"/>
                <a:gd name="T73" fmla="*/ 0 h 1730"/>
                <a:gd name="connsiteX0" fmla="*/ 5298 w 10000"/>
                <a:gd name="connsiteY0" fmla="*/ 0 h 10000"/>
                <a:gd name="connsiteX1" fmla="*/ 5106 w 10000"/>
                <a:gd name="connsiteY1" fmla="*/ 277 h 10000"/>
                <a:gd name="connsiteX2" fmla="*/ 4939 w 10000"/>
                <a:gd name="connsiteY2" fmla="*/ 578 h 10000"/>
                <a:gd name="connsiteX3" fmla="*/ 4805 w 10000"/>
                <a:gd name="connsiteY3" fmla="*/ 890 h 10000"/>
                <a:gd name="connsiteX4" fmla="*/ 4696 w 10000"/>
                <a:gd name="connsiteY4" fmla="*/ 1208 h 10000"/>
                <a:gd name="connsiteX5" fmla="*/ 4619 w 10000"/>
                <a:gd name="connsiteY5" fmla="*/ 1538 h 10000"/>
                <a:gd name="connsiteX6" fmla="*/ 4568 w 10000"/>
                <a:gd name="connsiteY6" fmla="*/ 1884 h 10000"/>
                <a:gd name="connsiteX7" fmla="*/ 4548 w 10000"/>
                <a:gd name="connsiteY7" fmla="*/ 2237 h 10000"/>
                <a:gd name="connsiteX8" fmla="*/ 4568 w 10000"/>
                <a:gd name="connsiteY8" fmla="*/ 2624 h 10000"/>
                <a:gd name="connsiteX9" fmla="*/ 4632 w 10000"/>
                <a:gd name="connsiteY9" fmla="*/ 3006 h 10000"/>
                <a:gd name="connsiteX10" fmla="*/ 4728 w 10000"/>
                <a:gd name="connsiteY10" fmla="*/ 3370 h 10000"/>
                <a:gd name="connsiteX11" fmla="*/ 4862 w 10000"/>
                <a:gd name="connsiteY11" fmla="*/ 3728 h 10000"/>
                <a:gd name="connsiteX12" fmla="*/ 5029 w 10000"/>
                <a:gd name="connsiteY12" fmla="*/ 4064 h 10000"/>
                <a:gd name="connsiteX13" fmla="*/ 5464 w 10000"/>
                <a:gd name="connsiteY13" fmla="*/ 4682 h 10000"/>
                <a:gd name="connsiteX14" fmla="*/ 5727 w 10000"/>
                <a:gd name="connsiteY14" fmla="*/ 4965 h 10000"/>
                <a:gd name="connsiteX15" fmla="*/ 6009 w 10000"/>
                <a:gd name="connsiteY15" fmla="*/ 5220 h 10000"/>
                <a:gd name="connsiteX16" fmla="*/ 6323 w 10000"/>
                <a:gd name="connsiteY16" fmla="*/ 5457 h 10000"/>
                <a:gd name="connsiteX17" fmla="*/ 6656 w 10000"/>
                <a:gd name="connsiteY17" fmla="*/ 5665 h 10000"/>
                <a:gd name="connsiteX18" fmla="*/ 7008 w 10000"/>
                <a:gd name="connsiteY18" fmla="*/ 5850 h 10000"/>
                <a:gd name="connsiteX19" fmla="*/ 7386 w 10000"/>
                <a:gd name="connsiteY19" fmla="*/ 6000 h 10000"/>
                <a:gd name="connsiteX20" fmla="*/ 7777 w 10000"/>
                <a:gd name="connsiteY20" fmla="*/ 6121 h 10000"/>
                <a:gd name="connsiteX21" fmla="*/ 8187 w 10000"/>
                <a:gd name="connsiteY21" fmla="*/ 6214 h 10000"/>
                <a:gd name="connsiteX22" fmla="*/ 8603 w 10000"/>
                <a:gd name="connsiteY22" fmla="*/ 6260 h 10000"/>
                <a:gd name="connsiteX23" fmla="*/ 9033 w 10000"/>
                <a:gd name="connsiteY23" fmla="*/ 6283 h 10000"/>
                <a:gd name="connsiteX24" fmla="*/ 9366 w 10000"/>
                <a:gd name="connsiteY24" fmla="*/ 6272 h 10000"/>
                <a:gd name="connsiteX25" fmla="*/ 9680 w 10000"/>
                <a:gd name="connsiteY25" fmla="*/ 6243 h 10000"/>
                <a:gd name="connsiteX26" fmla="*/ 10000 w 10000"/>
                <a:gd name="connsiteY26" fmla="*/ 6185 h 10000"/>
                <a:gd name="connsiteX27" fmla="*/ 9680 w 10000"/>
                <a:gd name="connsiteY27" fmla="*/ 6746 h 10000"/>
                <a:gd name="connsiteX28" fmla="*/ 9334 w 10000"/>
                <a:gd name="connsiteY28" fmla="*/ 7277 h 10000"/>
                <a:gd name="connsiteX29" fmla="*/ 8969 w 10000"/>
                <a:gd name="connsiteY29" fmla="*/ 7780 h 10000"/>
                <a:gd name="connsiteX30" fmla="*/ 8578 w 10000"/>
                <a:gd name="connsiteY30" fmla="*/ 8272 h 10000"/>
                <a:gd name="connsiteX31" fmla="*/ 8161 w 10000"/>
                <a:gd name="connsiteY31" fmla="*/ 8740 h 10000"/>
                <a:gd name="connsiteX32" fmla="*/ 7719 w 10000"/>
                <a:gd name="connsiteY32" fmla="*/ 9185 h 10000"/>
                <a:gd name="connsiteX33" fmla="*/ 7258 w 10000"/>
                <a:gd name="connsiteY33" fmla="*/ 9607 h 10000"/>
                <a:gd name="connsiteX34" fmla="*/ 6765 w 10000"/>
                <a:gd name="connsiteY34" fmla="*/ 10000 h 10000"/>
                <a:gd name="connsiteX35" fmla="*/ 6560 w 10000"/>
                <a:gd name="connsiteY35" fmla="*/ 9861 h 10000"/>
                <a:gd name="connsiteX36" fmla="*/ 6329 w 10000"/>
                <a:gd name="connsiteY36" fmla="*/ 9746 h 10000"/>
                <a:gd name="connsiteX37" fmla="*/ 6054 w 10000"/>
                <a:gd name="connsiteY37" fmla="*/ 9647 h 10000"/>
                <a:gd name="connsiteX38" fmla="*/ 5772 w 10000"/>
                <a:gd name="connsiteY38" fmla="*/ 9578 h 10000"/>
                <a:gd name="connsiteX39" fmla="*/ 5496 w 10000"/>
                <a:gd name="connsiteY39" fmla="*/ 9543 h 10000"/>
                <a:gd name="connsiteX40" fmla="*/ 5215 w 10000"/>
                <a:gd name="connsiteY40" fmla="*/ 9543 h 10000"/>
                <a:gd name="connsiteX41" fmla="*/ 4933 w 10000"/>
                <a:gd name="connsiteY41" fmla="*/ 9584 h 10000"/>
                <a:gd name="connsiteX42" fmla="*/ 4664 w 10000"/>
                <a:gd name="connsiteY42" fmla="*/ 9647 h 10000"/>
                <a:gd name="connsiteX43" fmla="*/ 4407 w 10000"/>
                <a:gd name="connsiteY43" fmla="*/ 9740 h 10000"/>
                <a:gd name="connsiteX44" fmla="*/ 4164 w 10000"/>
                <a:gd name="connsiteY44" fmla="*/ 9867 h 10000"/>
                <a:gd name="connsiteX45" fmla="*/ 3895 w 10000"/>
                <a:gd name="connsiteY45" fmla="*/ 9613 h 10000"/>
                <a:gd name="connsiteX46" fmla="*/ 3357 w 10000"/>
                <a:gd name="connsiteY46" fmla="*/ 9075 h 10000"/>
                <a:gd name="connsiteX47" fmla="*/ 2851 w 10000"/>
                <a:gd name="connsiteY47" fmla="*/ 8526 h 10000"/>
                <a:gd name="connsiteX48" fmla="*/ 2383 w 10000"/>
                <a:gd name="connsiteY48" fmla="*/ 7954 h 10000"/>
                <a:gd name="connsiteX49" fmla="*/ 1947 w 10000"/>
                <a:gd name="connsiteY49" fmla="*/ 7370 h 10000"/>
                <a:gd name="connsiteX50" fmla="*/ 1537 w 10000"/>
                <a:gd name="connsiteY50" fmla="*/ 6775 h 10000"/>
                <a:gd name="connsiteX51" fmla="*/ 1166 w 10000"/>
                <a:gd name="connsiteY51" fmla="*/ 6168 h 10000"/>
                <a:gd name="connsiteX52" fmla="*/ 826 w 10000"/>
                <a:gd name="connsiteY52" fmla="*/ 5549 h 10000"/>
                <a:gd name="connsiteX53" fmla="*/ 519 w 10000"/>
                <a:gd name="connsiteY53" fmla="*/ 4919 h 10000"/>
                <a:gd name="connsiteX54" fmla="*/ 243 w 10000"/>
                <a:gd name="connsiteY54" fmla="*/ 4277 h 10000"/>
                <a:gd name="connsiteX55" fmla="*/ 0 w 10000"/>
                <a:gd name="connsiteY55" fmla="*/ 3624 h 10000"/>
                <a:gd name="connsiteX56" fmla="*/ 218 w 10000"/>
                <a:gd name="connsiteY56" fmla="*/ 3503 h 10000"/>
                <a:gd name="connsiteX57" fmla="*/ 423 w 10000"/>
                <a:gd name="connsiteY57" fmla="*/ 3353 h 10000"/>
                <a:gd name="connsiteX58" fmla="*/ 602 w 10000"/>
                <a:gd name="connsiteY58" fmla="*/ 3179 h 10000"/>
                <a:gd name="connsiteX59" fmla="*/ 769 w 10000"/>
                <a:gd name="connsiteY59" fmla="*/ 2994 h 10000"/>
                <a:gd name="connsiteX60" fmla="*/ 897 w 10000"/>
                <a:gd name="connsiteY60" fmla="*/ 2775 h 10000"/>
                <a:gd name="connsiteX61" fmla="*/ 1006 w 10000"/>
                <a:gd name="connsiteY61" fmla="*/ 2555 h 10000"/>
                <a:gd name="connsiteX62" fmla="*/ 1076 w 10000"/>
                <a:gd name="connsiteY62" fmla="*/ 2335 h 10000"/>
                <a:gd name="connsiteX63" fmla="*/ 1115 w 10000"/>
                <a:gd name="connsiteY63" fmla="*/ 2104 h 10000"/>
                <a:gd name="connsiteX64" fmla="*/ 1121 w 10000"/>
                <a:gd name="connsiteY64" fmla="*/ 1884 h 10000"/>
                <a:gd name="connsiteX65" fmla="*/ 1108 w 10000"/>
                <a:gd name="connsiteY65" fmla="*/ 1653 h 10000"/>
                <a:gd name="connsiteX66" fmla="*/ 1063 w 10000"/>
                <a:gd name="connsiteY66" fmla="*/ 1434 h 10000"/>
                <a:gd name="connsiteX67" fmla="*/ 1698 w 10000"/>
                <a:gd name="connsiteY67" fmla="*/ 1162 h 10000"/>
                <a:gd name="connsiteX68" fmla="*/ 2370 w 10000"/>
                <a:gd name="connsiteY68" fmla="*/ 902 h 10000"/>
                <a:gd name="connsiteX69" fmla="*/ 3062 w 10000"/>
                <a:gd name="connsiteY69" fmla="*/ 653 h 10000"/>
                <a:gd name="connsiteX70" fmla="*/ 3780 w 10000"/>
                <a:gd name="connsiteY70" fmla="*/ 416 h 10000"/>
                <a:gd name="connsiteX71" fmla="*/ 4523 w 10000"/>
                <a:gd name="connsiteY71" fmla="*/ 202 h 10000"/>
                <a:gd name="connsiteX72" fmla="*/ 5298 w 10000"/>
                <a:gd name="connsiteY72" fmla="*/ 0 h 10000"/>
                <a:gd name="connsiteX0" fmla="*/ 5298 w 10000"/>
                <a:gd name="connsiteY0" fmla="*/ 0 h 10000"/>
                <a:gd name="connsiteX1" fmla="*/ 5106 w 10000"/>
                <a:gd name="connsiteY1" fmla="*/ 277 h 10000"/>
                <a:gd name="connsiteX2" fmla="*/ 4939 w 10000"/>
                <a:gd name="connsiteY2" fmla="*/ 578 h 10000"/>
                <a:gd name="connsiteX3" fmla="*/ 4805 w 10000"/>
                <a:gd name="connsiteY3" fmla="*/ 890 h 10000"/>
                <a:gd name="connsiteX4" fmla="*/ 4696 w 10000"/>
                <a:gd name="connsiteY4" fmla="*/ 1208 h 10000"/>
                <a:gd name="connsiteX5" fmla="*/ 4619 w 10000"/>
                <a:gd name="connsiteY5" fmla="*/ 1538 h 10000"/>
                <a:gd name="connsiteX6" fmla="*/ 4568 w 10000"/>
                <a:gd name="connsiteY6" fmla="*/ 1884 h 10000"/>
                <a:gd name="connsiteX7" fmla="*/ 4548 w 10000"/>
                <a:gd name="connsiteY7" fmla="*/ 2237 h 10000"/>
                <a:gd name="connsiteX8" fmla="*/ 4568 w 10000"/>
                <a:gd name="connsiteY8" fmla="*/ 2624 h 10000"/>
                <a:gd name="connsiteX9" fmla="*/ 4632 w 10000"/>
                <a:gd name="connsiteY9" fmla="*/ 3006 h 10000"/>
                <a:gd name="connsiteX10" fmla="*/ 4728 w 10000"/>
                <a:gd name="connsiteY10" fmla="*/ 3370 h 10000"/>
                <a:gd name="connsiteX11" fmla="*/ 4862 w 10000"/>
                <a:gd name="connsiteY11" fmla="*/ 3728 h 10000"/>
                <a:gd name="connsiteX12" fmla="*/ 5464 w 10000"/>
                <a:gd name="connsiteY12" fmla="*/ 4682 h 10000"/>
                <a:gd name="connsiteX13" fmla="*/ 5727 w 10000"/>
                <a:gd name="connsiteY13" fmla="*/ 4965 h 10000"/>
                <a:gd name="connsiteX14" fmla="*/ 6009 w 10000"/>
                <a:gd name="connsiteY14" fmla="*/ 5220 h 10000"/>
                <a:gd name="connsiteX15" fmla="*/ 6323 w 10000"/>
                <a:gd name="connsiteY15" fmla="*/ 5457 h 10000"/>
                <a:gd name="connsiteX16" fmla="*/ 6656 w 10000"/>
                <a:gd name="connsiteY16" fmla="*/ 5665 h 10000"/>
                <a:gd name="connsiteX17" fmla="*/ 7008 w 10000"/>
                <a:gd name="connsiteY17" fmla="*/ 5850 h 10000"/>
                <a:gd name="connsiteX18" fmla="*/ 7386 w 10000"/>
                <a:gd name="connsiteY18" fmla="*/ 6000 h 10000"/>
                <a:gd name="connsiteX19" fmla="*/ 7777 w 10000"/>
                <a:gd name="connsiteY19" fmla="*/ 6121 h 10000"/>
                <a:gd name="connsiteX20" fmla="*/ 8187 w 10000"/>
                <a:gd name="connsiteY20" fmla="*/ 6214 h 10000"/>
                <a:gd name="connsiteX21" fmla="*/ 8603 w 10000"/>
                <a:gd name="connsiteY21" fmla="*/ 6260 h 10000"/>
                <a:gd name="connsiteX22" fmla="*/ 9033 w 10000"/>
                <a:gd name="connsiteY22" fmla="*/ 6283 h 10000"/>
                <a:gd name="connsiteX23" fmla="*/ 9366 w 10000"/>
                <a:gd name="connsiteY23" fmla="*/ 6272 h 10000"/>
                <a:gd name="connsiteX24" fmla="*/ 9680 w 10000"/>
                <a:gd name="connsiteY24" fmla="*/ 6243 h 10000"/>
                <a:gd name="connsiteX25" fmla="*/ 10000 w 10000"/>
                <a:gd name="connsiteY25" fmla="*/ 6185 h 10000"/>
                <a:gd name="connsiteX26" fmla="*/ 9680 w 10000"/>
                <a:gd name="connsiteY26" fmla="*/ 6746 h 10000"/>
                <a:gd name="connsiteX27" fmla="*/ 9334 w 10000"/>
                <a:gd name="connsiteY27" fmla="*/ 7277 h 10000"/>
                <a:gd name="connsiteX28" fmla="*/ 8969 w 10000"/>
                <a:gd name="connsiteY28" fmla="*/ 7780 h 10000"/>
                <a:gd name="connsiteX29" fmla="*/ 8578 w 10000"/>
                <a:gd name="connsiteY29" fmla="*/ 8272 h 10000"/>
                <a:gd name="connsiteX30" fmla="*/ 8161 w 10000"/>
                <a:gd name="connsiteY30" fmla="*/ 8740 h 10000"/>
                <a:gd name="connsiteX31" fmla="*/ 7719 w 10000"/>
                <a:gd name="connsiteY31" fmla="*/ 9185 h 10000"/>
                <a:gd name="connsiteX32" fmla="*/ 7258 w 10000"/>
                <a:gd name="connsiteY32" fmla="*/ 9607 h 10000"/>
                <a:gd name="connsiteX33" fmla="*/ 6765 w 10000"/>
                <a:gd name="connsiteY33" fmla="*/ 10000 h 10000"/>
                <a:gd name="connsiteX34" fmla="*/ 6560 w 10000"/>
                <a:gd name="connsiteY34" fmla="*/ 9861 h 10000"/>
                <a:gd name="connsiteX35" fmla="*/ 6329 w 10000"/>
                <a:gd name="connsiteY35" fmla="*/ 9746 h 10000"/>
                <a:gd name="connsiteX36" fmla="*/ 6054 w 10000"/>
                <a:gd name="connsiteY36" fmla="*/ 9647 h 10000"/>
                <a:gd name="connsiteX37" fmla="*/ 5772 w 10000"/>
                <a:gd name="connsiteY37" fmla="*/ 9578 h 10000"/>
                <a:gd name="connsiteX38" fmla="*/ 5496 w 10000"/>
                <a:gd name="connsiteY38" fmla="*/ 9543 h 10000"/>
                <a:gd name="connsiteX39" fmla="*/ 5215 w 10000"/>
                <a:gd name="connsiteY39" fmla="*/ 9543 h 10000"/>
                <a:gd name="connsiteX40" fmla="*/ 4933 w 10000"/>
                <a:gd name="connsiteY40" fmla="*/ 9584 h 10000"/>
                <a:gd name="connsiteX41" fmla="*/ 4664 w 10000"/>
                <a:gd name="connsiteY41" fmla="*/ 9647 h 10000"/>
                <a:gd name="connsiteX42" fmla="*/ 4407 w 10000"/>
                <a:gd name="connsiteY42" fmla="*/ 9740 h 10000"/>
                <a:gd name="connsiteX43" fmla="*/ 4164 w 10000"/>
                <a:gd name="connsiteY43" fmla="*/ 9867 h 10000"/>
                <a:gd name="connsiteX44" fmla="*/ 3895 w 10000"/>
                <a:gd name="connsiteY44" fmla="*/ 9613 h 10000"/>
                <a:gd name="connsiteX45" fmla="*/ 3357 w 10000"/>
                <a:gd name="connsiteY45" fmla="*/ 9075 h 10000"/>
                <a:gd name="connsiteX46" fmla="*/ 2851 w 10000"/>
                <a:gd name="connsiteY46" fmla="*/ 8526 h 10000"/>
                <a:gd name="connsiteX47" fmla="*/ 2383 w 10000"/>
                <a:gd name="connsiteY47" fmla="*/ 7954 h 10000"/>
                <a:gd name="connsiteX48" fmla="*/ 1947 w 10000"/>
                <a:gd name="connsiteY48" fmla="*/ 7370 h 10000"/>
                <a:gd name="connsiteX49" fmla="*/ 1537 w 10000"/>
                <a:gd name="connsiteY49" fmla="*/ 6775 h 10000"/>
                <a:gd name="connsiteX50" fmla="*/ 1166 w 10000"/>
                <a:gd name="connsiteY50" fmla="*/ 6168 h 10000"/>
                <a:gd name="connsiteX51" fmla="*/ 826 w 10000"/>
                <a:gd name="connsiteY51" fmla="*/ 5549 h 10000"/>
                <a:gd name="connsiteX52" fmla="*/ 519 w 10000"/>
                <a:gd name="connsiteY52" fmla="*/ 4919 h 10000"/>
                <a:gd name="connsiteX53" fmla="*/ 243 w 10000"/>
                <a:gd name="connsiteY53" fmla="*/ 4277 h 10000"/>
                <a:gd name="connsiteX54" fmla="*/ 0 w 10000"/>
                <a:gd name="connsiteY54" fmla="*/ 3624 h 10000"/>
                <a:gd name="connsiteX55" fmla="*/ 218 w 10000"/>
                <a:gd name="connsiteY55" fmla="*/ 3503 h 10000"/>
                <a:gd name="connsiteX56" fmla="*/ 423 w 10000"/>
                <a:gd name="connsiteY56" fmla="*/ 3353 h 10000"/>
                <a:gd name="connsiteX57" fmla="*/ 602 w 10000"/>
                <a:gd name="connsiteY57" fmla="*/ 3179 h 10000"/>
                <a:gd name="connsiteX58" fmla="*/ 769 w 10000"/>
                <a:gd name="connsiteY58" fmla="*/ 2994 h 10000"/>
                <a:gd name="connsiteX59" fmla="*/ 897 w 10000"/>
                <a:gd name="connsiteY59" fmla="*/ 2775 h 10000"/>
                <a:gd name="connsiteX60" fmla="*/ 1006 w 10000"/>
                <a:gd name="connsiteY60" fmla="*/ 2555 h 10000"/>
                <a:gd name="connsiteX61" fmla="*/ 1076 w 10000"/>
                <a:gd name="connsiteY61" fmla="*/ 2335 h 10000"/>
                <a:gd name="connsiteX62" fmla="*/ 1115 w 10000"/>
                <a:gd name="connsiteY62" fmla="*/ 2104 h 10000"/>
                <a:gd name="connsiteX63" fmla="*/ 1121 w 10000"/>
                <a:gd name="connsiteY63" fmla="*/ 1884 h 10000"/>
                <a:gd name="connsiteX64" fmla="*/ 1108 w 10000"/>
                <a:gd name="connsiteY64" fmla="*/ 1653 h 10000"/>
                <a:gd name="connsiteX65" fmla="*/ 1063 w 10000"/>
                <a:gd name="connsiteY65" fmla="*/ 1434 h 10000"/>
                <a:gd name="connsiteX66" fmla="*/ 1698 w 10000"/>
                <a:gd name="connsiteY66" fmla="*/ 1162 h 10000"/>
                <a:gd name="connsiteX67" fmla="*/ 2370 w 10000"/>
                <a:gd name="connsiteY67" fmla="*/ 902 h 10000"/>
                <a:gd name="connsiteX68" fmla="*/ 3062 w 10000"/>
                <a:gd name="connsiteY68" fmla="*/ 653 h 10000"/>
                <a:gd name="connsiteX69" fmla="*/ 3780 w 10000"/>
                <a:gd name="connsiteY69" fmla="*/ 416 h 10000"/>
                <a:gd name="connsiteX70" fmla="*/ 4523 w 10000"/>
                <a:gd name="connsiteY70" fmla="*/ 202 h 10000"/>
                <a:gd name="connsiteX71" fmla="*/ 5298 w 10000"/>
                <a:gd name="connsiteY71" fmla="*/ 0 h 10000"/>
                <a:gd name="connsiteX0" fmla="*/ 5298 w 10000"/>
                <a:gd name="connsiteY0" fmla="*/ 0 h 10000"/>
                <a:gd name="connsiteX1" fmla="*/ 5106 w 10000"/>
                <a:gd name="connsiteY1" fmla="*/ 277 h 10000"/>
                <a:gd name="connsiteX2" fmla="*/ 4939 w 10000"/>
                <a:gd name="connsiteY2" fmla="*/ 578 h 10000"/>
                <a:gd name="connsiteX3" fmla="*/ 4805 w 10000"/>
                <a:gd name="connsiteY3" fmla="*/ 890 h 10000"/>
                <a:gd name="connsiteX4" fmla="*/ 4696 w 10000"/>
                <a:gd name="connsiteY4" fmla="*/ 1208 h 10000"/>
                <a:gd name="connsiteX5" fmla="*/ 4619 w 10000"/>
                <a:gd name="connsiteY5" fmla="*/ 1538 h 10000"/>
                <a:gd name="connsiteX6" fmla="*/ 4568 w 10000"/>
                <a:gd name="connsiteY6" fmla="*/ 1884 h 10000"/>
                <a:gd name="connsiteX7" fmla="*/ 4548 w 10000"/>
                <a:gd name="connsiteY7" fmla="*/ 2237 h 10000"/>
                <a:gd name="connsiteX8" fmla="*/ 4568 w 10000"/>
                <a:gd name="connsiteY8" fmla="*/ 2624 h 10000"/>
                <a:gd name="connsiteX9" fmla="*/ 4632 w 10000"/>
                <a:gd name="connsiteY9" fmla="*/ 3006 h 10000"/>
                <a:gd name="connsiteX10" fmla="*/ 4728 w 10000"/>
                <a:gd name="connsiteY10" fmla="*/ 3370 h 10000"/>
                <a:gd name="connsiteX11" fmla="*/ 5464 w 10000"/>
                <a:gd name="connsiteY11" fmla="*/ 4682 h 10000"/>
                <a:gd name="connsiteX12" fmla="*/ 5727 w 10000"/>
                <a:gd name="connsiteY12" fmla="*/ 4965 h 10000"/>
                <a:gd name="connsiteX13" fmla="*/ 6009 w 10000"/>
                <a:gd name="connsiteY13" fmla="*/ 5220 h 10000"/>
                <a:gd name="connsiteX14" fmla="*/ 6323 w 10000"/>
                <a:gd name="connsiteY14" fmla="*/ 5457 h 10000"/>
                <a:gd name="connsiteX15" fmla="*/ 6656 w 10000"/>
                <a:gd name="connsiteY15" fmla="*/ 5665 h 10000"/>
                <a:gd name="connsiteX16" fmla="*/ 7008 w 10000"/>
                <a:gd name="connsiteY16" fmla="*/ 5850 h 10000"/>
                <a:gd name="connsiteX17" fmla="*/ 7386 w 10000"/>
                <a:gd name="connsiteY17" fmla="*/ 6000 h 10000"/>
                <a:gd name="connsiteX18" fmla="*/ 7777 w 10000"/>
                <a:gd name="connsiteY18" fmla="*/ 6121 h 10000"/>
                <a:gd name="connsiteX19" fmla="*/ 8187 w 10000"/>
                <a:gd name="connsiteY19" fmla="*/ 6214 h 10000"/>
                <a:gd name="connsiteX20" fmla="*/ 8603 w 10000"/>
                <a:gd name="connsiteY20" fmla="*/ 6260 h 10000"/>
                <a:gd name="connsiteX21" fmla="*/ 9033 w 10000"/>
                <a:gd name="connsiteY21" fmla="*/ 6283 h 10000"/>
                <a:gd name="connsiteX22" fmla="*/ 9366 w 10000"/>
                <a:gd name="connsiteY22" fmla="*/ 6272 h 10000"/>
                <a:gd name="connsiteX23" fmla="*/ 9680 w 10000"/>
                <a:gd name="connsiteY23" fmla="*/ 6243 h 10000"/>
                <a:gd name="connsiteX24" fmla="*/ 10000 w 10000"/>
                <a:gd name="connsiteY24" fmla="*/ 6185 h 10000"/>
                <a:gd name="connsiteX25" fmla="*/ 9680 w 10000"/>
                <a:gd name="connsiteY25" fmla="*/ 6746 h 10000"/>
                <a:gd name="connsiteX26" fmla="*/ 9334 w 10000"/>
                <a:gd name="connsiteY26" fmla="*/ 7277 h 10000"/>
                <a:gd name="connsiteX27" fmla="*/ 8969 w 10000"/>
                <a:gd name="connsiteY27" fmla="*/ 7780 h 10000"/>
                <a:gd name="connsiteX28" fmla="*/ 8578 w 10000"/>
                <a:gd name="connsiteY28" fmla="*/ 8272 h 10000"/>
                <a:gd name="connsiteX29" fmla="*/ 8161 w 10000"/>
                <a:gd name="connsiteY29" fmla="*/ 8740 h 10000"/>
                <a:gd name="connsiteX30" fmla="*/ 7719 w 10000"/>
                <a:gd name="connsiteY30" fmla="*/ 9185 h 10000"/>
                <a:gd name="connsiteX31" fmla="*/ 7258 w 10000"/>
                <a:gd name="connsiteY31" fmla="*/ 9607 h 10000"/>
                <a:gd name="connsiteX32" fmla="*/ 6765 w 10000"/>
                <a:gd name="connsiteY32" fmla="*/ 10000 h 10000"/>
                <a:gd name="connsiteX33" fmla="*/ 6560 w 10000"/>
                <a:gd name="connsiteY33" fmla="*/ 9861 h 10000"/>
                <a:gd name="connsiteX34" fmla="*/ 6329 w 10000"/>
                <a:gd name="connsiteY34" fmla="*/ 9746 h 10000"/>
                <a:gd name="connsiteX35" fmla="*/ 6054 w 10000"/>
                <a:gd name="connsiteY35" fmla="*/ 9647 h 10000"/>
                <a:gd name="connsiteX36" fmla="*/ 5772 w 10000"/>
                <a:gd name="connsiteY36" fmla="*/ 9578 h 10000"/>
                <a:gd name="connsiteX37" fmla="*/ 5496 w 10000"/>
                <a:gd name="connsiteY37" fmla="*/ 9543 h 10000"/>
                <a:gd name="connsiteX38" fmla="*/ 5215 w 10000"/>
                <a:gd name="connsiteY38" fmla="*/ 9543 h 10000"/>
                <a:gd name="connsiteX39" fmla="*/ 4933 w 10000"/>
                <a:gd name="connsiteY39" fmla="*/ 9584 h 10000"/>
                <a:gd name="connsiteX40" fmla="*/ 4664 w 10000"/>
                <a:gd name="connsiteY40" fmla="*/ 9647 h 10000"/>
                <a:gd name="connsiteX41" fmla="*/ 4407 w 10000"/>
                <a:gd name="connsiteY41" fmla="*/ 9740 h 10000"/>
                <a:gd name="connsiteX42" fmla="*/ 4164 w 10000"/>
                <a:gd name="connsiteY42" fmla="*/ 9867 h 10000"/>
                <a:gd name="connsiteX43" fmla="*/ 3895 w 10000"/>
                <a:gd name="connsiteY43" fmla="*/ 9613 h 10000"/>
                <a:gd name="connsiteX44" fmla="*/ 3357 w 10000"/>
                <a:gd name="connsiteY44" fmla="*/ 9075 h 10000"/>
                <a:gd name="connsiteX45" fmla="*/ 2851 w 10000"/>
                <a:gd name="connsiteY45" fmla="*/ 8526 h 10000"/>
                <a:gd name="connsiteX46" fmla="*/ 2383 w 10000"/>
                <a:gd name="connsiteY46" fmla="*/ 7954 h 10000"/>
                <a:gd name="connsiteX47" fmla="*/ 1947 w 10000"/>
                <a:gd name="connsiteY47" fmla="*/ 7370 h 10000"/>
                <a:gd name="connsiteX48" fmla="*/ 1537 w 10000"/>
                <a:gd name="connsiteY48" fmla="*/ 6775 h 10000"/>
                <a:gd name="connsiteX49" fmla="*/ 1166 w 10000"/>
                <a:gd name="connsiteY49" fmla="*/ 6168 h 10000"/>
                <a:gd name="connsiteX50" fmla="*/ 826 w 10000"/>
                <a:gd name="connsiteY50" fmla="*/ 5549 h 10000"/>
                <a:gd name="connsiteX51" fmla="*/ 519 w 10000"/>
                <a:gd name="connsiteY51" fmla="*/ 4919 h 10000"/>
                <a:gd name="connsiteX52" fmla="*/ 243 w 10000"/>
                <a:gd name="connsiteY52" fmla="*/ 4277 h 10000"/>
                <a:gd name="connsiteX53" fmla="*/ 0 w 10000"/>
                <a:gd name="connsiteY53" fmla="*/ 3624 h 10000"/>
                <a:gd name="connsiteX54" fmla="*/ 218 w 10000"/>
                <a:gd name="connsiteY54" fmla="*/ 3503 h 10000"/>
                <a:gd name="connsiteX55" fmla="*/ 423 w 10000"/>
                <a:gd name="connsiteY55" fmla="*/ 3353 h 10000"/>
                <a:gd name="connsiteX56" fmla="*/ 602 w 10000"/>
                <a:gd name="connsiteY56" fmla="*/ 3179 h 10000"/>
                <a:gd name="connsiteX57" fmla="*/ 769 w 10000"/>
                <a:gd name="connsiteY57" fmla="*/ 2994 h 10000"/>
                <a:gd name="connsiteX58" fmla="*/ 897 w 10000"/>
                <a:gd name="connsiteY58" fmla="*/ 2775 h 10000"/>
                <a:gd name="connsiteX59" fmla="*/ 1006 w 10000"/>
                <a:gd name="connsiteY59" fmla="*/ 2555 h 10000"/>
                <a:gd name="connsiteX60" fmla="*/ 1076 w 10000"/>
                <a:gd name="connsiteY60" fmla="*/ 2335 h 10000"/>
                <a:gd name="connsiteX61" fmla="*/ 1115 w 10000"/>
                <a:gd name="connsiteY61" fmla="*/ 2104 h 10000"/>
                <a:gd name="connsiteX62" fmla="*/ 1121 w 10000"/>
                <a:gd name="connsiteY62" fmla="*/ 1884 h 10000"/>
                <a:gd name="connsiteX63" fmla="*/ 1108 w 10000"/>
                <a:gd name="connsiteY63" fmla="*/ 1653 h 10000"/>
                <a:gd name="connsiteX64" fmla="*/ 1063 w 10000"/>
                <a:gd name="connsiteY64" fmla="*/ 1434 h 10000"/>
                <a:gd name="connsiteX65" fmla="*/ 1698 w 10000"/>
                <a:gd name="connsiteY65" fmla="*/ 1162 h 10000"/>
                <a:gd name="connsiteX66" fmla="*/ 2370 w 10000"/>
                <a:gd name="connsiteY66" fmla="*/ 902 h 10000"/>
                <a:gd name="connsiteX67" fmla="*/ 3062 w 10000"/>
                <a:gd name="connsiteY67" fmla="*/ 653 h 10000"/>
                <a:gd name="connsiteX68" fmla="*/ 3780 w 10000"/>
                <a:gd name="connsiteY68" fmla="*/ 416 h 10000"/>
                <a:gd name="connsiteX69" fmla="*/ 4523 w 10000"/>
                <a:gd name="connsiteY69" fmla="*/ 202 h 10000"/>
                <a:gd name="connsiteX70" fmla="*/ 5298 w 10000"/>
                <a:gd name="connsiteY70" fmla="*/ 0 h 10000"/>
                <a:gd name="connsiteX0" fmla="*/ 5298 w 10000"/>
                <a:gd name="connsiteY0" fmla="*/ 0 h 10000"/>
                <a:gd name="connsiteX1" fmla="*/ 5106 w 10000"/>
                <a:gd name="connsiteY1" fmla="*/ 277 h 10000"/>
                <a:gd name="connsiteX2" fmla="*/ 4939 w 10000"/>
                <a:gd name="connsiteY2" fmla="*/ 578 h 10000"/>
                <a:gd name="connsiteX3" fmla="*/ 4805 w 10000"/>
                <a:gd name="connsiteY3" fmla="*/ 890 h 10000"/>
                <a:gd name="connsiteX4" fmla="*/ 4696 w 10000"/>
                <a:gd name="connsiteY4" fmla="*/ 1208 h 10000"/>
                <a:gd name="connsiteX5" fmla="*/ 4619 w 10000"/>
                <a:gd name="connsiteY5" fmla="*/ 1538 h 10000"/>
                <a:gd name="connsiteX6" fmla="*/ 4568 w 10000"/>
                <a:gd name="connsiteY6" fmla="*/ 1884 h 10000"/>
                <a:gd name="connsiteX7" fmla="*/ 4548 w 10000"/>
                <a:gd name="connsiteY7" fmla="*/ 2237 h 10000"/>
                <a:gd name="connsiteX8" fmla="*/ 4568 w 10000"/>
                <a:gd name="connsiteY8" fmla="*/ 2624 h 10000"/>
                <a:gd name="connsiteX9" fmla="*/ 4632 w 10000"/>
                <a:gd name="connsiteY9" fmla="*/ 3006 h 10000"/>
                <a:gd name="connsiteX10" fmla="*/ 5464 w 10000"/>
                <a:gd name="connsiteY10" fmla="*/ 4682 h 10000"/>
                <a:gd name="connsiteX11" fmla="*/ 5727 w 10000"/>
                <a:gd name="connsiteY11" fmla="*/ 4965 h 10000"/>
                <a:gd name="connsiteX12" fmla="*/ 6009 w 10000"/>
                <a:gd name="connsiteY12" fmla="*/ 5220 h 10000"/>
                <a:gd name="connsiteX13" fmla="*/ 6323 w 10000"/>
                <a:gd name="connsiteY13" fmla="*/ 5457 h 10000"/>
                <a:gd name="connsiteX14" fmla="*/ 6656 w 10000"/>
                <a:gd name="connsiteY14" fmla="*/ 5665 h 10000"/>
                <a:gd name="connsiteX15" fmla="*/ 7008 w 10000"/>
                <a:gd name="connsiteY15" fmla="*/ 5850 h 10000"/>
                <a:gd name="connsiteX16" fmla="*/ 7386 w 10000"/>
                <a:gd name="connsiteY16" fmla="*/ 6000 h 10000"/>
                <a:gd name="connsiteX17" fmla="*/ 7777 w 10000"/>
                <a:gd name="connsiteY17" fmla="*/ 6121 h 10000"/>
                <a:gd name="connsiteX18" fmla="*/ 8187 w 10000"/>
                <a:gd name="connsiteY18" fmla="*/ 6214 h 10000"/>
                <a:gd name="connsiteX19" fmla="*/ 8603 w 10000"/>
                <a:gd name="connsiteY19" fmla="*/ 6260 h 10000"/>
                <a:gd name="connsiteX20" fmla="*/ 9033 w 10000"/>
                <a:gd name="connsiteY20" fmla="*/ 6283 h 10000"/>
                <a:gd name="connsiteX21" fmla="*/ 9366 w 10000"/>
                <a:gd name="connsiteY21" fmla="*/ 6272 h 10000"/>
                <a:gd name="connsiteX22" fmla="*/ 9680 w 10000"/>
                <a:gd name="connsiteY22" fmla="*/ 6243 h 10000"/>
                <a:gd name="connsiteX23" fmla="*/ 10000 w 10000"/>
                <a:gd name="connsiteY23" fmla="*/ 6185 h 10000"/>
                <a:gd name="connsiteX24" fmla="*/ 9680 w 10000"/>
                <a:gd name="connsiteY24" fmla="*/ 6746 h 10000"/>
                <a:gd name="connsiteX25" fmla="*/ 9334 w 10000"/>
                <a:gd name="connsiteY25" fmla="*/ 7277 h 10000"/>
                <a:gd name="connsiteX26" fmla="*/ 8969 w 10000"/>
                <a:gd name="connsiteY26" fmla="*/ 7780 h 10000"/>
                <a:gd name="connsiteX27" fmla="*/ 8578 w 10000"/>
                <a:gd name="connsiteY27" fmla="*/ 8272 h 10000"/>
                <a:gd name="connsiteX28" fmla="*/ 8161 w 10000"/>
                <a:gd name="connsiteY28" fmla="*/ 8740 h 10000"/>
                <a:gd name="connsiteX29" fmla="*/ 7719 w 10000"/>
                <a:gd name="connsiteY29" fmla="*/ 9185 h 10000"/>
                <a:gd name="connsiteX30" fmla="*/ 7258 w 10000"/>
                <a:gd name="connsiteY30" fmla="*/ 9607 h 10000"/>
                <a:gd name="connsiteX31" fmla="*/ 6765 w 10000"/>
                <a:gd name="connsiteY31" fmla="*/ 10000 h 10000"/>
                <a:gd name="connsiteX32" fmla="*/ 6560 w 10000"/>
                <a:gd name="connsiteY32" fmla="*/ 9861 h 10000"/>
                <a:gd name="connsiteX33" fmla="*/ 6329 w 10000"/>
                <a:gd name="connsiteY33" fmla="*/ 9746 h 10000"/>
                <a:gd name="connsiteX34" fmla="*/ 6054 w 10000"/>
                <a:gd name="connsiteY34" fmla="*/ 9647 h 10000"/>
                <a:gd name="connsiteX35" fmla="*/ 5772 w 10000"/>
                <a:gd name="connsiteY35" fmla="*/ 9578 h 10000"/>
                <a:gd name="connsiteX36" fmla="*/ 5496 w 10000"/>
                <a:gd name="connsiteY36" fmla="*/ 9543 h 10000"/>
                <a:gd name="connsiteX37" fmla="*/ 5215 w 10000"/>
                <a:gd name="connsiteY37" fmla="*/ 9543 h 10000"/>
                <a:gd name="connsiteX38" fmla="*/ 4933 w 10000"/>
                <a:gd name="connsiteY38" fmla="*/ 9584 h 10000"/>
                <a:gd name="connsiteX39" fmla="*/ 4664 w 10000"/>
                <a:gd name="connsiteY39" fmla="*/ 9647 h 10000"/>
                <a:gd name="connsiteX40" fmla="*/ 4407 w 10000"/>
                <a:gd name="connsiteY40" fmla="*/ 9740 h 10000"/>
                <a:gd name="connsiteX41" fmla="*/ 4164 w 10000"/>
                <a:gd name="connsiteY41" fmla="*/ 9867 h 10000"/>
                <a:gd name="connsiteX42" fmla="*/ 3895 w 10000"/>
                <a:gd name="connsiteY42" fmla="*/ 9613 h 10000"/>
                <a:gd name="connsiteX43" fmla="*/ 3357 w 10000"/>
                <a:gd name="connsiteY43" fmla="*/ 9075 h 10000"/>
                <a:gd name="connsiteX44" fmla="*/ 2851 w 10000"/>
                <a:gd name="connsiteY44" fmla="*/ 8526 h 10000"/>
                <a:gd name="connsiteX45" fmla="*/ 2383 w 10000"/>
                <a:gd name="connsiteY45" fmla="*/ 7954 h 10000"/>
                <a:gd name="connsiteX46" fmla="*/ 1947 w 10000"/>
                <a:gd name="connsiteY46" fmla="*/ 7370 h 10000"/>
                <a:gd name="connsiteX47" fmla="*/ 1537 w 10000"/>
                <a:gd name="connsiteY47" fmla="*/ 6775 h 10000"/>
                <a:gd name="connsiteX48" fmla="*/ 1166 w 10000"/>
                <a:gd name="connsiteY48" fmla="*/ 6168 h 10000"/>
                <a:gd name="connsiteX49" fmla="*/ 826 w 10000"/>
                <a:gd name="connsiteY49" fmla="*/ 5549 h 10000"/>
                <a:gd name="connsiteX50" fmla="*/ 519 w 10000"/>
                <a:gd name="connsiteY50" fmla="*/ 4919 h 10000"/>
                <a:gd name="connsiteX51" fmla="*/ 243 w 10000"/>
                <a:gd name="connsiteY51" fmla="*/ 4277 h 10000"/>
                <a:gd name="connsiteX52" fmla="*/ 0 w 10000"/>
                <a:gd name="connsiteY52" fmla="*/ 3624 h 10000"/>
                <a:gd name="connsiteX53" fmla="*/ 218 w 10000"/>
                <a:gd name="connsiteY53" fmla="*/ 3503 h 10000"/>
                <a:gd name="connsiteX54" fmla="*/ 423 w 10000"/>
                <a:gd name="connsiteY54" fmla="*/ 3353 h 10000"/>
                <a:gd name="connsiteX55" fmla="*/ 602 w 10000"/>
                <a:gd name="connsiteY55" fmla="*/ 3179 h 10000"/>
                <a:gd name="connsiteX56" fmla="*/ 769 w 10000"/>
                <a:gd name="connsiteY56" fmla="*/ 2994 h 10000"/>
                <a:gd name="connsiteX57" fmla="*/ 897 w 10000"/>
                <a:gd name="connsiteY57" fmla="*/ 2775 h 10000"/>
                <a:gd name="connsiteX58" fmla="*/ 1006 w 10000"/>
                <a:gd name="connsiteY58" fmla="*/ 2555 h 10000"/>
                <a:gd name="connsiteX59" fmla="*/ 1076 w 10000"/>
                <a:gd name="connsiteY59" fmla="*/ 2335 h 10000"/>
                <a:gd name="connsiteX60" fmla="*/ 1115 w 10000"/>
                <a:gd name="connsiteY60" fmla="*/ 2104 h 10000"/>
                <a:gd name="connsiteX61" fmla="*/ 1121 w 10000"/>
                <a:gd name="connsiteY61" fmla="*/ 1884 h 10000"/>
                <a:gd name="connsiteX62" fmla="*/ 1108 w 10000"/>
                <a:gd name="connsiteY62" fmla="*/ 1653 h 10000"/>
                <a:gd name="connsiteX63" fmla="*/ 1063 w 10000"/>
                <a:gd name="connsiteY63" fmla="*/ 1434 h 10000"/>
                <a:gd name="connsiteX64" fmla="*/ 1698 w 10000"/>
                <a:gd name="connsiteY64" fmla="*/ 1162 h 10000"/>
                <a:gd name="connsiteX65" fmla="*/ 2370 w 10000"/>
                <a:gd name="connsiteY65" fmla="*/ 902 h 10000"/>
                <a:gd name="connsiteX66" fmla="*/ 3062 w 10000"/>
                <a:gd name="connsiteY66" fmla="*/ 653 h 10000"/>
                <a:gd name="connsiteX67" fmla="*/ 3780 w 10000"/>
                <a:gd name="connsiteY67" fmla="*/ 416 h 10000"/>
                <a:gd name="connsiteX68" fmla="*/ 4523 w 10000"/>
                <a:gd name="connsiteY68" fmla="*/ 202 h 10000"/>
                <a:gd name="connsiteX69" fmla="*/ 5298 w 10000"/>
                <a:gd name="connsiteY69" fmla="*/ 0 h 10000"/>
                <a:gd name="connsiteX0" fmla="*/ 5298 w 10000"/>
                <a:gd name="connsiteY0" fmla="*/ 0 h 10000"/>
                <a:gd name="connsiteX1" fmla="*/ 5106 w 10000"/>
                <a:gd name="connsiteY1" fmla="*/ 277 h 10000"/>
                <a:gd name="connsiteX2" fmla="*/ 4939 w 10000"/>
                <a:gd name="connsiteY2" fmla="*/ 578 h 10000"/>
                <a:gd name="connsiteX3" fmla="*/ 4805 w 10000"/>
                <a:gd name="connsiteY3" fmla="*/ 890 h 10000"/>
                <a:gd name="connsiteX4" fmla="*/ 4696 w 10000"/>
                <a:gd name="connsiteY4" fmla="*/ 1208 h 10000"/>
                <a:gd name="connsiteX5" fmla="*/ 4619 w 10000"/>
                <a:gd name="connsiteY5" fmla="*/ 1538 h 10000"/>
                <a:gd name="connsiteX6" fmla="*/ 4568 w 10000"/>
                <a:gd name="connsiteY6" fmla="*/ 1884 h 10000"/>
                <a:gd name="connsiteX7" fmla="*/ 4548 w 10000"/>
                <a:gd name="connsiteY7" fmla="*/ 2237 h 10000"/>
                <a:gd name="connsiteX8" fmla="*/ 4568 w 10000"/>
                <a:gd name="connsiteY8" fmla="*/ 2624 h 10000"/>
                <a:gd name="connsiteX9" fmla="*/ 5464 w 10000"/>
                <a:gd name="connsiteY9" fmla="*/ 4682 h 10000"/>
                <a:gd name="connsiteX10" fmla="*/ 5727 w 10000"/>
                <a:gd name="connsiteY10" fmla="*/ 4965 h 10000"/>
                <a:gd name="connsiteX11" fmla="*/ 6009 w 10000"/>
                <a:gd name="connsiteY11" fmla="*/ 5220 h 10000"/>
                <a:gd name="connsiteX12" fmla="*/ 6323 w 10000"/>
                <a:gd name="connsiteY12" fmla="*/ 5457 h 10000"/>
                <a:gd name="connsiteX13" fmla="*/ 6656 w 10000"/>
                <a:gd name="connsiteY13" fmla="*/ 5665 h 10000"/>
                <a:gd name="connsiteX14" fmla="*/ 7008 w 10000"/>
                <a:gd name="connsiteY14" fmla="*/ 5850 h 10000"/>
                <a:gd name="connsiteX15" fmla="*/ 7386 w 10000"/>
                <a:gd name="connsiteY15" fmla="*/ 6000 h 10000"/>
                <a:gd name="connsiteX16" fmla="*/ 7777 w 10000"/>
                <a:gd name="connsiteY16" fmla="*/ 6121 h 10000"/>
                <a:gd name="connsiteX17" fmla="*/ 8187 w 10000"/>
                <a:gd name="connsiteY17" fmla="*/ 6214 h 10000"/>
                <a:gd name="connsiteX18" fmla="*/ 8603 w 10000"/>
                <a:gd name="connsiteY18" fmla="*/ 6260 h 10000"/>
                <a:gd name="connsiteX19" fmla="*/ 9033 w 10000"/>
                <a:gd name="connsiteY19" fmla="*/ 6283 h 10000"/>
                <a:gd name="connsiteX20" fmla="*/ 9366 w 10000"/>
                <a:gd name="connsiteY20" fmla="*/ 6272 h 10000"/>
                <a:gd name="connsiteX21" fmla="*/ 9680 w 10000"/>
                <a:gd name="connsiteY21" fmla="*/ 6243 h 10000"/>
                <a:gd name="connsiteX22" fmla="*/ 10000 w 10000"/>
                <a:gd name="connsiteY22" fmla="*/ 6185 h 10000"/>
                <a:gd name="connsiteX23" fmla="*/ 9680 w 10000"/>
                <a:gd name="connsiteY23" fmla="*/ 6746 h 10000"/>
                <a:gd name="connsiteX24" fmla="*/ 9334 w 10000"/>
                <a:gd name="connsiteY24" fmla="*/ 7277 h 10000"/>
                <a:gd name="connsiteX25" fmla="*/ 8969 w 10000"/>
                <a:gd name="connsiteY25" fmla="*/ 7780 h 10000"/>
                <a:gd name="connsiteX26" fmla="*/ 8578 w 10000"/>
                <a:gd name="connsiteY26" fmla="*/ 8272 h 10000"/>
                <a:gd name="connsiteX27" fmla="*/ 8161 w 10000"/>
                <a:gd name="connsiteY27" fmla="*/ 8740 h 10000"/>
                <a:gd name="connsiteX28" fmla="*/ 7719 w 10000"/>
                <a:gd name="connsiteY28" fmla="*/ 9185 h 10000"/>
                <a:gd name="connsiteX29" fmla="*/ 7258 w 10000"/>
                <a:gd name="connsiteY29" fmla="*/ 9607 h 10000"/>
                <a:gd name="connsiteX30" fmla="*/ 6765 w 10000"/>
                <a:gd name="connsiteY30" fmla="*/ 10000 h 10000"/>
                <a:gd name="connsiteX31" fmla="*/ 6560 w 10000"/>
                <a:gd name="connsiteY31" fmla="*/ 9861 h 10000"/>
                <a:gd name="connsiteX32" fmla="*/ 6329 w 10000"/>
                <a:gd name="connsiteY32" fmla="*/ 9746 h 10000"/>
                <a:gd name="connsiteX33" fmla="*/ 6054 w 10000"/>
                <a:gd name="connsiteY33" fmla="*/ 9647 h 10000"/>
                <a:gd name="connsiteX34" fmla="*/ 5772 w 10000"/>
                <a:gd name="connsiteY34" fmla="*/ 9578 h 10000"/>
                <a:gd name="connsiteX35" fmla="*/ 5496 w 10000"/>
                <a:gd name="connsiteY35" fmla="*/ 9543 h 10000"/>
                <a:gd name="connsiteX36" fmla="*/ 5215 w 10000"/>
                <a:gd name="connsiteY36" fmla="*/ 9543 h 10000"/>
                <a:gd name="connsiteX37" fmla="*/ 4933 w 10000"/>
                <a:gd name="connsiteY37" fmla="*/ 9584 h 10000"/>
                <a:gd name="connsiteX38" fmla="*/ 4664 w 10000"/>
                <a:gd name="connsiteY38" fmla="*/ 9647 h 10000"/>
                <a:gd name="connsiteX39" fmla="*/ 4407 w 10000"/>
                <a:gd name="connsiteY39" fmla="*/ 9740 h 10000"/>
                <a:gd name="connsiteX40" fmla="*/ 4164 w 10000"/>
                <a:gd name="connsiteY40" fmla="*/ 9867 h 10000"/>
                <a:gd name="connsiteX41" fmla="*/ 3895 w 10000"/>
                <a:gd name="connsiteY41" fmla="*/ 9613 h 10000"/>
                <a:gd name="connsiteX42" fmla="*/ 3357 w 10000"/>
                <a:gd name="connsiteY42" fmla="*/ 9075 h 10000"/>
                <a:gd name="connsiteX43" fmla="*/ 2851 w 10000"/>
                <a:gd name="connsiteY43" fmla="*/ 8526 h 10000"/>
                <a:gd name="connsiteX44" fmla="*/ 2383 w 10000"/>
                <a:gd name="connsiteY44" fmla="*/ 7954 h 10000"/>
                <a:gd name="connsiteX45" fmla="*/ 1947 w 10000"/>
                <a:gd name="connsiteY45" fmla="*/ 7370 h 10000"/>
                <a:gd name="connsiteX46" fmla="*/ 1537 w 10000"/>
                <a:gd name="connsiteY46" fmla="*/ 6775 h 10000"/>
                <a:gd name="connsiteX47" fmla="*/ 1166 w 10000"/>
                <a:gd name="connsiteY47" fmla="*/ 6168 h 10000"/>
                <a:gd name="connsiteX48" fmla="*/ 826 w 10000"/>
                <a:gd name="connsiteY48" fmla="*/ 5549 h 10000"/>
                <a:gd name="connsiteX49" fmla="*/ 519 w 10000"/>
                <a:gd name="connsiteY49" fmla="*/ 4919 h 10000"/>
                <a:gd name="connsiteX50" fmla="*/ 243 w 10000"/>
                <a:gd name="connsiteY50" fmla="*/ 4277 h 10000"/>
                <a:gd name="connsiteX51" fmla="*/ 0 w 10000"/>
                <a:gd name="connsiteY51" fmla="*/ 3624 h 10000"/>
                <a:gd name="connsiteX52" fmla="*/ 218 w 10000"/>
                <a:gd name="connsiteY52" fmla="*/ 3503 h 10000"/>
                <a:gd name="connsiteX53" fmla="*/ 423 w 10000"/>
                <a:gd name="connsiteY53" fmla="*/ 3353 h 10000"/>
                <a:gd name="connsiteX54" fmla="*/ 602 w 10000"/>
                <a:gd name="connsiteY54" fmla="*/ 3179 h 10000"/>
                <a:gd name="connsiteX55" fmla="*/ 769 w 10000"/>
                <a:gd name="connsiteY55" fmla="*/ 2994 h 10000"/>
                <a:gd name="connsiteX56" fmla="*/ 897 w 10000"/>
                <a:gd name="connsiteY56" fmla="*/ 2775 h 10000"/>
                <a:gd name="connsiteX57" fmla="*/ 1006 w 10000"/>
                <a:gd name="connsiteY57" fmla="*/ 2555 h 10000"/>
                <a:gd name="connsiteX58" fmla="*/ 1076 w 10000"/>
                <a:gd name="connsiteY58" fmla="*/ 2335 h 10000"/>
                <a:gd name="connsiteX59" fmla="*/ 1115 w 10000"/>
                <a:gd name="connsiteY59" fmla="*/ 2104 h 10000"/>
                <a:gd name="connsiteX60" fmla="*/ 1121 w 10000"/>
                <a:gd name="connsiteY60" fmla="*/ 1884 h 10000"/>
                <a:gd name="connsiteX61" fmla="*/ 1108 w 10000"/>
                <a:gd name="connsiteY61" fmla="*/ 1653 h 10000"/>
                <a:gd name="connsiteX62" fmla="*/ 1063 w 10000"/>
                <a:gd name="connsiteY62" fmla="*/ 1434 h 10000"/>
                <a:gd name="connsiteX63" fmla="*/ 1698 w 10000"/>
                <a:gd name="connsiteY63" fmla="*/ 1162 h 10000"/>
                <a:gd name="connsiteX64" fmla="*/ 2370 w 10000"/>
                <a:gd name="connsiteY64" fmla="*/ 902 h 10000"/>
                <a:gd name="connsiteX65" fmla="*/ 3062 w 10000"/>
                <a:gd name="connsiteY65" fmla="*/ 653 h 10000"/>
                <a:gd name="connsiteX66" fmla="*/ 3780 w 10000"/>
                <a:gd name="connsiteY66" fmla="*/ 416 h 10000"/>
                <a:gd name="connsiteX67" fmla="*/ 4523 w 10000"/>
                <a:gd name="connsiteY67" fmla="*/ 202 h 10000"/>
                <a:gd name="connsiteX68" fmla="*/ 5298 w 10000"/>
                <a:gd name="connsiteY68" fmla="*/ 0 h 10000"/>
                <a:gd name="connsiteX0" fmla="*/ 5298 w 10000"/>
                <a:gd name="connsiteY0" fmla="*/ 0 h 10000"/>
                <a:gd name="connsiteX1" fmla="*/ 5106 w 10000"/>
                <a:gd name="connsiteY1" fmla="*/ 277 h 10000"/>
                <a:gd name="connsiteX2" fmla="*/ 4939 w 10000"/>
                <a:gd name="connsiteY2" fmla="*/ 578 h 10000"/>
                <a:gd name="connsiteX3" fmla="*/ 4805 w 10000"/>
                <a:gd name="connsiteY3" fmla="*/ 890 h 10000"/>
                <a:gd name="connsiteX4" fmla="*/ 4696 w 10000"/>
                <a:gd name="connsiteY4" fmla="*/ 1208 h 10000"/>
                <a:gd name="connsiteX5" fmla="*/ 4619 w 10000"/>
                <a:gd name="connsiteY5" fmla="*/ 1538 h 10000"/>
                <a:gd name="connsiteX6" fmla="*/ 4568 w 10000"/>
                <a:gd name="connsiteY6" fmla="*/ 1884 h 10000"/>
                <a:gd name="connsiteX7" fmla="*/ 4548 w 10000"/>
                <a:gd name="connsiteY7" fmla="*/ 2237 h 10000"/>
                <a:gd name="connsiteX8" fmla="*/ 5464 w 10000"/>
                <a:gd name="connsiteY8" fmla="*/ 4682 h 10000"/>
                <a:gd name="connsiteX9" fmla="*/ 5727 w 10000"/>
                <a:gd name="connsiteY9" fmla="*/ 4965 h 10000"/>
                <a:gd name="connsiteX10" fmla="*/ 6009 w 10000"/>
                <a:gd name="connsiteY10" fmla="*/ 5220 h 10000"/>
                <a:gd name="connsiteX11" fmla="*/ 6323 w 10000"/>
                <a:gd name="connsiteY11" fmla="*/ 5457 h 10000"/>
                <a:gd name="connsiteX12" fmla="*/ 6656 w 10000"/>
                <a:gd name="connsiteY12" fmla="*/ 5665 h 10000"/>
                <a:gd name="connsiteX13" fmla="*/ 7008 w 10000"/>
                <a:gd name="connsiteY13" fmla="*/ 5850 h 10000"/>
                <a:gd name="connsiteX14" fmla="*/ 7386 w 10000"/>
                <a:gd name="connsiteY14" fmla="*/ 6000 h 10000"/>
                <a:gd name="connsiteX15" fmla="*/ 7777 w 10000"/>
                <a:gd name="connsiteY15" fmla="*/ 6121 h 10000"/>
                <a:gd name="connsiteX16" fmla="*/ 8187 w 10000"/>
                <a:gd name="connsiteY16" fmla="*/ 6214 h 10000"/>
                <a:gd name="connsiteX17" fmla="*/ 8603 w 10000"/>
                <a:gd name="connsiteY17" fmla="*/ 6260 h 10000"/>
                <a:gd name="connsiteX18" fmla="*/ 9033 w 10000"/>
                <a:gd name="connsiteY18" fmla="*/ 6283 h 10000"/>
                <a:gd name="connsiteX19" fmla="*/ 9366 w 10000"/>
                <a:gd name="connsiteY19" fmla="*/ 6272 h 10000"/>
                <a:gd name="connsiteX20" fmla="*/ 9680 w 10000"/>
                <a:gd name="connsiteY20" fmla="*/ 6243 h 10000"/>
                <a:gd name="connsiteX21" fmla="*/ 10000 w 10000"/>
                <a:gd name="connsiteY21" fmla="*/ 6185 h 10000"/>
                <a:gd name="connsiteX22" fmla="*/ 9680 w 10000"/>
                <a:gd name="connsiteY22" fmla="*/ 6746 h 10000"/>
                <a:gd name="connsiteX23" fmla="*/ 9334 w 10000"/>
                <a:gd name="connsiteY23" fmla="*/ 7277 h 10000"/>
                <a:gd name="connsiteX24" fmla="*/ 8969 w 10000"/>
                <a:gd name="connsiteY24" fmla="*/ 7780 h 10000"/>
                <a:gd name="connsiteX25" fmla="*/ 8578 w 10000"/>
                <a:gd name="connsiteY25" fmla="*/ 8272 h 10000"/>
                <a:gd name="connsiteX26" fmla="*/ 8161 w 10000"/>
                <a:gd name="connsiteY26" fmla="*/ 8740 h 10000"/>
                <a:gd name="connsiteX27" fmla="*/ 7719 w 10000"/>
                <a:gd name="connsiteY27" fmla="*/ 9185 h 10000"/>
                <a:gd name="connsiteX28" fmla="*/ 7258 w 10000"/>
                <a:gd name="connsiteY28" fmla="*/ 9607 h 10000"/>
                <a:gd name="connsiteX29" fmla="*/ 6765 w 10000"/>
                <a:gd name="connsiteY29" fmla="*/ 10000 h 10000"/>
                <a:gd name="connsiteX30" fmla="*/ 6560 w 10000"/>
                <a:gd name="connsiteY30" fmla="*/ 9861 h 10000"/>
                <a:gd name="connsiteX31" fmla="*/ 6329 w 10000"/>
                <a:gd name="connsiteY31" fmla="*/ 9746 h 10000"/>
                <a:gd name="connsiteX32" fmla="*/ 6054 w 10000"/>
                <a:gd name="connsiteY32" fmla="*/ 9647 h 10000"/>
                <a:gd name="connsiteX33" fmla="*/ 5772 w 10000"/>
                <a:gd name="connsiteY33" fmla="*/ 9578 h 10000"/>
                <a:gd name="connsiteX34" fmla="*/ 5496 w 10000"/>
                <a:gd name="connsiteY34" fmla="*/ 9543 h 10000"/>
                <a:gd name="connsiteX35" fmla="*/ 5215 w 10000"/>
                <a:gd name="connsiteY35" fmla="*/ 9543 h 10000"/>
                <a:gd name="connsiteX36" fmla="*/ 4933 w 10000"/>
                <a:gd name="connsiteY36" fmla="*/ 9584 h 10000"/>
                <a:gd name="connsiteX37" fmla="*/ 4664 w 10000"/>
                <a:gd name="connsiteY37" fmla="*/ 9647 h 10000"/>
                <a:gd name="connsiteX38" fmla="*/ 4407 w 10000"/>
                <a:gd name="connsiteY38" fmla="*/ 9740 h 10000"/>
                <a:gd name="connsiteX39" fmla="*/ 4164 w 10000"/>
                <a:gd name="connsiteY39" fmla="*/ 9867 h 10000"/>
                <a:gd name="connsiteX40" fmla="*/ 3895 w 10000"/>
                <a:gd name="connsiteY40" fmla="*/ 9613 h 10000"/>
                <a:gd name="connsiteX41" fmla="*/ 3357 w 10000"/>
                <a:gd name="connsiteY41" fmla="*/ 9075 h 10000"/>
                <a:gd name="connsiteX42" fmla="*/ 2851 w 10000"/>
                <a:gd name="connsiteY42" fmla="*/ 8526 h 10000"/>
                <a:gd name="connsiteX43" fmla="*/ 2383 w 10000"/>
                <a:gd name="connsiteY43" fmla="*/ 7954 h 10000"/>
                <a:gd name="connsiteX44" fmla="*/ 1947 w 10000"/>
                <a:gd name="connsiteY44" fmla="*/ 7370 h 10000"/>
                <a:gd name="connsiteX45" fmla="*/ 1537 w 10000"/>
                <a:gd name="connsiteY45" fmla="*/ 6775 h 10000"/>
                <a:gd name="connsiteX46" fmla="*/ 1166 w 10000"/>
                <a:gd name="connsiteY46" fmla="*/ 6168 h 10000"/>
                <a:gd name="connsiteX47" fmla="*/ 826 w 10000"/>
                <a:gd name="connsiteY47" fmla="*/ 5549 h 10000"/>
                <a:gd name="connsiteX48" fmla="*/ 519 w 10000"/>
                <a:gd name="connsiteY48" fmla="*/ 4919 h 10000"/>
                <a:gd name="connsiteX49" fmla="*/ 243 w 10000"/>
                <a:gd name="connsiteY49" fmla="*/ 4277 h 10000"/>
                <a:gd name="connsiteX50" fmla="*/ 0 w 10000"/>
                <a:gd name="connsiteY50" fmla="*/ 3624 h 10000"/>
                <a:gd name="connsiteX51" fmla="*/ 218 w 10000"/>
                <a:gd name="connsiteY51" fmla="*/ 3503 h 10000"/>
                <a:gd name="connsiteX52" fmla="*/ 423 w 10000"/>
                <a:gd name="connsiteY52" fmla="*/ 3353 h 10000"/>
                <a:gd name="connsiteX53" fmla="*/ 602 w 10000"/>
                <a:gd name="connsiteY53" fmla="*/ 3179 h 10000"/>
                <a:gd name="connsiteX54" fmla="*/ 769 w 10000"/>
                <a:gd name="connsiteY54" fmla="*/ 2994 h 10000"/>
                <a:gd name="connsiteX55" fmla="*/ 897 w 10000"/>
                <a:gd name="connsiteY55" fmla="*/ 2775 h 10000"/>
                <a:gd name="connsiteX56" fmla="*/ 1006 w 10000"/>
                <a:gd name="connsiteY56" fmla="*/ 2555 h 10000"/>
                <a:gd name="connsiteX57" fmla="*/ 1076 w 10000"/>
                <a:gd name="connsiteY57" fmla="*/ 2335 h 10000"/>
                <a:gd name="connsiteX58" fmla="*/ 1115 w 10000"/>
                <a:gd name="connsiteY58" fmla="*/ 2104 h 10000"/>
                <a:gd name="connsiteX59" fmla="*/ 1121 w 10000"/>
                <a:gd name="connsiteY59" fmla="*/ 1884 h 10000"/>
                <a:gd name="connsiteX60" fmla="*/ 1108 w 10000"/>
                <a:gd name="connsiteY60" fmla="*/ 1653 h 10000"/>
                <a:gd name="connsiteX61" fmla="*/ 1063 w 10000"/>
                <a:gd name="connsiteY61" fmla="*/ 1434 h 10000"/>
                <a:gd name="connsiteX62" fmla="*/ 1698 w 10000"/>
                <a:gd name="connsiteY62" fmla="*/ 1162 h 10000"/>
                <a:gd name="connsiteX63" fmla="*/ 2370 w 10000"/>
                <a:gd name="connsiteY63" fmla="*/ 902 h 10000"/>
                <a:gd name="connsiteX64" fmla="*/ 3062 w 10000"/>
                <a:gd name="connsiteY64" fmla="*/ 653 h 10000"/>
                <a:gd name="connsiteX65" fmla="*/ 3780 w 10000"/>
                <a:gd name="connsiteY65" fmla="*/ 416 h 10000"/>
                <a:gd name="connsiteX66" fmla="*/ 4523 w 10000"/>
                <a:gd name="connsiteY66" fmla="*/ 202 h 10000"/>
                <a:gd name="connsiteX67" fmla="*/ 5298 w 10000"/>
                <a:gd name="connsiteY67" fmla="*/ 0 h 10000"/>
                <a:gd name="connsiteX0" fmla="*/ 5298 w 10000"/>
                <a:gd name="connsiteY0" fmla="*/ 0 h 10000"/>
                <a:gd name="connsiteX1" fmla="*/ 5106 w 10000"/>
                <a:gd name="connsiteY1" fmla="*/ 277 h 10000"/>
                <a:gd name="connsiteX2" fmla="*/ 4939 w 10000"/>
                <a:gd name="connsiteY2" fmla="*/ 578 h 10000"/>
                <a:gd name="connsiteX3" fmla="*/ 4805 w 10000"/>
                <a:gd name="connsiteY3" fmla="*/ 890 h 10000"/>
                <a:gd name="connsiteX4" fmla="*/ 4696 w 10000"/>
                <a:gd name="connsiteY4" fmla="*/ 1208 h 10000"/>
                <a:gd name="connsiteX5" fmla="*/ 4619 w 10000"/>
                <a:gd name="connsiteY5" fmla="*/ 1538 h 10000"/>
                <a:gd name="connsiteX6" fmla="*/ 4568 w 10000"/>
                <a:gd name="connsiteY6" fmla="*/ 1884 h 10000"/>
                <a:gd name="connsiteX7" fmla="*/ 5464 w 10000"/>
                <a:gd name="connsiteY7" fmla="*/ 4682 h 10000"/>
                <a:gd name="connsiteX8" fmla="*/ 5727 w 10000"/>
                <a:gd name="connsiteY8" fmla="*/ 4965 h 10000"/>
                <a:gd name="connsiteX9" fmla="*/ 6009 w 10000"/>
                <a:gd name="connsiteY9" fmla="*/ 5220 h 10000"/>
                <a:gd name="connsiteX10" fmla="*/ 6323 w 10000"/>
                <a:gd name="connsiteY10" fmla="*/ 5457 h 10000"/>
                <a:gd name="connsiteX11" fmla="*/ 6656 w 10000"/>
                <a:gd name="connsiteY11" fmla="*/ 5665 h 10000"/>
                <a:gd name="connsiteX12" fmla="*/ 7008 w 10000"/>
                <a:gd name="connsiteY12" fmla="*/ 5850 h 10000"/>
                <a:gd name="connsiteX13" fmla="*/ 7386 w 10000"/>
                <a:gd name="connsiteY13" fmla="*/ 6000 h 10000"/>
                <a:gd name="connsiteX14" fmla="*/ 7777 w 10000"/>
                <a:gd name="connsiteY14" fmla="*/ 6121 h 10000"/>
                <a:gd name="connsiteX15" fmla="*/ 8187 w 10000"/>
                <a:gd name="connsiteY15" fmla="*/ 6214 h 10000"/>
                <a:gd name="connsiteX16" fmla="*/ 8603 w 10000"/>
                <a:gd name="connsiteY16" fmla="*/ 6260 h 10000"/>
                <a:gd name="connsiteX17" fmla="*/ 9033 w 10000"/>
                <a:gd name="connsiteY17" fmla="*/ 6283 h 10000"/>
                <a:gd name="connsiteX18" fmla="*/ 9366 w 10000"/>
                <a:gd name="connsiteY18" fmla="*/ 6272 h 10000"/>
                <a:gd name="connsiteX19" fmla="*/ 9680 w 10000"/>
                <a:gd name="connsiteY19" fmla="*/ 6243 h 10000"/>
                <a:gd name="connsiteX20" fmla="*/ 10000 w 10000"/>
                <a:gd name="connsiteY20" fmla="*/ 6185 h 10000"/>
                <a:gd name="connsiteX21" fmla="*/ 9680 w 10000"/>
                <a:gd name="connsiteY21" fmla="*/ 6746 h 10000"/>
                <a:gd name="connsiteX22" fmla="*/ 9334 w 10000"/>
                <a:gd name="connsiteY22" fmla="*/ 7277 h 10000"/>
                <a:gd name="connsiteX23" fmla="*/ 8969 w 10000"/>
                <a:gd name="connsiteY23" fmla="*/ 7780 h 10000"/>
                <a:gd name="connsiteX24" fmla="*/ 8578 w 10000"/>
                <a:gd name="connsiteY24" fmla="*/ 8272 h 10000"/>
                <a:gd name="connsiteX25" fmla="*/ 8161 w 10000"/>
                <a:gd name="connsiteY25" fmla="*/ 8740 h 10000"/>
                <a:gd name="connsiteX26" fmla="*/ 7719 w 10000"/>
                <a:gd name="connsiteY26" fmla="*/ 9185 h 10000"/>
                <a:gd name="connsiteX27" fmla="*/ 7258 w 10000"/>
                <a:gd name="connsiteY27" fmla="*/ 9607 h 10000"/>
                <a:gd name="connsiteX28" fmla="*/ 6765 w 10000"/>
                <a:gd name="connsiteY28" fmla="*/ 10000 h 10000"/>
                <a:gd name="connsiteX29" fmla="*/ 6560 w 10000"/>
                <a:gd name="connsiteY29" fmla="*/ 9861 h 10000"/>
                <a:gd name="connsiteX30" fmla="*/ 6329 w 10000"/>
                <a:gd name="connsiteY30" fmla="*/ 9746 h 10000"/>
                <a:gd name="connsiteX31" fmla="*/ 6054 w 10000"/>
                <a:gd name="connsiteY31" fmla="*/ 9647 h 10000"/>
                <a:gd name="connsiteX32" fmla="*/ 5772 w 10000"/>
                <a:gd name="connsiteY32" fmla="*/ 9578 h 10000"/>
                <a:gd name="connsiteX33" fmla="*/ 5496 w 10000"/>
                <a:gd name="connsiteY33" fmla="*/ 9543 h 10000"/>
                <a:gd name="connsiteX34" fmla="*/ 5215 w 10000"/>
                <a:gd name="connsiteY34" fmla="*/ 9543 h 10000"/>
                <a:gd name="connsiteX35" fmla="*/ 4933 w 10000"/>
                <a:gd name="connsiteY35" fmla="*/ 9584 h 10000"/>
                <a:gd name="connsiteX36" fmla="*/ 4664 w 10000"/>
                <a:gd name="connsiteY36" fmla="*/ 9647 h 10000"/>
                <a:gd name="connsiteX37" fmla="*/ 4407 w 10000"/>
                <a:gd name="connsiteY37" fmla="*/ 9740 h 10000"/>
                <a:gd name="connsiteX38" fmla="*/ 4164 w 10000"/>
                <a:gd name="connsiteY38" fmla="*/ 9867 h 10000"/>
                <a:gd name="connsiteX39" fmla="*/ 3895 w 10000"/>
                <a:gd name="connsiteY39" fmla="*/ 9613 h 10000"/>
                <a:gd name="connsiteX40" fmla="*/ 3357 w 10000"/>
                <a:gd name="connsiteY40" fmla="*/ 9075 h 10000"/>
                <a:gd name="connsiteX41" fmla="*/ 2851 w 10000"/>
                <a:gd name="connsiteY41" fmla="*/ 8526 h 10000"/>
                <a:gd name="connsiteX42" fmla="*/ 2383 w 10000"/>
                <a:gd name="connsiteY42" fmla="*/ 7954 h 10000"/>
                <a:gd name="connsiteX43" fmla="*/ 1947 w 10000"/>
                <a:gd name="connsiteY43" fmla="*/ 7370 h 10000"/>
                <a:gd name="connsiteX44" fmla="*/ 1537 w 10000"/>
                <a:gd name="connsiteY44" fmla="*/ 6775 h 10000"/>
                <a:gd name="connsiteX45" fmla="*/ 1166 w 10000"/>
                <a:gd name="connsiteY45" fmla="*/ 6168 h 10000"/>
                <a:gd name="connsiteX46" fmla="*/ 826 w 10000"/>
                <a:gd name="connsiteY46" fmla="*/ 5549 h 10000"/>
                <a:gd name="connsiteX47" fmla="*/ 519 w 10000"/>
                <a:gd name="connsiteY47" fmla="*/ 4919 h 10000"/>
                <a:gd name="connsiteX48" fmla="*/ 243 w 10000"/>
                <a:gd name="connsiteY48" fmla="*/ 4277 h 10000"/>
                <a:gd name="connsiteX49" fmla="*/ 0 w 10000"/>
                <a:gd name="connsiteY49" fmla="*/ 3624 h 10000"/>
                <a:gd name="connsiteX50" fmla="*/ 218 w 10000"/>
                <a:gd name="connsiteY50" fmla="*/ 3503 h 10000"/>
                <a:gd name="connsiteX51" fmla="*/ 423 w 10000"/>
                <a:gd name="connsiteY51" fmla="*/ 3353 h 10000"/>
                <a:gd name="connsiteX52" fmla="*/ 602 w 10000"/>
                <a:gd name="connsiteY52" fmla="*/ 3179 h 10000"/>
                <a:gd name="connsiteX53" fmla="*/ 769 w 10000"/>
                <a:gd name="connsiteY53" fmla="*/ 2994 h 10000"/>
                <a:gd name="connsiteX54" fmla="*/ 897 w 10000"/>
                <a:gd name="connsiteY54" fmla="*/ 2775 h 10000"/>
                <a:gd name="connsiteX55" fmla="*/ 1006 w 10000"/>
                <a:gd name="connsiteY55" fmla="*/ 2555 h 10000"/>
                <a:gd name="connsiteX56" fmla="*/ 1076 w 10000"/>
                <a:gd name="connsiteY56" fmla="*/ 2335 h 10000"/>
                <a:gd name="connsiteX57" fmla="*/ 1115 w 10000"/>
                <a:gd name="connsiteY57" fmla="*/ 2104 h 10000"/>
                <a:gd name="connsiteX58" fmla="*/ 1121 w 10000"/>
                <a:gd name="connsiteY58" fmla="*/ 1884 h 10000"/>
                <a:gd name="connsiteX59" fmla="*/ 1108 w 10000"/>
                <a:gd name="connsiteY59" fmla="*/ 1653 h 10000"/>
                <a:gd name="connsiteX60" fmla="*/ 1063 w 10000"/>
                <a:gd name="connsiteY60" fmla="*/ 1434 h 10000"/>
                <a:gd name="connsiteX61" fmla="*/ 1698 w 10000"/>
                <a:gd name="connsiteY61" fmla="*/ 1162 h 10000"/>
                <a:gd name="connsiteX62" fmla="*/ 2370 w 10000"/>
                <a:gd name="connsiteY62" fmla="*/ 902 h 10000"/>
                <a:gd name="connsiteX63" fmla="*/ 3062 w 10000"/>
                <a:gd name="connsiteY63" fmla="*/ 653 h 10000"/>
                <a:gd name="connsiteX64" fmla="*/ 3780 w 10000"/>
                <a:gd name="connsiteY64" fmla="*/ 416 h 10000"/>
                <a:gd name="connsiteX65" fmla="*/ 4523 w 10000"/>
                <a:gd name="connsiteY65" fmla="*/ 202 h 10000"/>
                <a:gd name="connsiteX66" fmla="*/ 5298 w 10000"/>
                <a:gd name="connsiteY66" fmla="*/ 0 h 10000"/>
                <a:gd name="connsiteX0" fmla="*/ 5298 w 10000"/>
                <a:gd name="connsiteY0" fmla="*/ 0 h 10000"/>
                <a:gd name="connsiteX1" fmla="*/ 5106 w 10000"/>
                <a:gd name="connsiteY1" fmla="*/ 277 h 10000"/>
                <a:gd name="connsiteX2" fmla="*/ 4939 w 10000"/>
                <a:gd name="connsiteY2" fmla="*/ 578 h 10000"/>
                <a:gd name="connsiteX3" fmla="*/ 4805 w 10000"/>
                <a:gd name="connsiteY3" fmla="*/ 890 h 10000"/>
                <a:gd name="connsiteX4" fmla="*/ 4696 w 10000"/>
                <a:gd name="connsiteY4" fmla="*/ 1208 h 10000"/>
                <a:gd name="connsiteX5" fmla="*/ 4619 w 10000"/>
                <a:gd name="connsiteY5" fmla="*/ 1538 h 10000"/>
                <a:gd name="connsiteX6" fmla="*/ 5464 w 10000"/>
                <a:gd name="connsiteY6" fmla="*/ 4682 h 10000"/>
                <a:gd name="connsiteX7" fmla="*/ 5727 w 10000"/>
                <a:gd name="connsiteY7" fmla="*/ 4965 h 10000"/>
                <a:gd name="connsiteX8" fmla="*/ 6009 w 10000"/>
                <a:gd name="connsiteY8" fmla="*/ 5220 h 10000"/>
                <a:gd name="connsiteX9" fmla="*/ 6323 w 10000"/>
                <a:gd name="connsiteY9" fmla="*/ 5457 h 10000"/>
                <a:gd name="connsiteX10" fmla="*/ 6656 w 10000"/>
                <a:gd name="connsiteY10" fmla="*/ 5665 h 10000"/>
                <a:gd name="connsiteX11" fmla="*/ 7008 w 10000"/>
                <a:gd name="connsiteY11" fmla="*/ 5850 h 10000"/>
                <a:gd name="connsiteX12" fmla="*/ 7386 w 10000"/>
                <a:gd name="connsiteY12" fmla="*/ 6000 h 10000"/>
                <a:gd name="connsiteX13" fmla="*/ 7777 w 10000"/>
                <a:gd name="connsiteY13" fmla="*/ 6121 h 10000"/>
                <a:gd name="connsiteX14" fmla="*/ 8187 w 10000"/>
                <a:gd name="connsiteY14" fmla="*/ 6214 h 10000"/>
                <a:gd name="connsiteX15" fmla="*/ 8603 w 10000"/>
                <a:gd name="connsiteY15" fmla="*/ 6260 h 10000"/>
                <a:gd name="connsiteX16" fmla="*/ 9033 w 10000"/>
                <a:gd name="connsiteY16" fmla="*/ 6283 h 10000"/>
                <a:gd name="connsiteX17" fmla="*/ 9366 w 10000"/>
                <a:gd name="connsiteY17" fmla="*/ 6272 h 10000"/>
                <a:gd name="connsiteX18" fmla="*/ 9680 w 10000"/>
                <a:gd name="connsiteY18" fmla="*/ 6243 h 10000"/>
                <a:gd name="connsiteX19" fmla="*/ 10000 w 10000"/>
                <a:gd name="connsiteY19" fmla="*/ 6185 h 10000"/>
                <a:gd name="connsiteX20" fmla="*/ 9680 w 10000"/>
                <a:gd name="connsiteY20" fmla="*/ 6746 h 10000"/>
                <a:gd name="connsiteX21" fmla="*/ 9334 w 10000"/>
                <a:gd name="connsiteY21" fmla="*/ 7277 h 10000"/>
                <a:gd name="connsiteX22" fmla="*/ 8969 w 10000"/>
                <a:gd name="connsiteY22" fmla="*/ 7780 h 10000"/>
                <a:gd name="connsiteX23" fmla="*/ 8578 w 10000"/>
                <a:gd name="connsiteY23" fmla="*/ 8272 h 10000"/>
                <a:gd name="connsiteX24" fmla="*/ 8161 w 10000"/>
                <a:gd name="connsiteY24" fmla="*/ 8740 h 10000"/>
                <a:gd name="connsiteX25" fmla="*/ 7719 w 10000"/>
                <a:gd name="connsiteY25" fmla="*/ 9185 h 10000"/>
                <a:gd name="connsiteX26" fmla="*/ 7258 w 10000"/>
                <a:gd name="connsiteY26" fmla="*/ 9607 h 10000"/>
                <a:gd name="connsiteX27" fmla="*/ 6765 w 10000"/>
                <a:gd name="connsiteY27" fmla="*/ 10000 h 10000"/>
                <a:gd name="connsiteX28" fmla="*/ 6560 w 10000"/>
                <a:gd name="connsiteY28" fmla="*/ 9861 h 10000"/>
                <a:gd name="connsiteX29" fmla="*/ 6329 w 10000"/>
                <a:gd name="connsiteY29" fmla="*/ 9746 h 10000"/>
                <a:gd name="connsiteX30" fmla="*/ 6054 w 10000"/>
                <a:gd name="connsiteY30" fmla="*/ 9647 h 10000"/>
                <a:gd name="connsiteX31" fmla="*/ 5772 w 10000"/>
                <a:gd name="connsiteY31" fmla="*/ 9578 h 10000"/>
                <a:gd name="connsiteX32" fmla="*/ 5496 w 10000"/>
                <a:gd name="connsiteY32" fmla="*/ 9543 h 10000"/>
                <a:gd name="connsiteX33" fmla="*/ 5215 w 10000"/>
                <a:gd name="connsiteY33" fmla="*/ 9543 h 10000"/>
                <a:gd name="connsiteX34" fmla="*/ 4933 w 10000"/>
                <a:gd name="connsiteY34" fmla="*/ 9584 h 10000"/>
                <a:gd name="connsiteX35" fmla="*/ 4664 w 10000"/>
                <a:gd name="connsiteY35" fmla="*/ 9647 h 10000"/>
                <a:gd name="connsiteX36" fmla="*/ 4407 w 10000"/>
                <a:gd name="connsiteY36" fmla="*/ 9740 h 10000"/>
                <a:gd name="connsiteX37" fmla="*/ 4164 w 10000"/>
                <a:gd name="connsiteY37" fmla="*/ 9867 h 10000"/>
                <a:gd name="connsiteX38" fmla="*/ 3895 w 10000"/>
                <a:gd name="connsiteY38" fmla="*/ 9613 h 10000"/>
                <a:gd name="connsiteX39" fmla="*/ 3357 w 10000"/>
                <a:gd name="connsiteY39" fmla="*/ 9075 h 10000"/>
                <a:gd name="connsiteX40" fmla="*/ 2851 w 10000"/>
                <a:gd name="connsiteY40" fmla="*/ 8526 h 10000"/>
                <a:gd name="connsiteX41" fmla="*/ 2383 w 10000"/>
                <a:gd name="connsiteY41" fmla="*/ 7954 h 10000"/>
                <a:gd name="connsiteX42" fmla="*/ 1947 w 10000"/>
                <a:gd name="connsiteY42" fmla="*/ 7370 h 10000"/>
                <a:gd name="connsiteX43" fmla="*/ 1537 w 10000"/>
                <a:gd name="connsiteY43" fmla="*/ 6775 h 10000"/>
                <a:gd name="connsiteX44" fmla="*/ 1166 w 10000"/>
                <a:gd name="connsiteY44" fmla="*/ 6168 h 10000"/>
                <a:gd name="connsiteX45" fmla="*/ 826 w 10000"/>
                <a:gd name="connsiteY45" fmla="*/ 5549 h 10000"/>
                <a:gd name="connsiteX46" fmla="*/ 519 w 10000"/>
                <a:gd name="connsiteY46" fmla="*/ 4919 h 10000"/>
                <a:gd name="connsiteX47" fmla="*/ 243 w 10000"/>
                <a:gd name="connsiteY47" fmla="*/ 4277 h 10000"/>
                <a:gd name="connsiteX48" fmla="*/ 0 w 10000"/>
                <a:gd name="connsiteY48" fmla="*/ 3624 h 10000"/>
                <a:gd name="connsiteX49" fmla="*/ 218 w 10000"/>
                <a:gd name="connsiteY49" fmla="*/ 3503 h 10000"/>
                <a:gd name="connsiteX50" fmla="*/ 423 w 10000"/>
                <a:gd name="connsiteY50" fmla="*/ 3353 h 10000"/>
                <a:gd name="connsiteX51" fmla="*/ 602 w 10000"/>
                <a:gd name="connsiteY51" fmla="*/ 3179 h 10000"/>
                <a:gd name="connsiteX52" fmla="*/ 769 w 10000"/>
                <a:gd name="connsiteY52" fmla="*/ 2994 h 10000"/>
                <a:gd name="connsiteX53" fmla="*/ 897 w 10000"/>
                <a:gd name="connsiteY53" fmla="*/ 2775 h 10000"/>
                <a:gd name="connsiteX54" fmla="*/ 1006 w 10000"/>
                <a:gd name="connsiteY54" fmla="*/ 2555 h 10000"/>
                <a:gd name="connsiteX55" fmla="*/ 1076 w 10000"/>
                <a:gd name="connsiteY55" fmla="*/ 2335 h 10000"/>
                <a:gd name="connsiteX56" fmla="*/ 1115 w 10000"/>
                <a:gd name="connsiteY56" fmla="*/ 2104 h 10000"/>
                <a:gd name="connsiteX57" fmla="*/ 1121 w 10000"/>
                <a:gd name="connsiteY57" fmla="*/ 1884 h 10000"/>
                <a:gd name="connsiteX58" fmla="*/ 1108 w 10000"/>
                <a:gd name="connsiteY58" fmla="*/ 1653 h 10000"/>
                <a:gd name="connsiteX59" fmla="*/ 1063 w 10000"/>
                <a:gd name="connsiteY59" fmla="*/ 1434 h 10000"/>
                <a:gd name="connsiteX60" fmla="*/ 1698 w 10000"/>
                <a:gd name="connsiteY60" fmla="*/ 1162 h 10000"/>
                <a:gd name="connsiteX61" fmla="*/ 2370 w 10000"/>
                <a:gd name="connsiteY61" fmla="*/ 902 h 10000"/>
                <a:gd name="connsiteX62" fmla="*/ 3062 w 10000"/>
                <a:gd name="connsiteY62" fmla="*/ 653 h 10000"/>
                <a:gd name="connsiteX63" fmla="*/ 3780 w 10000"/>
                <a:gd name="connsiteY63" fmla="*/ 416 h 10000"/>
                <a:gd name="connsiteX64" fmla="*/ 4523 w 10000"/>
                <a:gd name="connsiteY64" fmla="*/ 202 h 10000"/>
                <a:gd name="connsiteX65" fmla="*/ 5298 w 10000"/>
                <a:gd name="connsiteY65" fmla="*/ 0 h 10000"/>
                <a:gd name="connsiteX0" fmla="*/ 5298 w 10000"/>
                <a:gd name="connsiteY0" fmla="*/ 0 h 10000"/>
                <a:gd name="connsiteX1" fmla="*/ 5106 w 10000"/>
                <a:gd name="connsiteY1" fmla="*/ 277 h 10000"/>
                <a:gd name="connsiteX2" fmla="*/ 4939 w 10000"/>
                <a:gd name="connsiteY2" fmla="*/ 578 h 10000"/>
                <a:gd name="connsiteX3" fmla="*/ 4805 w 10000"/>
                <a:gd name="connsiteY3" fmla="*/ 890 h 10000"/>
                <a:gd name="connsiteX4" fmla="*/ 4696 w 10000"/>
                <a:gd name="connsiteY4" fmla="*/ 1208 h 10000"/>
                <a:gd name="connsiteX5" fmla="*/ 5464 w 10000"/>
                <a:gd name="connsiteY5" fmla="*/ 4682 h 10000"/>
                <a:gd name="connsiteX6" fmla="*/ 5727 w 10000"/>
                <a:gd name="connsiteY6" fmla="*/ 4965 h 10000"/>
                <a:gd name="connsiteX7" fmla="*/ 6009 w 10000"/>
                <a:gd name="connsiteY7" fmla="*/ 5220 h 10000"/>
                <a:gd name="connsiteX8" fmla="*/ 6323 w 10000"/>
                <a:gd name="connsiteY8" fmla="*/ 5457 h 10000"/>
                <a:gd name="connsiteX9" fmla="*/ 6656 w 10000"/>
                <a:gd name="connsiteY9" fmla="*/ 5665 h 10000"/>
                <a:gd name="connsiteX10" fmla="*/ 7008 w 10000"/>
                <a:gd name="connsiteY10" fmla="*/ 5850 h 10000"/>
                <a:gd name="connsiteX11" fmla="*/ 7386 w 10000"/>
                <a:gd name="connsiteY11" fmla="*/ 6000 h 10000"/>
                <a:gd name="connsiteX12" fmla="*/ 7777 w 10000"/>
                <a:gd name="connsiteY12" fmla="*/ 6121 h 10000"/>
                <a:gd name="connsiteX13" fmla="*/ 8187 w 10000"/>
                <a:gd name="connsiteY13" fmla="*/ 6214 h 10000"/>
                <a:gd name="connsiteX14" fmla="*/ 8603 w 10000"/>
                <a:gd name="connsiteY14" fmla="*/ 6260 h 10000"/>
                <a:gd name="connsiteX15" fmla="*/ 9033 w 10000"/>
                <a:gd name="connsiteY15" fmla="*/ 6283 h 10000"/>
                <a:gd name="connsiteX16" fmla="*/ 9366 w 10000"/>
                <a:gd name="connsiteY16" fmla="*/ 6272 h 10000"/>
                <a:gd name="connsiteX17" fmla="*/ 9680 w 10000"/>
                <a:gd name="connsiteY17" fmla="*/ 6243 h 10000"/>
                <a:gd name="connsiteX18" fmla="*/ 10000 w 10000"/>
                <a:gd name="connsiteY18" fmla="*/ 6185 h 10000"/>
                <a:gd name="connsiteX19" fmla="*/ 9680 w 10000"/>
                <a:gd name="connsiteY19" fmla="*/ 6746 h 10000"/>
                <a:gd name="connsiteX20" fmla="*/ 9334 w 10000"/>
                <a:gd name="connsiteY20" fmla="*/ 7277 h 10000"/>
                <a:gd name="connsiteX21" fmla="*/ 8969 w 10000"/>
                <a:gd name="connsiteY21" fmla="*/ 7780 h 10000"/>
                <a:gd name="connsiteX22" fmla="*/ 8578 w 10000"/>
                <a:gd name="connsiteY22" fmla="*/ 8272 h 10000"/>
                <a:gd name="connsiteX23" fmla="*/ 8161 w 10000"/>
                <a:gd name="connsiteY23" fmla="*/ 8740 h 10000"/>
                <a:gd name="connsiteX24" fmla="*/ 7719 w 10000"/>
                <a:gd name="connsiteY24" fmla="*/ 9185 h 10000"/>
                <a:gd name="connsiteX25" fmla="*/ 7258 w 10000"/>
                <a:gd name="connsiteY25" fmla="*/ 9607 h 10000"/>
                <a:gd name="connsiteX26" fmla="*/ 6765 w 10000"/>
                <a:gd name="connsiteY26" fmla="*/ 10000 h 10000"/>
                <a:gd name="connsiteX27" fmla="*/ 6560 w 10000"/>
                <a:gd name="connsiteY27" fmla="*/ 9861 h 10000"/>
                <a:gd name="connsiteX28" fmla="*/ 6329 w 10000"/>
                <a:gd name="connsiteY28" fmla="*/ 9746 h 10000"/>
                <a:gd name="connsiteX29" fmla="*/ 6054 w 10000"/>
                <a:gd name="connsiteY29" fmla="*/ 9647 h 10000"/>
                <a:gd name="connsiteX30" fmla="*/ 5772 w 10000"/>
                <a:gd name="connsiteY30" fmla="*/ 9578 h 10000"/>
                <a:gd name="connsiteX31" fmla="*/ 5496 w 10000"/>
                <a:gd name="connsiteY31" fmla="*/ 9543 h 10000"/>
                <a:gd name="connsiteX32" fmla="*/ 5215 w 10000"/>
                <a:gd name="connsiteY32" fmla="*/ 9543 h 10000"/>
                <a:gd name="connsiteX33" fmla="*/ 4933 w 10000"/>
                <a:gd name="connsiteY33" fmla="*/ 9584 h 10000"/>
                <a:gd name="connsiteX34" fmla="*/ 4664 w 10000"/>
                <a:gd name="connsiteY34" fmla="*/ 9647 h 10000"/>
                <a:gd name="connsiteX35" fmla="*/ 4407 w 10000"/>
                <a:gd name="connsiteY35" fmla="*/ 9740 h 10000"/>
                <a:gd name="connsiteX36" fmla="*/ 4164 w 10000"/>
                <a:gd name="connsiteY36" fmla="*/ 9867 h 10000"/>
                <a:gd name="connsiteX37" fmla="*/ 3895 w 10000"/>
                <a:gd name="connsiteY37" fmla="*/ 9613 h 10000"/>
                <a:gd name="connsiteX38" fmla="*/ 3357 w 10000"/>
                <a:gd name="connsiteY38" fmla="*/ 9075 h 10000"/>
                <a:gd name="connsiteX39" fmla="*/ 2851 w 10000"/>
                <a:gd name="connsiteY39" fmla="*/ 8526 h 10000"/>
                <a:gd name="connsiteX40" fmla="*/ 2383 w 10000"/>
                <a:gd name="connsiteY40" fmla="*/ 7954 h 10000"/>
                <a:gd name="connsiteX41" fmla="*/ 1947 w 10000"/>
                <a:gd name="connsiteY41" fmla="*/ 7370 h 10000"/>
                <a:gd name="connsiteX42" fmla="*/ 1537 w 10000"/>
                <a:gd name="connsiteY42" fmla="*/ 6775 h 10000"/>
                <a:gd name="connsiteX43" fmla="*/ 1166 w 10000"/>
                <a:gd name="connsiteY43" fmla="*/ 6168 h 10000"/>
                <a:gd name="connsiteX44" fmla="*/ 826 w 10000"/>
                <a:gd name="connsiteY44" fmla="*/ 5549 h 10000"/>
                <a:gd name="connsiteX45" fmla="*/ 519 w 10000"/>
                <a:gd name="connsiteY45" fmla="*/ 4919 h 10000"/>
                <a:gd name="connsiteX46" fmla="*/ 243 w 10000"/>
                <a:gd name="connsiteY46" fmla="*/ 4277 h 10000"/>
                <a:gd name="connsiteX47" fmla="*/ 0 w 10000"/>
                <a:gd name="connsiteY47" fmla="*/ 3624 h 10000"/>
                <a:gd name="connsiteX48" fmla="*/ 218 w 10000"/>
                <a:gd name="connsiteY48" fmla="*/ 3503 h 10000"/>
                <a:gd name="connsiteX49" fmla="*/ 423 w 10000"/>
                <a:gd name="connsiteY49" fmla="*/ 3353 h 10000"/>
                <a:gd name="connsiteX50" fmla="*/ 602 w 10000"/>
                <a:gd name="connsiteY50" fmla="*/ 3179 h 10000"/>
                <a:gd name="connsiteX51" fmla="*/ 769 w 10000"/>
                <a:gd name="connsiteY51" fmla="*/ 2994 h 10000"/>
                <a:gd name="connsiteX52" fmla="*/ 897 w 10000"/>
                <a:gd name="connsiteY52" fmla="*/ 2775 h 10000"/>
                <a:gd name="connsiteX53" fmla="*/ 1006 w 10000"/>
                <a:gd name="connsiteY53" fmla="*/ 2555 h 10000"/>
                <a:gd name="connsiteX54" fmla="*/ 1076 w 10000"/>
                <a:gd name="connsiteY54" fmla="*/ 2335 h 10000"/>
                <a:gd name="connsiteX55" fmla="*/ 1115 w 10000"/>
                <a:gd name="connsiteY55" fmla="*/ 2104 h 10000"/>
                <a:gd name="connsiteX56" fmla="*/ 1121 w 10000"/>
                <a:gd name="connsiteY56" fmla="*/ 1884 h 10000"/>
                <a:gd name="connsiteX57" fmla="*/ 1108 w 10000"/>
                <a:gd name="connsiteY57" fmla="*/ 1653 h 10000"/>
                <a:gd name="connsiteX58" fmla="*/ 1063 w 10000"/>
                <a:gd name="connsiteY58" fmla="*/ 1434 h 10000"/>
                <a:gd name="connsiteX59" fmla="*/ 1698 w 10000"/>
                <a:gd name="connsiteY59" fmla="*/ 1162 h 10000"/>
                <a:gd name="connsiteX60" fmla="*/ 2370 w 10000"/>
                <a:gd name="connsiteY60" fmla="*/ 902 h 10000"/>
                <a:gd name="connsiteX61" fmla="*/ 3062 w 10000"/>
                <a:gd name="connsiteY61" fmla="*/ 653 h 10000"/>
                <a:gd name="connsiteX62" fmla="*/ 3780 w 10000"/>
                <a:gd name="connsiteY62" fmla="*/ 416 h 10000"/>
                <a:gd name="connsiteX63" fmla="*/ 4523 w 10000"/>
                <a:gd name="connsiteY63" fmla="*/ 202 h 10000"/>
                <a:gd name="connsiteX64" fmla="*/ 5298 w 10000"/>
                <a:gd name="connsiteY64" fmla="*/ 0 h 10000"/>
                <a:gd name="connsiteX0" fmla="*/ 5298 w 10000"/>
                <a:gd name="connsiteY0" fmla="*/ 0 h 10000"/>
                <a:gd name="connsiteX1" fmla="*/ 5106 w 10000"/>
                <a:gd name="connsiteY1" fmla="*/ 277 h 10000"/>
                <a:gd name="connsiteX2" fmla="*/ 4939 w 10000"/>
                <a:gd name="connsiteY2" fmla="*/ 578 h 10000"/>
                <a:gd name="connsiteX3" fmla="*/ 4805 w 10000"/>
                <a:gd name="connsiteY3" fmla="*/ 890 h 10000"/>
                <a:gd name="connsiteX4" fmla="*/ 5464 w 10000"/>
                <a:gd name="connsiteY4" fmla="*/ 4682 h 10000"/>
                <a:gd name="connsiteX5" fmla="*/ 5727 w 10000"/>
                <a:gd name="connsiteY5" fmla="*/ 4965 h 10000"/>
                <a:gd name="connsiteX6" fmla="*/ 6009 w 10000"/>
                <a:gd name="connsiteY6" fmla="*/ 5220 h 10000"/>
                <a:gd name="connsiteX7" fmla="*/ 6323 w 10000"/>
                <a:gd name="connsiteY7" fmla="*/ 5457 h 10000"/>
                <a:gd name="connsiteX8" fmla="*/ 6656 w 10000"/>
                <a:gd name="connsiteY8" fmla="*/ 5665 h 10000"/>
                <a:gd name="connsiteX9" fmla="*/ 7008 w 10000"/>
                <a:gd name="connsiteY9" fmla="*/ 5850 h 10000"/>
                <a:gd name="connsiteX10" fmla="*/ 7386 w 10000"/>
                <a:gd name="connsiteY10" fmla="*/ 6000 h 10000"/>
                <a:gd name="connsiteX11" fmla="*/ 7777 w 10000"/>
                <a:gd name="connsiteY11" fmla="*/ 6121 h 10000"/>
                <a:gd name="connsiteX12" fmla="*/ 8187 w 10000"/>
                <a:gd name="connsiteY12" fmla="*/ 6214 h 10000"/>
                <a:gd name="connsiteX13" fmla="*/ 8603 w 10000"/>
                <a:gd name="connsiteY13" fmla="*/ 6260 h 10000"/>
                <a:gd name="connsiteX14" fmla="*/ 9033 w 10000"/>
                <a:gd name="connsiteY14" fmla="*/ 6283 h 10000"/>
                <a:gd name="connsiteX15" fmla="*/ 9366 w 10000"/>
                <a:gd name="connsiteY15" fmla="*/ 6272 h 10000"/>
                <a:gd name="connsiteX16" fmla="*/ 9680 w 10000"/>
                <a:gd name="connsiteY16" fmla="*/ 6243 h 10000"/>
                <a:gd name="connsiteX17" fmla="*/ 10000 w 10000"/>
                <a:gd name="connsiteY17" fmla="*/ 6185 h 10000"/>
                <a:gd name="connsiteX18" fmla="*/ 9680 w 10000"/>
                <a:gd name="connsiteY18" fmla="*/ 6746 h 10000"/>
                <a:gd name="connsiteX19" fmla="*/ 9334 w 10000"/>
                <a:gd name="connsiteY19" fmla="*/ 7277 h 10000"/>
                <a:gd name="connsiteX20" fmla="*/ 8969 w 10000"/>
                <a:gd name="connsiteY20" fmla="*/ 7780 h 10000"/>
                <a:gd name="connsiteX21" fmla="*/ 8578 w 10000"/>
                <a:gd name="connsiteY21" fmla="*/ 8272 h 10000"/>
                <a:gd name="connsiteX22" fmla="*/ 8161 w 10000"/>
                <a:gd name="connsiteY22" fmla="*/ 8740 h 10000"/>
                <a:gd name="connsiteX23" fmla="*/ 7719 w 10000"/>
                <a:gd name="connsiteY23" fmla="*/ 9185 h 10000"/>
                <a:gd name="connsiteX24" fmla="*/ 7258 w 10000"/>
                <a:gd name="connsiteY24" fmla="*/ 9607 h 10000"/>
                <a:gd name="connsiteX25" fmla="*/ 6765 w 10000"/>
                <a:gd name="connsiteY25" fmla="*/ 10000 h 10000"/>
                <a:gd name="connsiteX26" fmla="*/ 6560 w 10000"/>
                <a:gd name="connsiteY26" fmla="*/ 9861 h 10000"/>
                <a:gd name="connsiteX27" fmla="*/ 6329 w 10000"/>
                <a:gd name="connsiteY27" fmla="*/ 9746 h 10000"/>
                <a:gd name="connsiteX28" fmla="*/ 6054 w 10000"/>
                <a:gd name="connsiteY28" fmla="*/ 9647 h 10000"/>
                <a:gd name="connsiteX29" fmla="*/ 5772 w 10000"/>
                <a:gd name="connsiteY29" fmla="*/ 9578 h 10000"/>
                <a:gd name="connsiteX30" fmla="*/ 5496 w 10000"/>
                <a:gd name="connsiteY30" fmla="*/ 9543 h 10000"/>
                <a:gd name="connsiteX31" fmla="*/ 5215 w 10000"/>
                <a:gd name="connsiteY31" fmla="*/ 9543 h 10000"/>
                <a:gd name="connsiteX32" fmla="*/ 4933 w 10000"/>
                <a:gd name="connsiteY32" fmla="*/ 9584 h 10000"/>
                <a:gd name="connsiteX33" fmla="*/ 4664 w 10000"/>
                <a:gd name="connsiteY33" fmla="*/ 9647 h 10000"/>
                <a:gd name="connsiteX34" fmla="*/ 4407 w 10000"/>
                <a:gd name="connsiteY34" fmla="*/ 9740 h 10000"/>
                <a:gd name="connsiteX35" fmla="*/ 4164 w 10000"/>
                <a:gd name="connsiteY35" fmla="*/ 9867 h 10000"/>
                <a:gd name="connsiteX36" fmla="*/ 3895 w 10000"/>
                <a:gd name="connsiteY36" fmla="*/ 9613 h 10000"/>
                <a:gd name="connsiteX37" fmla="*/ 3357 w 10000"/>
                <a:gd name="connsiteY37" fmla="*/ 9075 h 10000"/>
                <a:gd name="connsiteX38" fmla="*/ 2851 w 10000"/>
                <a:gd name="connsiteY38" fmla="*/ 8526 h 10000"/>
                <a:gd name="connsiteX39" fmla="*/ 2383 w 10000"/>
                <a:gd name="connsiteY39" fmla="*/ 7954 h 10000"/>
                <a:gd name="connsiteX40" fmla="*/ 1947 w 10000"/>
                <a:gd name="connsiteY40" fmla="*/ 7370 h 10000"/>
                <a:gd name="connsiteX41" fmla="*/ 1537 w 10000"/>
                <a:gd name="connsiteY41" fmla="*/ 6775 h 10000"/>
                <a:gd name="connsiteX42" fmla="*/ 1166 w 10000"/>
                <a:gd name="connsiteY42" fmla="*/ 6168 h 10000"/>
                <a:gd name="connsiteX43" fmla="*/ 826 w 10000"/>
                <a:gd name="connsiteY43" fmla="*/ 5549 h 10000"/>
                <a:gd name="connsiteX44" fmla="*/ 519 w 10000"/>
                <a:gd name="connsiteY44" fmla="*/ 4919 h 10000"/>
                <a:gd name="connsiteX45" fmla="*/ 243 w 10000"/>
                <a:gd name="connsiteY45" fmla="*/ 4277 h 10000"/>
                <a:gd name="connsiteX46" fmla="*/ 0 w 10000"/>
                <a:gd name="connsiteY46" fmla="*/ 3624 h 10000"/>
                <a:gd name="connsiteX47" fmla="*/ 218 w 10000"/>
                <a:gd name="connsiteY47" fmla="*/ 3503 h 10000"/>
                <a:gd name="connsiteX48" fmla="*/ 423 w 10000"/>
                <a:gd name="connsiteY48" fmla="*/ 3353 h 10000"/>
                <a:gd name="connsiteX49" fmla="*/ 602 w 10000"/>
                <a:gd name="connsiteY49" fmla="*/ 3179 h 10000"/>
                <a:gd name="connsiteX50" fmla="*/ 769 w 10000"/>
                <a:gd name="connsiteY50" fmla="*/ 2994 h 10000"/>
                <a:gd name="connsiteX51" fmla="*/ 897 w 10000"/>
                <a:gd name="connsiteY51" fmla="*/ 2775 h 10000"/>
                <a:gd name="connsiteX52" fmla="*/ 1006 w 10000"/>
                <a:gd name="connsiteY52" fmla="*/ 2555 h 10000"/>
                <a:gd name="connsiteX53" fmla="*/ 1076 w 10000"/>
                <a:gd name="connsiteY53" fmla="*/ 2335 h 10000"/>
                <a:gd name="connsiteX54" fmla="*/ 1115 w 10000"/>
                <a:gd name="connsiteY54" fmla="*/ 2104 h 10000"/>
                <a:gd name="connsiteX55" fmla="*/ 1121 w 10000"/>
                <a:gd name="connsiteY55" fmla="*/ 1884 h 10000"/>
                <a:gd name="connsiteX56" fmla="*/ 1108 w 10000"/>
                <a:gd name="connsiteY56" fmla="*/ 1653 h 10000"/>
                <a:gd name="connsiteX57" fmla="*/ 1063 w 10000"/>
                <a:gd name="connsiteY57" fmla="*/ 1434 h 10000"/>
                <a:gd name="connsiteX58" fmla="*/ 1698 w 10000"/>
                <a:gd name="connsiteY58" fmla="*/ 1162 h 10000"/>
                <a:gd name="connsiteX59" fmla="*/ 2370 w 10000"/>
                <a:gd name="connsiteY59" fmla="*/ 902 h 10000"/>
                <a:gd name="connsiteX60" fmla="*/ 3062 w 10000"/>
                <a:gd name="connsiteY60" fmla="*/ 653 h 10000"/>
                <a:gd name="connsiteX61" fmla="*/ 3780 w 10000"/>
                <a:gd name="connsiteY61" fmla="*/ 416 h 10000"/>
                <a:gd name="connsiteX62" fmla="*/ 4523 w 10000"/>
                <a:gd name="connsiteY62" fmla="*/ 202 h 10000"/>
                <a:gd name="connsiteX63" fmla="*/ 5298 w 10000"/>
                <a:gd name="connsiteY63" fmla="*/ 0 h 10000"/>
                <a:gd name="connsiteX0" fmla="*/ 5298 w 10000"/>
                <a:gd name="connsiteY0" fmla="*/ 0 h 10000"/>
                <a:gd name="connsiteX1" fmla="*/ 5106 w 10000"/>
                <a:gd name="connsiteY1" fmla="*/ 277 h 10000"/>
                <a:gd name="connsiteX2" fmla="*/ 4939 w 10000"/>
                <a:gd name="connsiteY2" fmla="*/ 578 h 10000"/>
                <a:gd name="connsiteX3" fmla="*/ 5464 w 10000"/>
                <a:gd name="connsiteY3" fmla="*/ 4682 h 10000"/>
                <a:gd name="connsiteX4" fmla="*/ 5727 w 10000"/>
                <a:gd name="connsiteY4" fmla="*/ 4965 h 10000"/>
                <a:gd name="connsiteX5" fmla="*/ 6009 w 10000"/>
                <a:gd name="connsiteY5" fmla="*/ 5220 h 10000"/>
                <a:gd name="connsiteX6" fmla="*/ 6323 w 10000"/>
                <a:gd name="connsiteY6" fmla="*/ 5457 h 10000"/>
                <a:gd name="connsiteX7" fmla="*/ 6656 w 10000"/>
                <a:gd name="connsiteY7" fmla="*/ 5665 h 10000"/>
                <a:gd name="connsiteX8" fmla="*/ 7008 w 10000"/>
                <a:gd name="connsiteY8" fmla="*/ 5850 h 10000"/>
                <a:gd name="connsiteX9" fmla="*/ 7386 w 10000"/>
                <a:gd name="connsiteY9" fmla="*/ 6000 h 10000"/>
                <a:gd name="connsiteX10" fmla="*/ 7777 w 10000"/>
                <a:gd name="connsiteY10" fmla="*/ 6121 h 10000"/>
                <a:gd name="connsiteX11" fmla="*/ 8187 w 10000"/>
                <a:gd name="connsiteY11" fmla="*/ 6214 h 10000"/>
                <a:gd name="connsiteX12" fmla="*/ 8603 w 10000"/>
                <a:gd name="connsiteY12" fmla="*/ 6260 h 10000"/>
                <a:gd name="connsiteX13" fmla="*/ 9033 w 10000"/>
                <a:gd name="connsiteY13" fmla="*/ 6283 h 10000"/>
                <a:gd name="connsiteX14" fmla="*/ 9366 w 10000"/>
                <a:gd name="connsiteY14" fmla="*/ 6272 h 10000"/>
                <a:gd name="connsiteX15" fmla="*/ 9680 w 10000"/>
                <a:gd name="connsiteY15" fmla="*/ 6243 h 10000"/>
                <a:gd name="connsiteX16" fmla="*/ 10000 w 10000"/>
                <a:gd name="connsiteY16" fmla="*/ 6185 h 10000"/>
                <a:gd name="connsiteX17" fmla="*/ 9680 w 10000"/>
                <a:gd name="connsiteY17" fmla="*/ 6746 h 10000"/>
                <a:gd name="connsiteX18" fmla="*/ 9334 w 10000"/>
                <a:gd name="connsiteY18" fmla="*/ 7277 h 10000"/>
                <a:gd name="connsiteX19" fmla="*/ 8969 w 10000"/>
                <a:gd name="connsiteY19" fmla="*/ 7780 h 10000"/>
                <a:gd name="connsiteX20" fmla="*/ 8578 w 10000"/>
                <a:gd name="connsiteY20" fmla="*/ 8272 h 10000"/>
                <a:gd name="connsiteX21" fmla="*/ 8161 w 10000"/>
                <a:gd name="connsiteY21" fmla="*/ 8740 h 10000"/>
                <a:gd name="connsiteX22" fmla="*/ 7719 w 10000"/>
                <a:gd name="connsiteY22" fmla="*/ 9185 h 10000"/>
                <a:gd name="connsiteX23" fmla="*/ 7258 w 10000"/>
                <a:gd name="connsiteY23" fmla="*/ 9607 h 10000"/>
                <a:gd name="connsiteX24" fmla="*/ 6765 w 10000"/>
                <a:gd name="connsiteY24" fmla="*/ 10000 h 10000"/>
                <a:gd name="connsiteX25" fmla="*/ 6560 w 10000"/>
                <a:gd name="connsiteY25" fmla="*/ 9861 h 10000"/>
                <a:gd name="connsiteX26" fmla="*/ 6329 w 10000"/>
                <a:gd name="connsiteY26" fmla="*/ 9746 h 10000"/>
                <a:gd name="connsiteX27" fmla="*/ 6054 w 10000"/>
                <a:gd name="connsiteY27" fmla="*/ 9647 h 10000"/>
                <a:gd name="connsiteX28" fmla="*/ 5772 w 10000"/>
                <a:gd name="connsiteY28" fmla="*/ 9578 h 10000"/>
                <a:gd name="connsiteX29" fmla="*/ 5496 w 10000"/>
                <a:gd name="connsiteY29" fmla="*/ 9543 h 10000"/>
                <a:gd name="connsiteX30" fmla="*/ 5215 w 10000"/>
                <a:gd name="connsiteY30" fmla="*/ 9543 h 10000"/>
                <a:gd name="connsiteX31" fmla="*/ 4933 w 10000"/>
                <a:gd name="connsiteY31" fmla="*/ 9584 h 10000"/>
                <a:gd name="connsiteX32" fmla="*/ 4664 w 10000"/>
                <a:gd name="connsiteY32" fmla="*/ 9647 h 10000"/>
                <a:gd name="connsiteX33" fmla="*/ 4407 w 10000"/>
                <a:gd name="connsiteY33" fmla="*/ 9740 h 10000"/>
                <a:gd name="connsiteX34" fmla="*/ 4164 w 10000"/>
                <a:gd name="connsiteY34" fmla="*/ 9867 h 10000"/>
                <a:gd name="connsiteX35" fmla="*/ 3895 w 10000"/>
                <a:gd name="connsiteY35" fmla="*/ 9613 h 10000"/>
                <a:gd name="connsiteX36" fmla="*/ 3357 w 10000"/>
                <a:gd name="connsiteY36" fmla="*/ 9075 h 10000"/>
                <a:gd name="connsiteX37" fmla="*/ 2851 w 10000"/>
                <a:gd name="connsiteY37" fmla="*/ 8526 h 10000"/>
                <a:gd name="connsiteX38" fmla="*/ 2383 w 10000"/>
                <a:gd name="connsiteY38" fmla="*/ 7954 h 10000"/>
                <a:gd name="connsiteX39" fmla="*/ 1947 w 10000"/>
                <a:gd name="connsiteY39" fmla="*/ 7370 h 10000"/>
                <a:gd name="connsiteX40" fmla="*/ 1537 w 10000"/>
                <a:gd name="connsiteY40" fmla="*/ 6775 h 10000"/>
                <a:gd name="connsiteX41" fmla="*/ 1166 w 10000"/>
                <a:gd name="connsiteY41" fmla="*/ 6168 h 10000"/>
                <a:gd name="connsiteX42" fmla="*/ 826 w 10000"/>
                <a:gd name="connsiteY42" fmla="*/ 5549 h 10000"/>
                <a:gd name="connsiteX43" fmla="*/ 519 w 10000"/>
                <a:gd name="connsiteY43" fmla="*/ 4919 h 10000"/>
                <a:gd name="connsiteX44" fmla="*/ 243 w 10000"/>
                <a:gd name="connsiteY44" fmla="*/ 4277 h 10000"/>
                <a:gd name="connsiteX45" fmla="*/ 0 w 10000"/>
                <a:gd name="connsiteY45" fmla="*/ 3624 h 10000"/>
                <a:gd name="connsiteX46" fmla="*/ 218 w 10000"/>
                <a:gd name="connsiteY46" fmla="*/ 3503 h 10000"/>
                <a:gd name="connsiteX47" fmla="*/ 423 w 10000"/>
                <a:gd name="connsiteY47" fmla="*/ 3353 h 10000"/>
                <a:gd name="connsiteX48" fmla="*/ 602 w 10000"/>
                <a:gd name="connsiteY48" fmla="*/ 3179 h 10000"/>
                <a:gd name="connsiteX49" fmla="*/ 769 w 10000"/>
                <a:gd name="connsiteY49" fmla="*/ 2994 h 10000"/>
                <a:gd name="connsiteX50" fmla="*/ 897 w 10000"/>
                <a:gd name="connsiteY50" fmla="*/ 2775 h 10000"/>
                <a:gd name="connsiteX51" fmla="*/ 1006 w 10000"/>
                <a:gd name="connsiteY51" fmla="*/ 2555 h 10000"/>
                <a:gd name="connsiteX52" fmla="*/ 1076 w 10000"/>
                <a:gd name="connsiteY52" fmla="*/ 2335 h 10000"/>
                <a:gd name="connsiteX53" fmla="*/ 1115 w 10000"/>
                <a:gd name="connsiteY53" fmla="*/ 2104 h 10000"/>
                <a:gd name="connsiteX54" fmla="*/ 1121 w 10000"/>
                <a:gd name="connsiteY54" fmla="*/ 1884 h 10000"/>
                <a:gd name="connsiteX55" fmla="*/ 1108 w 10000"/>
                <a:gd name="connsiteY55" fmla="*/ 1653 h 10000"/>
                <a:gd name="connsiteX56" fmla="*/ 1063 w 10000"/>
                <a:gd name="connsiteY56" fmla="*/ 1434 h 10000"/>
                <a:gd name="connsiteX57" fmla="*/ 1698 w 10000"/>
                <a:gd name="connsiteY57" fmla="*/ 1162 h 10000"/>
                <a:gd name="connsiteX58" fmla="*/ 2370 w 10000"/>
                <a:gd name="connsiteY58" fmla="*/ 902 h 10000"/>
                <a:gd name="connsiteX59" fmla="*/ 3062 w 10000"/>
                <a:gd name="connsiteY59" fmla="*/ 653 h 10000"/>
                <a:gd name="connsiteX60" fmla="*/ 3780 w 10000"/>
                <a:gd name="connsiteY60" fmla="*/ 416 h 10000"/>
                <a:gd name="connsiteX61" fmla="*/ 4523 w 10000"/>
                <a:gd name="connsiteY61" fmla="*/ 202 h 10000"/>
                <a:gd name="connsiteX62" fmla="*/ 5298 w 10000"/>
                <a:gd name="connsiteY62" fmla="*/ 0 h 10000"/>
                <a:gd name="connsiteX0" fmla="*/ 5298 w 10000"/>
                <a:gd name="connsiteY0" fmla="*/ 0 h 10000"/>
                <a:gd name="connsiteX1" fmla="*/ 5106 w 10000"/>
                <a:gd name="connsiteY1" fmla="*/ 277 h 10000"/>
                <a:gd name="connsiteX2" fmla="*/ 5464 w 10000"/>
                <a:gd name="connsiteY2" fmla="*/ 4682 h 10000"/>
                <a:gd name="connsiteX3" fmla="*/ 5727 w 10000"/>
                <a:gd name="connsiteY3" fmla="*/ 4965 h 10000"/>
                <a:gd name="connsiteX4" fmla="*/ 6009 w 10000"/>
                <a:gd name="connsiteY4" fmla="*/ 5220 h 10000"/>
                <a:gd name="connsiteX5" fmla="*/ 6323 w 10000"/>
                <a:gd name="connsiteY5" fmla="*/ 5457 h 10000"/>
                <a:gd name="connsiteX6" fmla="*/ 6656 w 10000"/>
                <a:gd name="connsiteY6" fmla="*/ 5665 h 10000"/>
                <a:gd name="connsiteX7" fmla="*/ 7008 w 10000"/>
                <a:gd name="connsiteY7" fmla="*/ 5850 h 10000"/>
                <a:gd name="connsiteX8" fmla="*/ 7386 w 10000"/>
                <a:gd name="connsiteY8" fmla="*/ 6000 h 10000"/>
                <a:gd name="connsiteX9" fmla="*/ 7777 w 10000"/>
                <a:gd name="connsiteY9" fmla="*/ 6121 h 10000"/>
                <a:gd name="connsiteX10" fmla="*/ 8187 w 10000"/>
                <a:gd name="connsiteY10" fmla="*/ 6214 h 10000"/>
                <a:gd name="connsiteX11" fmla="*/ 8603 w 10000"/>
                <a:gd name="connsiteY11" fmla="*/ 6260 h 10000"/>
                <a:gd name="connsiteX12" fmla="*/ 9033 w 10000"/>
                <a:gd name="connsiteY12" fmla="*/ 6283 h 10000"/>
                <a:gd name="connsiteX13" fmla="*/ 9366 w 10000"/>
                <a:gd name="connsiteY13" fmla="*/ 6272 h 10000"/>
                <a:gd name="connsiteX14" fmla="*/ 9680 w 10000"/>
                <a:gd name="connsiteY14" fmla="*/ 6243 h 10000"/>
                <a:gd name="connsiteX15" fmla="*/ 10000 w 10000"/>
                <a:gd name="connsiteY15" fmla="*/ 6185 h 10000"/>
                <a:gd name="connsiteX16" fmla="*/ 9680 w 10000"/>
                <a:gd name="connsiteY16" fmla="*/ 6746 h 10000"/>
                <a:gd name="connsiteX17" fmla="*/ 9334 w 10000"/>
                <a:gd name="connsiteY17" fmla="*/ 7277 h 10000"/>
                <a:gd name="connsiteX18" fmla="*/ 8969 w 10000"/>
                <a:gd name="connsiteY18" fmla="*/ 7780 h 10000"/>
                <a:gd name="connsiteX19" fmla="*/ 8578 w 10000"/>
                <a:gd name="connsiteY19" fmla="*/ 8272 h 10000"/>
                <a:gd name="connsiteX20" fmla="*/ 8161 w 10000"/>
                <a:gd name="connsiteY20" fmla="*/ 8740 h 10000"/>
                <a:gd name="connsiteX21" fmla="*/ 7719 w 10000"/>
                <a:gd name="connsiteY21" fmla="*/ 9185 h 10000"/>
                <a:gd name="connsiteX22" fmla="*/ 7258 w 10000"/>
                <a:gd name="connsiteY22" fmla="*/ 9607 h 10000"/>
                <a:gd name="connsiteX23" fmla="*/ 6765 w 10000"/>
                <a:gd name="connsiteY23" fmla="*/ 10000 h 10000"/>
                <a:gd name="connsiteX24" fmla="*/ 6560 w 10000"/>
                <a:gd name="connsiteY24" fmla="*/ 9861 h 10000"/>
                <a:gd name="connsiteX25" fmla="*/ 6329 w 10000"/>
                <a:gd name="connsiteY25" fmla="*/ 9746 h 10000"/>
                <a:gd name="connsiteX26" fmla="*/ 6054 w 10000"/>
                <a:gd name="connsiteY26" fmla="*/ 9647 h 10000"/>
                <a:gd name="connsiteX27" fmla="*/ 5772 w 10000"/>
                <a:gd name="connsiteY27" fmla="*/ 9578 h 10000"/>
                <a:gd name="connsiteX28" fmla="*/ 5496 w 10000"/>
                <a:gd name="connsiteY28" fmla="*/ 9543 h 10000"/>
                <a:gd name="connsiteX29" fmla="*/ 5215 w 10000"/>
                <a:gd name="connsiteY29" fmla="*/ 9543 h 10000"/>
                <a:gd name="connsiteX30" fmla="*/ 4933 w 10000"/>
                <a:gd name="connsiteY30" fmla="*/ 9584 h 10000"/>
                <a:gd name="connsiteX31" fmla="*/ 4664 w 10000"/>
                <a:gd name="connsiteY31" fmla="*/ 9647 h 10000"/>
                <a:gd name="connsiteX32" fmla="*/ 4407 w 10000"/>
                <a:gd name="connsiteY32" fmla="*/ 9740 h 10000"/>
                <a:gd name="connsiteX33" fmla="*/ 4164 w 10000"/>
                <a:gd name="connsiteY33" fmla="*/ 9867 h 10000"/>
                <a:gd name="connsiteX34" fmla="*/ 3895 w 10000"/>
                <a:gd name="connsiteY34" fmla="*/ 9613 h 10000"/>
                <a:gd name="connsiteX35" fmla="*/ 3357 w 10000"/>
                <a:gd name="connsiteY35" fmla="*/ 9075 h 10000"/>
                <a:gd name="connsiteX36" fmla="*/ 2851 w 10000"/>
                <a:gd name="connsiteY36" fmla="*/ 8526 h 10000"/>
                <a:gd name="connsiteX37" fmla="*/ 2383 w 10000"/>
                <a:gd name="connsiteY37" fmla="*/ 7954 h 10000"/>
                <a:gd name="connsiteX38" fmla="*/ 1947 w 10000"/>
                <a:gd name="connsiteY38" fmla="*/ 7370 h 10000"/>
                <a:gd name="connsiteX39" fmla="*/ 1537 w 10000"/>
                <a:gd name="connsiteY39" fmla="*/ 6775 h 10000"/>
                <a:gd name="connsiteX40" fmla="*/ 1166 w 10000"/>
                <a:gd name="connsiteY40" fmla="*/ 6168 h 10000"/>
                <a:gd name="connsiteX41" fmla="*/ 826 w 10000"/>
                <a:gd name="connsiteY41" fmla="*/ 5549 h 10000"/>
                <a:gd name="connsiteX42" fmla="*/ 519 w 10000"/>
                <a:gd name="connsiteY42" fmla="*/ 4919 h 10000"/>
                <a:gd name="connsiteX43" fmla="*/ 243 w 10000"/>
                <a:gd name="connsiteY43" fmla="*/ 4277 h 10000"/>
                <a:gd name="connsiteX44" fmla="*/ 0 w 10000"/>
                <a:gd name="connsiteY44" fmla="*/ 3624 h 10000"/>
                <a:gd name="connsiteX45" fmla="*/ 218 w 10000"/>
                <a:gd name="connsiteY45" fmla="*/ 3503 h 10000"/>
                <a:gd name="connsiteX46" fmla="*/ 423 w 10000"/>
                <a:gd name="connsiteY46" fmla="*/ 3353 h 10000"/>
                <a:gd name="connsiteX47" fmla="*/ 602 w 10000"/>
                <a:gd name="connsiteY47" fmla="*/ 3179 h 10000"/>
                <a:gd name="connsiteX48" fmla="*/ 769 w 10000"/>
                <a:gd name="connsiteY48" fmla="*/ 2994 h 10000"/>
                <a:gd name="connsiteX49" fmla="*/ 897 w 10000"/>
                <a:gd name="connsiteY49" fmla="*/ 2775 h 10000"/>
                <a:gd name="connsiteX50" fmla="*/ 1006 w 10000"/>
                <a:gd name="connsiteY50" fmla="*/ 2555 h 10000"/>
                <a:gd name="connsiteX51" fmla="*/ 1076 w 10000"/>
                <a:gd name="connsiteY51" fmla="*/ 2335 h 10000"/>
                <a:gd name="connsiteX52" fmla="*/ 1115 w 10000"/>
                <a:gd name="connsiteY52" fmla="*/ 2104 h 10000"/>
                <a:gd name="connsiteX53" fmla="*/ 1121 w 10000"/>
                <a:gd name="connsiteY53" fmla="*/ 1884 h 10000"/>
                <a:gd name="connsiteX54" fmla="*/ 1108 w 10000"/>
                <a:gd name="connsiteY54" fmla="*/ 1653 h 10000"/>
                <a:gd name="connsiteX55" fmla="*/ 1063 w 10000"/>
                <a:gd name="connsiteY55" fmla="*/ 1434 h 10000"/>
                <a:gd name="connsiteX56" fmla="*/ 1698 w 10000"/>
                <a:gd name="connsiteY56" fmla="*/ 1162 h 10000"/>
                <a:gd name="connsiteX57" fmla="*/ 2370 w 10000"/>
                <a:gd name="connsiteY57" fmla="*/ 902 h 10000"/>
                <a:gd name="connsiteX58" fmla="*/ 3062 w 10000"/>
                <a:gd name="connsiteY58" fmla="*/ 653 h 10000"/>
                <a:gd name="connsiteX59" fmla="*/ 3780 w 10000"/>
                <a:gd name="connsiteY59" fmla="*/ 416 h 10000"/>
                <a:gd name="connsiteX60" fmla="*/ 4523 w 10000"/>
                <a:gd name="connsiteY60" fmla="*/ 202 h 10000"/>
                <a:gd name="connsiteX61" fmla="*/ 5298 w 10000"/>
                <a:gd name="connsiteY61" fmla="*/ 0 h 10000"/>
                <a:gd name="connsiteX0" fmla="*/ 5298 w 10000"/>
                <a:gd name="connsiteY0" fmla="*/ 0 h 10000"/>
                <a:gd name="connsiteX1" fmla="*/ 5106 w 10000"/>
                <a:gd name="connsiteY1" fmla="*/ 277 h 10000"/>
                <a:gd name="connsiteX2" fmla="*/ 5464 w 10000"/>
                <a:gd name="connsiteY2" fmla="*/ 4682 h 10000"/>
                <a:gd name="connsiteX3" fmla="*/ 6009 w 10000"/>
                <a:gd name="connsiteY3" fmla="*/ 5220 h 10000"/>
                <a:gd name="connsiteX4" fmla="*/ 6323 w 10000"/>
                <a:gd name="connsiteY4" fmla="*/ 5457 h 10000"/>
                <a:gd name="connsiteX5" fmla="*/ 6656 w 10000"/>
                <a:gd name="connsiteY5" fmla="*/ 5665 h 10000"/>
                <a:gd name="connsiteX6" fmla="*/ 7008 w 10000"/>
                <a:gd name="connsiteY6" fmla="*/ 5850 h 10000"/>
                <a:gd name="connsiteX7" fmla="*/ 7386 w 10000"/>
                <a:gd name="connsiteY7" fmla="*/ 6000 h 10000"/>
                <a:gd name="connsiteX8" fmla="*/ 7777 w 10000"/>
                <a:gd name="connsiteY8" fmla="*/ 6121 h 10000"/>
                <a:gd name="connsiteX9" fmla="*/ 8187 w 10000"/>
                <a:gd name="connsiteY9" fmla="*/ 6214 h 10000"/>
                <a:gd name="connsiteX10" fmla="*/ 8603 w 10000"/>
                <a:gd name="connsiteY10" fmla="*/ 6260 h 10000"/>
                <a:gd name="connsiteX11" fmla="*/ 9033 w 10000"/>
                <a:gd name="connsiteY11" fmla="*/ 6283 h 10000"/>
                <a:gd name="connsiteX12" fmla="*/ 9366 w 10000"/>
                <a:gd name="connsiteY12" fmla="*/ 6272 h 10000"/>
                <a:gd name="connsiteX13" fmla="*/ 9680 w 10000"/>
                <a:gd name="connsiteY13" fmla="*/ 6243 h 10000"/>
                <a:gd name="connsiteX14" fmla="*/ 10000 w 10000"/>
                <a:gd name="connsiteY14" fmla="*/ 6185 h 10000"/>
                <a:gd name="connsiteX15" fmla="*/ 9680 w 10000"/>
                <a:gd name="connsiteY15" fmla="*/ 6746 h 10000"/>
                <a:gd name="connsiteX16" fmla="*/ 9334 w 10000"/>
                <a:gd name="connsiteY16" fmla="*/ 7277 h 10000"/>
                <a:gd name="connsiteX17" fmla="*/ 8969 w 10000"/>
                <a:gd name="connsiteY17" fmla="*/ 7780 h 10000"/>
                <a:gd name="connsiteX18" fmla="*/ 8578 w 10000"/>
                <a:gd name="connsiteY18" fmla="*/ 8272 h 10000"/>
                <a:gd name="connsiteX19" fmla="*/ 8161 w 10000"/>
                <a:gd name="connsiteY19" fmla="*/ 8740 h 10000"/>
                <a:gd name="connsiteX20" fmla="*/ 7719 w 10000"/>
                <a:gd name="connsiteY20" fmla="*/ 9185 h 10000"/>
                <a:gd name="connsiteX21" fmla="*/ 7258 w 10000"/>
                <a:gd name="connsiteY21" fmla="*/ 9607 h 10000"/>
                <a:gd name="connsiteX22" fmla="*/ 6765 w 10000"/>
                <a:gd name="connsiteY22" fmla="*/ 10000 h 10000"/>
                <a:gd name="connsiteX23" fmla="*/ 6560 w 10000"/>
                <a:gd name="connsiteY23" fmla="*/ 9861 h 10000"/>
                <a:gd name="connsiteX24" fmla="*/ 6329 w 10000"/>
                <a:gd name="connsiteY24" fmla="*/ 9746 h 10000"/>
                <a:gd name="connsiteX25" fmla="*/ 6054 w 10000"/>
                <a:gd name="connsiteY25" fmla="*/ 9647 h 10000"/>
                <a:gd name="connsiteX26" fmla="*/ 5772 w 10000"/>
                <a:gd name="connsiteY26" fmla="*/ 9578 h 10000"/>
                <a:gd name="connsiteX27" fmla="*/ 5496 w 10000"/>
                <a:gd name="connsiteY27" fmla="*/ 9543 h 10000"/>
                <a:gd name="connsiteX28" fmla="*/ 5215 w 10000"/>
                <a:gd name="connsiteY28" fmla="*/ 9543 h 10000"/>
                <a:gd name="connsiteX29" fmla="*/ 4933 w 10000"/>
                <a:gd name="connsiteY29" fmla="*/ 9584 h 10000"/>
                <a:gd name="connsiteX30" fmla="*/ 4664 w 10000"/>
                <a:gd name="connsiteY30" fmla="*/ 9647 h 10000"/>
                <a:gd name="connsiteX31" fmla="*/ 4407 w 10000"/>
                <a:gd name="connsiteY31" fmla="*/ 9740 h 10000"/>
                <a:gd name="connsiteX32" fmla="*/ 4164 w 10000"/>
                <a:gd name="connsiteY32" fmla="*/ 9867 h 10000"/>
                <a:gd name="connsiteX33" fmla="*/ 3895 w 10000"/>
                <a:gd name="connsiteY33" fmla="*/ 9613 h 10000"/>
                <a:gd name="connsiteX34" fmla="*/ 3357 w 10000"/>
                <a:gd name="connsiteY34" fmla="*/ 9075 h 10000"/>
                <a:gd name="connsiteX35" fmla="*/ 2851 w 10000"/>
                <a:gd name="connsiteY35" fmla="*/ 8526 h 10000"/>
                <a:gd name="connsiteX36" fmla="*/ 2383 w 10000"/>
                <a:gd name="connsiteY36" fmla="*/ 7954 h 10000"/>
                <a:gd name="connsiteX37" fmla="*/ 1947 w 10000"/>
                <a:gd name="connsiteY37" fmla="*/ 7370 h 10000"/>
                <a:gd name="connsiteX38" fmla="*/ 1537 w 10000"/>
                <a:gd name="connsiteY38" fmla="*/ 6775 h 10000"/>
                <a:gd name="connsiteX39" fmla="*/ 1166 w 10000"/>
                <a:gd name="connsiteY39" fmla="*/ 6168 h 10000"/>
                <a:gd name="connsiteX40" fmla="*/ 826 w 10000"/>
                <a:gd name="connsiteY40" fmla="*/ 5549 h 10000"/>
                <a:gd name="connsiteX41" fmla="*/ 519 w 10000"/>
                <a:gd name="connsiteY41" fmla="*/ 4919 h 10000"/>
                <a:gd name="connsiteX42" fmla="*/ 243 w 10000"/>
                <a:gd name="connsiteY42" fmla="*/ 4277 h 10000"/>
                <a:gd name="connsiteX43" fmla="*/ 0 w 10000"/>
                <a:gd name="connsiteY43" fmla="*/ 3624 h 10000"/>
                <a:gd name="connsiteX44" fmla="*/ 218 w 10000"/>
                <a:gd name="connsiteY44" fmla="*/ 3503 h 10000"/>
                <a:gd name="connsiteX45" fmla="*/ 423 w 10000"/>
                <a:gd name="connsiteY45" fmla="*/ 3353 h 10000"/>
                <a:gd name="connsiteX46" fmla="*/ 602 w 10000"/>
                <a:gd name="connsiteY46" fmla="*/ 3179 h 10000"/>
                <a:gd name="connsiteX47" fmla="*/ 769 w 10000"/>
                <a:gd name="connsiteY47" fmla="*/ 2994 h 10000"/>
                <a:gd name="connsiteX48" fmla="*/ 897 w 10000"/>
                <a:gd name="connsiteY48" fmla="*/ 2775 h 10000"/>
                <a:gd name="connsiteX49" fmla="*/ 1006 w 10000"/>
                <a:gd name="connsiteY49" fmla="*/ 2555 h 10000"/>
                <a:gd name="connsiteX50" fmla="*/ 1076 w 10000"/>
                <a:gd name="connsiteY50" fmla="*/ 2335 h 10000"/>
                <a:gd name="connsiteX51" fmla="*/ 1115 w 10000"/>
                <a:gd name="connsiteY51" fmla="*/ 2104 h 10000"/>
                <a:gd name="connsiteX52" fmla="*/ 1121 w 10000"/>
                <a:gd name="connsiteY52" fmla="*/ 1884 h 10000"/>
                <a:gd name="connsiteX53" fmla="*/ 1108 w 10000"/>
                <a:gd name="connsiteY53" fmla="*/ 1653 h 10000"/>
                <a:gd name="connsiteX54" fmla="*/ 1063 w 10000"/>
                <a:gd name="connsiteY54" fmla="*/ 1434 h 10000"/>
                <a:gd name="connsiteX55" fmla="*/ 1698 w 10000"/>
                <a:gd name="connsiteY55" fmla="*/ 1162 h 10000"/>
                <a:gd name="connsiteX56" fmla="*/ 2370 w 10000"/>
                <a:gd name="connsiteY56" fmla="*/ 902 h 10000"/>
                <a:gd name="connsiteX57" fmla="*/ 3062 w 10000"/>
                <a:gd name="connsiteY57" fmla="*/ 653 h 10000"/>
                <a:gd name="connsiteX58" fmla="*/ 3780 w 10000"/>
                <a:gd name="connsiteY58" fmla="*/ 416 h 10000"/>
                <a:gd name="connsiteX59" fmla="*/ 4523 w 10000"/>
                <a:gd name="connsiteY59" fmla="*/ 202 h 10000"/>
                <a:gd name="connsiteX60" fmla="*/ 5298 w 10000"/>
                <a:gd name="connsiteY60" fmla="*/ 0 h 10000"/>
                <a:gd name="connsiteX0" fmla="*/ 5298 w 10000"/>
                <a:gd name="connsiteY0" fmla="*/ 0 h 10000"/>
                <a:gd name="connsiteX1" fmla="*/ 5106 w 10000"/>
                <a:gd name="connsiteY1" fmla="*/ 277 h 10000"/>
                <a:gd name="connsiteX2" fmla="*/ 6009 w 10000"/>
                <a:gd name="connsiteY2" fmla="*/ 5220 h 10000"/>
                <a:gd name="connsiteX3" fmla="*/ 6323 w 10000"/>
                <a:gd name="connsiteY3" fmla="*/ 5457 h 10000"/>
                <a:gd name="connsiteX4" fmla="*/ 6656 w 10000"/>
                <a:gd name="connsiteY4" fmla="*/ 5665 h 10000"/>
                <a:gd name="connsiteX5" fmla="*/ 7008 w 10000"/>
                <a:gd name="connsiteY5" fmla="*/ 5850 h 10000"/>
                <a:gd name="connsiteX6" fmla="*/ 7386 w 10000"/>
                <a:gd name="connsiteY6" fmla="*/ 6000 h 10000"/>
                <a:gd name="connsiteX7" fmla="*/ 7777 w 10000"/>
                <a:gd name="connsiteY7" fmla="*/ 6121 h 10000"/>
                <a:gd name="connsiteX8" fmla="*/ 8187 w 10000"/>
                <a:gd name="connsiteY8" fmla="*/ 6214 h 10000"/>
                <a:gd name="connsiteX9" fmla="*/ 8603 w 10000"/>
                <a:gd name="connsiteY9" fmla="*/ 6260 h 10000"/>
                <a:gd name="connsiteX10" fmla="*/ 9033 w 10000"/>
                <a:gd name="connsiteY10" fmla="*/ 6283 h 10000"/>
                <a:gd name="connsiteX11" fmla="*/ 9366 w 10000"/>
                <a:gd name="connsiteY11" fmla="*/ 6272 h 10000"/>
                <a:gd name="connsiteX12" fmla="*/ 9680 w 10000"/>
                <a:gd name="connsiteY12" fmla="*/ 6243 h 10000"/>
                <a:gd name="connsiteX13" fmla="*/ 10000 w 10000"/>
                <a:gd name="connsiteY13" fmla="*/ 6185 h 10000"/>
                <a:gd name="connsiteX14" fmla="*/ 9680 w 10000"/>
                <a:gd name="connsiteY14" fmla="*/ 6746 h 10000"/>
                <a:gd name="connsiteX15" fmla="*/ 9334 w 10000"/>
                <a:gd name="connsiteY15" fmla="*/ 7277 h 10000"/>
                <a:gd name="connsiteX16" fmla="*/ 8969 w 10000"/>
                <a:gd name="connsiteY16" fmla="*/ 7780 h 10000"/>
                <a:gd name="connsiteX17" fmla="*/ 8578 w 10000"/>
                <a:gd name="connsiteY17" fmla="*/ 8272 h 10000"/>
                <a:gd name="connsiteX18" fmla="*/ 8161 w 10000"/>
                <a:gd name="connsiteY18" fmla="*/ 8740 h 10000"/>
                <a:gd name="connsiteX19" fmla="*/ 7719 w 10000"/>
                <a:gd name="connsiteY19" fmla="*/ 9185 h 10000"/>
                <a:gd name="connsiteX20" fmla="*/ 7258 w 10000"/>
                <a:gd name="connsiteY20" fmla="*/ 9607 h 10000"/>
                <a:gd name="connsiteX21" fmla="*/ 6765 w 10000"/>
                <a:gd name="connsiteY21" fmla="*/ 10000 h 10000"/>
                <a:gd name="connsiteX22" fmla="*/ 6560 w 10000"/>
                <a:gd name="connsiteY22" fmla="*/ 9861 h 10000"/>
                <a:gd name="connsiteX23" fmla="*/ 6329 w 10000"/>
                <a:gd name="connsiteY23" fmla="*/ 9746 h 10000"/>
                <a:gd name="connsiteX24" fmla="*/ 6054 w 10000"/>
                <a:gd name="connsiteY24" fmla="*/ 9647 h 10000"/>
                <a:gd name="connsiteX25" fmla="*/ 5772 w 10000"/>
                <a:gd name="connsiteY25" fmla="*/ 9578 h 10000"/>
                <a:gd name="connsiteX26" fmla="*/ 5496 w 10000"/>
                <a:gd name="connsiteY26" fmla="*/ 9543 h 10000"/>
                <a:gd name="connsiteX27" fmla="*/ 5215 w 10000"/>
                <a:gd name="connsiteY27" fmla="*/ 9543 h 10000"/>
                <a:gd name="connsiteX28" fmla="*/ 4933 w 10000"/>
                <a:gd name="connsiteY28" fmla="*/ 9584 h 10000"/>
                <a:gd name="connsiteX29" fmla="*/ 4664 w 10000"/>
                <a:gd name="connsiteY29" fmla="*/ 9647 h 10000"/>
                <a:gd name="connsiteX30" fmla="*/ 4407 w 10000"/>
                <a:gd name="connsiteY30" fmla="*/ 9740 h 10000"/>
                <a:gd name="connsiteX31" fmla="*/ 4164 w 10000"/>
                <a:gd name="connsiteY31" fmla="*/ 9867 h 10000"/>
                <a:gd name="connsiteX32" fmla="*/ 3895 w 10000"/>
                <a:gd name="connsiteY32" fmla="*/ 9613 h 10000"/>
                <a:gd name="connsiteX33" fmla="*/ 3357 w 10000"/>
                <a:gd name="connsiteY33" fmla="*/ 9075 h 10000"/>
                <a:gd name="connsiteX34" fmla="*/ 2851 w 10000"/>
                <a:gd name="connsiteY34" fmla="*/ 8526 h 10000"/>
                <a:gd name="connsiteX35" fmla="*/ 2383 w 10000"/>
                <a:gd name="connsiteY35" fmla="*/ 7954 h 10000"/>
                <a:gd name="connsiteX36" fmla="*/ 1947 w 10000"/>
                <a:gd name="connsiteY36" fmla="*/ 7370 h 10000"/>
                <a:gd name="connsiteX37" fmla="*/ 1537 w 10000"/>
                <a:gd name="connsiteY37" fmla="*/ 6775 h 10000"/>
                <a:gd name="connsiteX38" fmla="*/ 1166 w 10000"/>
                <a:gd name="connsiteY38" fmla="*/ 6168 h 10000"/>
                <a:gd name="connsiteX39" fmla="*/ 826 w 10000"/>
                <a:gd name="connsiteY39" fmla="*/ 5549 h 10000"/>
                <a:gd name="connsiteX40" fmla="*/ 519 w 10000"/>
                <a:gd name="connsiteY40" fmla="*/ 4919 h 10000"/>
                <a:gd name="connsiteX41" fmla="*/ 243 w 10000"/>
                <a:gd name="connsiteY41" fmla="*/ 4277 h 10000"/>
                <a:gd name="connsiteX42" fmla="*/ 0 w 10000"/>
                <a:gd name="connsiteY42" fmla="*/ 3624 h 10000"/>
                <a:gd name="connsiteX43" fmla="*/ 218 w 10000"/>
                <a:gd name="connsiteY43" fmla="*/ 3503 h 10000"/>
                <a:gd name="connsiteX44" fmla="*/ 423 w 10000"/>
                <a:gd name="connsiteY44" fmla="*/ 3353 h 10000"/>
                <a:gd name="connsiteX45" fmla="*/ 602 w 10000"/>
                <a:gd name="connsiteY45" fmla="*/ 3179 h 10000"/>
                <a:gd name="connsiteX46" fmla="*/ 769 w 10000"/>
                <a:gd name="connsiteY46" fmla="*/ 2994 h 10000"/>
                <a:gd name="connsiteX47" fmla="*/ 897 w 10000"/>
                <a:gd name="connsiteY47" fmla="*/ 2775 h 10000"/>
                <a:gd name="connsiteX48" fmla="*/ 1006 w 10000"/>
                <a:gd name="connsiteY48" fmla="*/ 2555 h 10000"/>
                <a:gd name="connsiteX49" fmla="*/ 1076 w 10000"/>
                <a:gd name="connsiteY49" fmla="*/ 2335 h 10000"/>
                <a:gd name="connsiteX50" fmla="*/ 1115 w 10000"/>
                <a:gd name="connsiteY50" fmla="*/ 2104 h 10000"/>
                <a:gd name="connsiteX51" fmla="*/ 1121 w 10000"/>
                <a:gd name="connsiteY51" fmla="*/ 1884 h 10000"/>
                <a:gd name="connsiteX52" fmla="*/ 1108 w 10000"/>
                <a:gd name="connsiteY52" fmla="*/ 1653 h 10000"/>
                <a:gd name="connsiteX53" fmla="*/ 1063 w 10000"/>
                <a:gd name="connsiteY53" fmla="*/ 1434 h 10000"/>
                <a:gd name="connsiteX54" fmla="*/ 1698 w 10000"/>
                <a:gd name="connsiteY54" fmla="*/ 1162 h 10000"/>
                <a:gd name="connsiteX55" fmla="*/ 2370 w 10000"/>
                <a:gd name="connsiteY55" fmla="*/ 902 h 10000"/>
                <a:gd name="connsiteX56" fmla="*/ 3062 w 10000"/>
                <a:gd name="connsiteY56" fmla="*/ 653 h 10000"/>
                <a:gd name="connsiteX57" fmla="*/ 3780 w 10000"/>
                <a:gd name="connsiteY57" fmla="*/ 416 h 10000"/>
                <a:gd name="connsiteX58" fmla="*/ 4523 w 10000"/>
                <a:gd name="connsiteY58" fmla="*/ 202 h 10000"/>
                <a:gd name="connsiteX59" fmla="*/ 5298 w 10000"/>
                <a:gd name="connsiteY59" fmla="*/ 0 h 10000"/>
                <a:gd name="connsiteX0" fmla="*/ 5298 w 10000"/>
                <a:gd name="connsiteY0" fmla="*/ 0 h 10000"/>
                <a:gd name="connsiteX1" fmla="*/ 5106 w 10000"/>
                <a:gd name="connsiteY1" fmla="*/ 277 h 10000"/>
                <a:gd name="connsiteX2" fmla="*/ 6009 w 10000"/>
                <a:gd name="connsiteY2" fmla="*/ 5220 h 10000"/>
                <a:gd name="connsiteX3" fmla="*/ 6323 w 10000"/>
                <a:gd name="connsiteY3" fmla="*/ 5457 h 10000"/>
                <a:gd name="connsiteX4" fmla="*/ 6656 w 10000"/>
                <a:gd name="connsiteY4" fmla="*/ 5665 h 10000"/>
                <a:gd name="connsiteX5" fmla="*/ 7008 w 10000"/>
                <a:gd name="connsiteY5" fmla="*/ 5850 h 10000"/>
                <a:gd name="connsiteX6" fmla="*/ 7777 w 10000"/>
                <a:gd name="connsiteY6" fmla="*/ 6121 h 10000"/>
                <a:gd name="connsiteX7" fmla="*/ 8187 w 10000"/>
                <a:gd name="connsiteY7" fmla="*/ 6214 h 10000"/>
                <a:gd name="connsiteX8" fmla="*/ 8603 w 10000"/>
                <a:gd name="connsiteY8" fmla="*/ 6260 h 10000"/>
                <a:gd name="connsiteX9" fmla="*/ 9033 w 10000"/>
                <a:gd name="connsiteY9" fmla="*/ 6283 h 10000"/>
                <a:gd name="connsiteX10" fmla="*/ 9366 w 10000"/>
                <a:gd name="connsiteY10" fmla="*/ 6272 h 10000"/>
                <a:gd name="connsiteX11" fmla="*/ 9680 w 10000"/>
                <a:gd name="connsiteY11" fmla="*/ 6243 h 10000"/>
                <a:gd name="connsiteX12" fmla="*/ 10000 w 10000"/>
                <a:gd name="connsiteY12" fmla="*/ 6185 h 10000"/>
                <a:gd name="connsiteX13" fmla="*/ 9680 w 10000"/>
                <a:gd name="connsiteY13" fmla="*/ 6746 h 10000"/>
                <a:gd name="connsiteX14" fmla="*/ 9334 w 10000"/>
                <a:gd name="connsiteY14" fmla="*/ 7277 h 10000"/>
                <a:gd name="connsiteX15" fmla="*/ 8969 w 10000"/>
                <a:gd name="connsiteY15" fmla="*/ 7780 h 10000"/>
                <a:gd name="connsiteX16" fmla="*/ 8578 w 10000"/>
                <a:gd name="connsiteY16" fmla="*/ 8272 h 10000"/>
                <a:gd name="connsiteX17" fmla="*/ 8161 w 10000"/>
                <a:gd name="connsiteY17" fmla="*/ 8740 h 10000"/>
                <a:gd name="connsiteX18" fmla="*/ 7719 w 10000"/>
                <a:gd name="connsiteY18" fmla="*/ 9185 h 10000"/>
                <a:gd name="connsiteX19" fmla="*/ 7258 w 10000"/>
                <a:gd name="connsiteY19" fmla="*/ 9607 h 10000"/>
                <a:gd name="connsiteX20" fmla="*/ 6765 w 10000"/>
                <a:gd name="connsiteY20" fmla="*/ 10000 h 10000"/>
                <a:gd name="connsiteX21" fmla="*/ 6560 w 10000"/>
                <a:gd name="connsiteY21" fmla="*/ 9861 h 10000"/>
                <a:gd name="connsiteX22" fmla="*/ 6329 w 10000"/>
                <a:gd name="connsiteY22" fmla="*/ 9746 h 10000"/>
                <a:gd name="connsiteX23" fmla="*/ 6054 w 10000"/>
                <a:gd name="connsiteY23" fmla="*/ 9647 h 10000"/>
                <a:gd name="connsiteX24" fmla="*/ 5772 w 10000"/>
                <a:gd name="connsiteY24" fmla="*/ 9578 h 10000"/>
                <a:gd name="connsiteX25" fmla="*/ 5496 w 10000"/>
                <a:gd name="connsiteY25" fmla="*/ 9543 h 10000"/>
                <a:gd name="connsiteX26" fmla="*/ 5215 w 10000"/>
                <a:gd name="connsiteY26" fmla="*/ 9543 h 10000"/>
                <a:gd name="connsiteX27" fmla="*/ 4933 w 10000"/>
                <a:gd name="connsiteY27" fmla="*/ 9584 h 10000"/>
                <a:gd name="connsiteX28" fmla="*/ 4664 w 10000"/>
                <a:gd name="connsiteY28" fmla="*/ 9647 h 10000"/>
                <a:gd name="connsiteX29" fmla="*/ 4407 w 10000"/>
                <a:gd name="connsiteY29" fmla="*/ 9740 h 10000"/>
                <a:gd name="connsiteX30" fmla="*/ 4164 w 10000"/>
                <a:gd name="connsiteY30" fmla="*/ 9867 h 10000"/>
                <a:gd name="connsiteX31" fmla="*/ 3895 w 10000"/>
                <a:gd name="connsiteY31" fmla="*/ 9613 h 10000"/>
                <a:gd name="connsiteX32" fmla="*/ 3357 w 10000"/>
                <a:gd name="connsiteY32" fmla="*/ 9075 h 10000"/>
                <a:gd name="connsiteX33" fmla="*/ 2851 w 10000"/>
                <a:gd name="connsiteY33" fmla="*/ 8526 h 10000"/>
                <a:gd name="connsiteX34" fmla="*/ 2383 w 10000"/>
                <a:gd name="connsiteY34" fmla="*/ 7954 h 10000"/>
                <a:gd name="connsiteX35" fmla="*/ 1947 w 10000"/>
                <a:gd name="connsiteY35" fmla="*/ 7370 h 10000"/>
                <a:gd name="connsiteX36" fmla="*/ 1537 w 10000"/>
                <a:gd name="connsiteY36" fmla="*/ 6775 h 10000"/>
                <a:gd name="connsiteX37" fmla="*/ 1166 w 10000"/>
                <a:gd name="connsiteY37" fmla="*/ 6168 h 10000"/>
                <a:gd name="connsiteX38" fmla="*/ 826 w 10000"/>
                <a:gd name="connsiteY38" fmla="*/ 5549 h 10000"/>
                <a:gd name="connsiteX39" fmla="*/ 519 w 10000"/>
                <a:gd name="connsiteY39" fmla="*/ 4919 h 10000"/>
                <a:gd name="connsiteX40" fmla="*/ 243 w 10000"/>
                <a:gd name="connsiteY40" fmla="*/ 4277 h 10000"/>
                <a:gd name="connsiteX41" fmla="*/ 0 w 10000"/>
                <a:gd name="connsiteY41" fmla="*/ 3624 h 10000"/>
                <a:gd name="connsiteX42" fmla="*/ 218 w 10000"/>
                <a:gd name="connsiteY42" fmla="*/ 3503 h 10000"/>
                <a:gd name="connsiteX43" fmla="*/ 423 w 10000"/>
                <a:gd name="connsiteY43" fmla="*/ 3353 h 10000"/>
                <a:gd name="connsiteX44" fmla="*/ 602 w 10000"/>
                <a:gd name="connsiteY44" fmla="*/ 3179 h 10000"/>
                <a:gd name="connsiteX45" fmla="*/ 769 w 10000"/>
                <a:gd name="connsiteY45" fmla="*/ 2994 h 10000"/>
                <a:gd name="connsiteX46" fmla="*/ 897 w 10000"/>
                <a:gd name="connsiteY46" fmla="*/ 2775 h 10000"/>
                <a:gd name="connsiteX47" fmla="*/ 1006 w 10000"/>
                <a:gd name="connsiteY47" fmla="*/ 2555 h 10000"/>
                <a:gd name="connsiteX48" fmla="*/ 1076 w 10000"/>
                <a:gd name="connsiteY48" fmla="*/ 2335 h 10000"/>
                <a:gd name="connsiteX49" fmla="*/ 1115 w 10000"/>
                <a:gd name="connsiteY49" fmla="*/ 2104 h 10000"/>
                <a:gd name="connsiteX50" fmla="*/ 1121 w 10000"/>
                <a:gd name="connsiteY50" fmla="*/ 1884 h 10000"/>
                <a:gd name="connsiteX51" fmla="*/ 1108 w 10000"/>
                <a:gd name="connsiteY51" fmla="*/ 1653 h 10000"/>
                <a:gd name="connsiteX52" fmla="*/ 1063 w 10000"/>
                <a:gd name="connsiteY52" fmla="*/ 1434 h 10000"/>
                <a:gd name="connsiteX53" fmla="*/ 1698 w 10000"/>
                <a:gd name="connsiteY53" fmla="*/ 1162 h 10000"/>
                <a:gd name="connsiteX54" fmla="*/ 2370 w 10000"/>
                <a:gd name="connsiteY54" fmla="*/ 902 h 10000"/>
                <a:gd name="connsiteX55" fmla="*/ 3062 w 10000"/>
                <a:gd name="connsiteY55" fmla="*/ 653 h 10000"/>
                <a:gd name="connsiteX56" fmla="*/ 3780 w 10000"/>
                <a:gd name="connsiteY56" fmla="*/ 416 h 10000"/>
                <a:gd name="connsiteX57" fmla="*/ 4523 w 10000"/>
                <a:gd name="connsiteY57" fmla="*/ 202 h 10000"/>
                <a:gd name="connsiteX58" fmla="*/ 5298 w 10000"/>
                <a:gd name="connsiteY58" fmla="*/ 0 h 10000"/>
                <a:gd name="connsiteX0" fmla="*/ 5298 w 10000"/>
                <a:gd name="connsiteY0" fmla="*/ 0 h 10000"/>
                <a:gd name="connsiteX1" fmla="*/ 5106 w 10000"/>
                <a:gd name="connsiteY1" fmla="*/ 277 h 10000"/>
                <a:gd name="connsiteX2" fmla="*/ 6323 w 10000"/>
                <a:gd name="connsiteY2" fmla="*/ 5457 h 10000"/>
                <a:gd name="connsiteX3" fmla="*/ 6656 w 10000"/>
                <a:gd name="connsiteY3" fmla="*/ 5665 h 10000"/>
                <a:gd name="connsiteX4" fmla="*/ 7008 w 10000"/>
                <a:gd name="connsiteY4" fmla="*/ 5850 h 10000"/>
                <a:gd name="connsiteX5" fmla="*/ 7777 w 10000"/>
                <a:gd name="connsiteY5" fmla="*/ 6121 h 10000"/>
                <a:gd name="connsiteX6" fmla="*/ 8187 w 10000"/>
                <a:gd name="connsiteY6" fmla="*/ 6214 h 10000"/>
                <a:gd name="connsiteX7" fmla="*/ 8603 w 10000"/>
                <a:gd name="connsiteY7" fmla="*/ 6260 h 10000"/>
                <a:gd name="connsiteX8" fmla="*/ 9033 w 10000"/>
                <a:gd name="connsiteY8" fmla="*/ 6283 h 10000"/>
                <a:gd name="connsiteX9" fmla="*/ 9366 w 10000"/>
                <a:gd name="connsiteY9" fmla="*/ 6272 h 10000"/>
                <a:gd name="connsiteX10" fmla="*/ 9680 w 10000"/>
                <a:gd name="connsiteY10" fmla="*/ 6243 h 10000"/>
                <a:gd name="connsiteX11" fmla="*/ 10000 w 10000"/>
                <a:gd name="connsiteY11" fmla="*/ 6185 h 10000"/>
                <a:gd name="connsiteX12" fmla="*/ 9680 w 10000"/>
                <a:gd name="connsiteY12" fmla="*/ 6746 h 10000"/>
                <a:gd name="connsiteX13" fmla="*/ 9334 w 10000"/>
                <a:gd name="connsiteY13" fmla="*/ 7277 h 10000"/>
                <a:gd name="connsiteX14" fmla="*/ 8969 w 10000"/>
                <a:gd name="connsiteY14" fmla="*/ 7780 h 10000"/>
                <a:gd name="connsiteX15" fmla="*/ 8578 w 10000"/>
                <a:gd name="connsiteY15" fmla="*/ 8272 h 10000"/>
                <a:gd name="connsiteX16" fmla="*/ 8161 w 10000"/>
                <a:gd name="connsiteY16" fmla="*/ 8740 h 10000"/>
                <a:gd name="connsiteX17" fmla="*/ 7719 w 10000"/>
                <a:gd name="connsiteY17" fmla="*/ 9185 h 10000"/>
                <a:gd name="connsiteX18" fmla="*/ 7258 w 10000"/>
                <a:gd name="connsiteY18" fmla="*/ 9607 h 10000"/>
                <a:gd name="connsiteX19" fmla="*/ 6765 w 10000"/>
                <a:gd name="connsiteY19" fmla="*/ 10000 h 10000"/>
                <a:gd name="connsiteX20" fmla="*/ 6560 w 10000"/>
                <a:gd name="connsiteY20" fmla="*/ 9861 h 10000"/>
                <a:gd name="connsiteX21" fmla="*/ 6329 w 10000"/>
                <a:gd name="connsiteY21" fmla="*/ 9746 h 10000"/>
                <a:gd name="connsiteX22" fmla="*/ 6054 w 10000"/>
                <a:gd name="connsiteY22" fmla="*/ 9647 h 10000"/>
                <a:gd name="connsiteX23" fmla="*/ 5772 w 10000"/>
                <a:gd name="connsiteY23" fmla="*/ 9578 h 10000"/>
                <a:gd name="connsiteX24" fmla="*/ 5496 w 10000"/>
                <a:gd name="connsiteY24" fmla="*/ 9543 h 10000"/>
                <a:gd name="connsiteX25" fmla="*/ 5215 w 10000"/>
                <a:gd name="connsiteY25" fmla="*/ 9543 h 10000"/>
                <a:gd name="connsiteX26" fmla="*/ 4933 w 10000"/>
                <a:gd name="connsiteY26" fmla="*/ 9584 h 10000"/>
                <a:gd name="connsiteX27" fmla="*/ 4664 w 10000"/>
                <a:gd name="connsiteY27" fmla="*/ 9647 h 10000"/>
                <a:gd name="connsiteX28" fmla="*/ 4407 w 10000"/>
                <a:gd name="connsiteY28" fmla="*/ 9740 h 10000"/>
                <a:gd name="connsiteX29" fmla="*/ 4164 w 10000"/>
                <a:gd name="connsiteY29" fmla="*/ 9867 h 10000"/>
                <a:gd name="connsiteX30" fmla="*/ 3895 w 10000"/>
                <a:gd name="connsiteY30" fmla="*/ 9613 h 10000"/>
                <a:gd name="connsiteX31" fmla="*/ 3357 w 10000"/>
                <a:gd name="connsiteY31" fmla="*/ 9075 h 10000"/>
                <a:gd name="connsiteX32" fmla="*/ 2851 w 10000"/>
                <a:gd name="connsiteY32" fmla="*/ 8526 h 10000"/>
                <a:gd name="connsiteX33" fmla="*/ 2383 w 10000"/>
                <a:gd name="connsiteY33" fmla="*/ 7954 h 10000"/>
                <a:gd name="connsiteX34" fmla="*/ 1947 w 10000"/>
                <a:gd name="connsiteY34" fmla="*/ 7370 h 10000"/>
                <a:gd name="connsiteX35" fmla="*/ 1537 w 10000"/>
                <a:gd name="connsiteY35" fmla="*/ 6775 h 10000"/>
                <a:gd name="connsiteX36" fmla="*/ 1166 w 10000"/>
                <a:gd name="connsiteY36" fmla="*/ 6168 h 10000"/>
                <a:gd name="connsiteX37" fmla="*/ 826 w 10000"/>
                <a:gd name="connsiteY37" fmla="*/ 5549 h 10000"/>
                <a:gd name="connsiteX38" fmla="*/ 519 w 10000"/>
                <a:gd name="connsiteY38" fmla="*/ 4919 h 10000"/>
                <a:gd name="connsiteX39" fmla="*/ 243 w 10000"/>
                <a:gd name="connsiteY39" fmla="*/ 4277 h 10000"/>
                <a:gd name="connsiteX40" fmla="*/ 0 w 10000"/>
                <a:gd name="connsiteY40" fmla="*/ 3624 h 10000"/>
                <a:gd name="connsiteX41" fmla="*/ 218 w 10000"/>
                <a:gd name="connsiteY41" fmla="*/ 3503 h 10000"/>
                <a:gd name="connsiteX42" fmla="*/ 423 w 10000"/>
                <a:gd name="connsiteY42" fmla="*/ 3353 h 10000"/>
                <a:gd name="connsiteX43" fmla="*/ 602 w 10000"/>
                <a:gd name="connsiteY43" fmla="*/ 3179 h 10000"/>
                <a:gd name="connsiteX44" fmla="*/ 769 w 10000"/>
                <a:gd name="connsiteY44" fmla="*/ 2994 h 10000"/>
                <a:gd name="connsiteX45" fmla="*/ 897 w 10000"/>
                <a:gd name="connsiteY45" fmla="*/ 2775 h 10000"/>
                <a:gd name="connsiteX46" fmla="*/ 1006 w 10000"/>
                <a:gd name="connsiteY46" fmla="*/ 2555 h 10000"/>
                <a:gd name="connsiteX47" fmla="*/ 1076 w 10000"/>
                <a:gd name="connsiteY47" fmla="*/ 2335 h 10000"/>
                <a:gd name="connsiteX48" fmla="*/ 1115 w 10000"/>
                <a:gd name="connsiteY48" fmla="*/ 2104 h 10000"/>
                <a:gd name="connsiteX49" fmla="*/ 1121 w 10000"/>
                <a:gd name="connsiteY49" fmla="*/ 1884 h 10000"/>
                <a:gd name="connsiteX50" fmla="*/ 1108 w 10000"/>
                <a:gd name="connsiteY50" fmla="*/ 1653 h 10000"/>
                <a:gd name="connsiteX51" fmla="*/ 1063 w 10000"/>
                <a:gd name="connsiteY51" fmla="*/ 1434 h 10000"/>
                <a:gd name="connsiteX52" fmla="*/ 1698 w 10000"/>
                <a:gd name="connsiteY52" fmla="*/ 1162 h 10000"/>
                <a:gd name="connsiteX53" fmla="*/ 2370 w 10000"/>
                <a:gd name="connsiteY53" fmla="*/ 902 h 10000"/>
                <a:gd name="connsiteX54" fmla="*/ 3062 w 10000"/>
                <a:gd name="connsiteY54" fmla="*/ 653 h 10000"/>
                <a:gd name="connsiteX55" fmla="*/ 3780 w 10000"/>
                <a:gd name="connsiteY55" fmla="*/ 416 h 10000"/>
                <a:gd name="connsiteX56" fmla="*/ 4523 w 10000"/>
                <a:gd name="connsiteY56" fmla="*/ 202 h 10000"/>
                <a:gd name="connsiteX57" fmla="*/ 5298 w 10000"/>
                <a:gd name="connsiteY57" fmla="*/ 0 h 10000"/>
                <a:gd name="connsiteX0" fmla="*/ 5298 w 10000"/>
                <a:gd name="connsiteY0" fmla="*/ 0 h 10000"/>
                <a:gd name="connsiteX1" fmla="*/ 5106 w 10000"/>
                <a:gd name="connsiteY1" fmla="*/ 277 h 10000"/>
                <a:gd name="connsiteX2" fmla="*/ 6323 w 10000"/>
                <a:gd name="connsiteY2" fmla="*/ 5457 h 10000"/>
                <a:gd name="connsiteX3" fmla="*/ 6656 w 10000"/>
                <a:gd name="connsiteY3" fmla="*/ 5665 h 10000"/>
                <a:gd name="connsiteX4" fmla="*/ 7777 w 10000"/>
                <a:gd name="connsiteY4" fmla="*/ 6121 h 10000"/>
                <a:gd name="connsiteX5" fmla="*/ 8187 w 10000"/>
                <a:gd name="connsiteY5" fmla="*/ 6214 h 10000"/>
                <a:gd name="connsiteX6" fmla="*/ 8603 w 10000"/>
                <a:gd name="connsiteY6" fmla="*/ 6260 h 10000"/>
                <a:gd name="connsiteX7" fmla="*/ 9033 w 10000"/>
                <a:gd name="connsiteY7" fmla="*/ 6283 h 10000"/>
                <a:gd name="connsiteX8" fmla="*/ 9366 w 10000"/>
                <a:gd name="connsiteY8" fmla="*/ 6272 h 10000"/>
                <a:gd name="connsiteX9" fmla="*/ 9680 w 10000"/>
                <a:gd name="connsiteY9" fmla="*/ 6243 h 10000"/>
                <a:gd name="connsiteX10" fmla="*/ 10000 w 10000"/>
                <a:gd name="connsiteY10" fmla="*/ 6185 h 10000"/>
                <a:gd name="connsiteX11" fmla="*/ 9680 w 10000"/>
                <a:gd name="connsiteY11" fmla="*/ 6746 h 10000"/>
                <a:gd name="connsiteX12" fmla="*/ 9334 w 10000"/>
                <a:gd name="connsiteY12" fmla="*/ 7277 h 10000"/>
                <a:gd name="connsiteX13" fmla="*/ 8969 w 10000"/>
                <a:gd name="connsiteY13" fmla="*/ 7780 h 10000"/>
                <a:gd name="connsiteX14" fmla="*/ 8578 w 10000"/>
                <a:gd name="connsiteY14" fmla="*/ 8272 h 10000"/>
                <a:gd name="connsiteX15" fmla="*/ 8161 w 10000"/>
                <a:gd name="connsiteY15" fmla="*/ 8740 h 10000"/>
                <a:gd name="connsiteX16" fmla="*/ 7719 w 10000"/>
                <a:gd name="connsiteY16" fmla="*/ 9185 h 10000"/>
                <a:gd name="connsiteX17" fmla="*/ 7258 w 10000"/>
                <a:gd name="connsiteY17" fmla="*/ 9607 h 10000"/>
                <a:gd name="connsiteX18" fmla="*/ 6765 w 10000"/>
                <a:gd name="connsiteY18" fmla="*/ 10000 h 10000"/>
                <a:gd name="connsiteX19" fmla="*/ 6560 w 10000"/>
                <a:gd name="connsiteY19" fmla="*/ 9861 h 10000"/>
                <a:gd name="connsiteX20" fmla="*/ 6329 w 10000"/>
                <a:gd name="connsiteY20" fmla="*/ 9746 h 10000"/>
                <a:gd name="connsiteX21" fmla="*/ 6054 w 10000"/>
                <a:gd name="connsiteY21" fmla="*/ 9647 h 10000"/>
                <a:gd name="connsiteX22" fmla="*/ 5772 w 10000"/>
                <a:gd name="connsiteY22" fmla="*/ 9578 h 10000"/>
                <a:gd name="connsiteX23" fmla="*/ 5496 w 10000"/>
                <a:gd name="connsiteY23" fmla="*/ 9543 h 10000"/>
                <a:gd name="connsiteX24" fmla="*/ 5215 w 10000"/>
                <a:gd name="connsiteY24" fmla="*/ 9543 h 10000"/>
                <a:gd name="connsiteX25" fmla="*/ 4933 w 10000"/>
                <a:gd name="connsiteY25" fmla="*/ 9584 h 10000"/>
                <a:gd name="connsiteX26" fmla="*/ 4664 w 10000"/>
                <a:gd name="connsiteY26" fmla="*/ 9647 h 10000"/>
                <a:gd name="connsiteX27" fmla="*/ 4407 w 10000"/>
                <a:gd name="connsiteY27" fmla="*/ 9740 h 10000"/>
                <a:gd name="connsiteX28" fmla="*/ 4164 w 10000"/>
                <a:gd name="connsiteY28" fmla="*/ 9867 h 10000"/>
                <a:gd name="connsiteX29" fmla="*/ 3895 w 10000"/>
                <a:gd name="connsiteY29" fmla="*/ 9613 h 10000"/>
                <a:gd name="connsiteX30" fmla="*/ 3357 w 10000"/>
                <a:gd name="connsiteY30" fmla="*/ 9075 h 10000"/>
                <a:gd name="connsiteX31" fmla="*/ 2851 w 10000"/>
                <a:gd name="connsiteY31" fmla="*/ 8526 h 10000"/>
                <a:gd name="connsiteX32" fmla="*/ 2383 w 10000"/>
                <a:gd name="connsiteY32" fmla="*/ 7954 h 10000"/>
                <a:gd name="connsiteX33" fmla="*/ 1947 w 10000"/>
                <a:gd name="connsiteY33" fmla="*/ 7370 h 10000"/>
                <a:gd name="connsiteX34" fmla="*/ 1537 w 10000"/>
                <a:gd name="connsiteY34" fmla="*/ 6775 h 10000"/>
                <a:gd name="connsiteX35" fmla="*/ 1166 w 10000"/>
                <a:gd name="connsiteY35" fmla="*/ 6168 h 10000"/>
                <a:gd name="connsiteX36" fmla="*/ 826 w 10000"/>
                <a:gd name="connsiteY36" fmla="*/ 5549 h 10000"/>
                <a:gd name="connsiteX37" fmla="*/ 519 w 10000"/>
                <a:gd name="connsiteY37" fmla="*/ 4919 h 10000"/>
                <a:gd name="connsiteX38" fmla="*/ 243 w 10000"/>
                <a:gd name="connsiteY38" fmla="*/ 4277 h 10000"/>
                <a:gd name="connsiteX39" fmla="*/ 0 w 10000"/>
                <a:gd name="connsiteY39" fmla="*/ 3624 h 10000"/>
                <a:gd name="connsiteX40" fmla="*/ 218 w 10000"/>
                <a:gd name="connsiteY40" fmla="*/ 3503 h 10000"/>
                <a:gd name="connsiteX41" fmla="*/ 423 w 10000"/>
                <a:gd name="connsiteY41" fmla="*/ 3353 h 10000"/>
                <a:gd name="connsiteX42" fmla="*/ 602 w 10000"/>
                <a:gd name="connsiteY42" fmla="*/ 3179 h 10000"/>
                <a:gd name="connsiteX43" fmla="*/ 769 w 10000"/>
                <a:gd name="connsiteY43" fmla="*/ 2994 h 10000"/>
                <a:gd name="connsiteX44" fmla="*/ 897 w 10000"/>
                <a:gd name="connsiteY44" fmla="*/ 2775 h 10000"/>
                <a:gd name="connsiteX45" fmla="*/ 1006 w 10000"/>
                <a:gd name="connsiteY45" fmla="*/ 2555 h 10000"/>
                <a:gd name="connsiteX46" fmla="*/ 1076 w 10000"/>
                <a:gd name="connsiteY46" fmla="*/ 2335 h 10000"/>
                <a:gd name="connsiteX47" fmla="*/ 1115 w 10000"/>
                <a:gd name="connsiteY47" fmla="*/ 2104 h 10000"/>
                <a:gd name="connsiteX48" fmla="*/ 1121 w 10000"/>
                <a:gd name="connsiteY48" fmla="*/ 1884 h 10000"/>
                <a:gd name="connsiteX49" fmla="*/ 1108 w 10000"/>
                <a:gd name="connsiteY49" fmla="*/ 1653 h 10000"/>
                <a:gd name="connsiteX50" fmla="*/ 1063 w 10000"/>
                <a:gd name="connsiteY50" fmla="*/ 1434 h 10000"/>
                <a:gd name="connsiteX51" fmla="*/ 1698 w 10000"/>
                <a:gd name="connsiteY51" fmla="*/ 1162 h 10000"/>
                <a:gd name="connsiteX52" fmla="*/ 2370 w 10000"/>
                <a:gd name="connsiteY52" fmla="*/ 902 h 10000"/>
                <a:gd name="connsiteX53" fmla="*/ 3062 w 10000"/>
                <a:gd name="connsiteY53" fmla="*/ 653 h 10000"/>
                <a:gd name="connsiteX54" fmla="*/ 3780 w 10000"/>
                <a:gd name="connsiteY54" fmla="*/ 416 h 10000"/>
                <a:gd name="connsiteX55" fmla="*/ 4523 w 10000"/>
                <a:gd name="connsiteY55" fmla="*/ 202 h 10000"/>
                <a:gd name="connsiteX56" fmla="*/ 5298 w 10000"/>
                <a:gd name="connsiteY56" fmla="*/ 0 h 10000"/>
                <a:gd name="connsiteX0" fmla="*/ 5298 w 10000"/>
                <a:gd name="connsiteY0" fmla="*/ 0 h 10000"/>
                <a:gd name="connsiteX1" fmla="*/ 5106 w 10000"/>
                <a:gd name="connsiteY1" fmla="*/ 277 h 10000"/>
                <a:gd name="connsiteX2" fmla="*/ 6323 w 10000"/>
                <a:gd name="connsiteY2" fmla="*/ 5457 h 10000"/>
                <a:gd name="connsiteX3" fmla="*/ 7777 w 10000"/>
                <a:gd name="connsiteY3" fmla="*/ 6121 h 10000"/>
                <a:gd name="connsiteX4" fmla="*/ 8187 w 10000"/>
                <a:gd name="connsiteY4" fmla="*/ 6214 h 10000"/>
                <a:gd name="connsiteX5" fmla="*/ 8603 w 10000"/>
                <a:gd name="connsiteY5" fmla="*/ 6260 h 10000"/>
                <a:gd name="connsiteX6" fmla="*/ 9033 w 10000"/>
                <a:gd name="connsiteY6" fmla="*/ 6283 h 10000"/>
                <a:gd name="connsiteX7" fmla="*/ 9366 w 10000"/>
                <a:gd name="connsiteY7" fmla="*/ 6272 h 10000"/>
                <a:gd name="connsiteX8" fmla="*/ 9680 w 10000"/>
                <a:gd name="connsiteY8" fmla="*/ 6243 h 10000"/>
                <a:gd name="connsiteX9" fmla="*/ 10000 w 10000"/>
                <a:gd name="connsiteY9" fmla="*/ 6185 h 10000"/>
                <a:gd name="connsiteX10" fmla="*/ 9680 w 10000"/>
                <a:gd name="connsiteY10" fmla="*/ 6746 h 10000"/>
                <a:gd name="connsiteX11" fmla="*/ 9334 w 10000"/>
                <a:gd name="connsiteY11" fmla="*/ 7277 h 10000"/>
                <a:gd name="connsiteX12" fmla="*/ 8969 w 10000"/>
                <a:gd name="connsiteY12" fmla="*/ 7780 h 10000"/>
                <a:gd name="connsiteX13" fmla="*/ 8578 w 10000"/>
                <a:gd name="connsiteY13" fmla="*/ 8272 h 10000"/>
                <a:gd name="connsiteX14" fmla="*/ 8161 w 10000"/>
                <a:gd name="connsiteY14" fmla="*/ 8740 h 10000"/>
                <a:gd name="connsiteX15" fmla="*/ 7719 w 10000"/>
                <a:gd name="connsiteY15" fmla="*/ 9185 h 10000"/>
                <a:gd name="connsiteX16" fmla="*/ 7258 w 10000"/>
                <a:gd name="connsiteY16" fmla="*/ 9607 h 10000"/>
                <a:gd name="connsiteX17" fmla="*/ 6765 w 10000"/>
                <a:gd name="connsiteY17" fmla="*/ 10000 h 10000"/>
                <a:gd name="connsiteX18" fmla="*/ 6560 w 10000"/>
                <a:gd name="connsiteY18" fmla="*/ 9861 h 10000"/>
                <a:gd name="connsiteX19" fmla="*/ 6329 w 10000"/>
                <a:gd name="connsiteY19" fmla="*/ 9746 h 10000"/>
                <a:gd name="connsiteX20" fmla="*/ 6054 w 10000"/>
                <a:gd name="connsiteY20" fmla="*/ 9647 h 10000"/>
                <a:gd name="connsiteX21" fmla="*/ 5772 w 10000"/>
                <a:gd name="connsiteY21" fmla="*/ 9578 h 10000"/>
                <a:gd name="connsiteX22" fmla="*/ 5496 w 10000"/>
                <a:gd name="connsiteY22" fmla="*/ 9543 h 10000"/>
                <a:gd name="connsiteX23" fmla="*/ 5215 w 10000"/>
                <a:gd name="connsiteY23" fmla="*/ 9543 h 10000"/>
                <a:gd name="connsiteX24" fmla="*/ 4933 w 10000"/>
                <a:gd name="connsiteY24" fmla="*/ 9584 h 10000"/>
                <a:gd name="connsiteX25" fmla="*/ 4664 w 10000"/>
                <a:gd name="connsiteY25" fmla="*/ 9647 h 10000"/>
                <a:gd name="connsiteX26" fmla="*/ 4407 w 10000"/>
                <a:gd name="connsiteY26" fmla="*/ 9740 h 10000"/>
                <a:gd name="connsiteX27" fmla="*/ 4164 w 10000"/>
                <a:gd name="connsiteY27" fmla="*/ 9867 h 10000"/>
                <a:gd name="connsiteX28" fmla="*/ 3895 w 10000"/>
                <a:gd name="connsiteY28" fmla="*/ 9613 h 10000"/>
                <a:gd name="connsiteX29" fmla="*/ 3357 w 10000"/>
                <a:gd name="connsiteY29" fmla="*/ 9075 h 10000"/>
                <a:gd name="connsiteX30" fmla="*/ 2851 w 10000"/>
                <a:gd name="connsiteY30" fmla="*/ 8526 h 10000"/>
                <a:gd name="connsiteX31" fmla="*/ 2383 w 10000"/>
                <a:gd name="connsiteY31" fmla="*/ 7954 h 10000"/>
                <a:gd name="connsiteX32" fmla="*/ 1947 w 10000"/>
                <a:gd name="connsiteY32" fmla="*/ 7370 h 10000"/>
                <a:gd name="connsiteX33" fmla="*/ 1537 w 10000"/>
                <a:gd name="connsiteY33" fmla="*/ 6775 h 10000"/>
                <a:gd name="connsiteX34" fmla="*/ 1166 w 10000"/>
                <a:gd name="connsiteY34" fmla="*/ 6168 h 10000"/>
                <a:gd name="connsiteX35" fmla="*/ 826 w 10000"/>
                <a:gd name="connsiteY35" fmla="*/ 5549 h 10000"/>
                <a:gd name="connsiteX36" fmla="*/ 519 w 10000"/>
                <a:gd name="connsiteY36" fmla="*/ 4919 h 10000"/>
                <a:gd name="connsiteX37" fmla="*/ 243 w 10000"/>
                <a:gd name="connsiteY37" fmla="*/ 4277 h 10000"/>
                <a:gd name="connsiteX38" fmla="*/ 0 w 10000"/>
                <a:gd name="connsiteY38" fmla="*/ 3624 h 10000"/>
                <a:gd name="connsiteX39" fmla="*/ 218 w 10000"/>
                <a:gd name="connsiteY39" fmla="*/ 3503 h 10000"/>
                <a:gd name="connsiteX40" fmla="*/ 423 w 10000"/>
                <a:gd name="connsiteY40" fmla="*/ 3353 h 10000"/>
                <a:gd name="connsiteX41" fmla="*/ 602 w 10000"/>
                <a:gd name="connsiteY41" fmla="*/ 3179 h 10000"/>
                <a:gd name="connsiteX42" fmla="*/ 769 w 10000"/>
                <a:gd name="connsiteY42" fmla="*/ 2994 h 10000"/>
                <a:gd name="connsiteX43" fmla="*/ 897 w 10000"/>
                <a:gd name="connsiteY43" fmla="*/ 2775 h 10000"/>
                <a:gd name="connsiteX44" fmla="*/ 1006 w 10000"/>
                <a:gd name="connsiteY44" fmla="*/ 2555 h 10000"/>
                <a:gd name="connsiteX45" fmla="*/ 1076 w 10000"/>
                <a:gd name="connsiteY45" fmla="*/ 2335 h 10000"/>
                <a:gd name="connsiteX46" fmla="*/ 1115 w 10000"/>
                <a:gd name="connsiteY46" fmla="*/ 2104 h 10000"/>
                <a:gd name="connsiteX47" fmla="*/ 1121 w 10000"/>
                <a:gd name="connsiteY47" fmla="*/ 1884 h 10000"/>
                <a:gd name="connsiteX48" fmla="*/ 1108 w 10000"/>
                <a:gd name="connsiteY48" fmla="*/ 1653 h 10000"/>
                <a:gd name="connsiteX49" fmla="*/ 1063 w 10000"/>
                <a:gd name="connsiteY49" fmla="*/ 1434 h 10000"/>
                <a:gd name="connsiteX50" fmla="*/ 1698 w 10000"/>
                <a:gd name="connsiteY50" fmla="*/ 1162 h 10000"/>
                <a:gd name="connsiteX51" fmla="*/ 2370 w 10000"/>
                <a:gd name="connsiteY51" fmla="*/ 902 h 10000"/>
                <a:gd name="connsiteX52" fmla="*/ 3062 w 10000"/>
                <a:gd name="connsiteY52" fmla="*/ 653 h 10000"/>
                <a:gd name="connsiteX53" fmla="*/ 3780 w 10000"/>
                <a:gd name="connsiteY53" fmla="*/ 416 h 10000"/>
                <a:gd name="connsiteX54" fmla="*/ 4523 w 10000"/>
                <a:gd name="connsiteY54" fmla="*/ 202 h 10000"/>
                <a:gd name="connsiteX55" fmla="*/ 5298 w 10000"/>
                <a:gd name="connsiteY55" fmla="*/ 0 h 10000"/>
                <a:gd name="connsiteX0" fmla="*/ 5298 w 10000"/>
                <a:gd name="connsiteY0" fmla="*/ 0 h 10000"/>
                <a:gd name="connsiteX1" fmla="*/ 5106 w 10000"/>
                <a:gd name="connsiteY1" fmla="*/ 277 h 10000"/>
                <a:gd name="connsiteX2" fmla="*/ 7777 w 10000"/>
                <a:gd name="connsiteY2" fmla="*/ 6121 h 10000"/>
                <a:gd name="connsiteX3" fmla="*/ 8187 w 10000"/>
                <a:gd name="connsiteY3" fmla="*/ 6214 h 10000"/>
                <a:gd name="connsiteX4" fmla="*/ 8603 w 10000"/>
                <a:gd name="connsiteY4" fmla="*/ 6260 h 10000"/>
                <a:gd name="connsiteX5" fmla="*/ 9033 w 10000"/>
                <a:gd name="connsiteY5" fmla="*/ 6283 h 10000"/>
                <a:gd name="connsiteX6" fmla="*/ 9366 w 10000"/>
                <a:gd name="connsiteY6" fmla="*/ 6272 h 10000"/>
                <a:gd name="connsiteX7" fmla="*/ 9680 w 10000"/>
                <a:gd name="connsiteY7" fmla="*/ 6243 h 10000"/>
                <a:gd name="connsiteX8" fmla="*/ 10000 w 10000"/>
                <a:gd name="connsiteY8" fmla="*/ 6185 h 10000"/>
                <a:gd name="connsiteX9" fmla="*/ 9680 w 10000"/>
                <a:gd name="connsiteY9" fmla="*/ 6746 h 10000"/>
                <a:gd name="connsiteX10" fmla="*/ 9334 w 10000"/>
                <a:gd name="connsiteY10" fmla="*/ 7277 h 10000"/>
                <a:gd name="connsiteX11" fmla="*/ 8969 w 10000"/>
                <a:gd name="connsiteY11" fmla="*/ 7780 h 10000"/>
                <a:gd name="connsiteX12" fmla="*/ 8578 w 10000"/>
                <a:gd name="connsiteY12" fmla="*/ 8272 h 10000"/>
                <a:gd name="connsiteX13" fmla="*/ 8161 w 10000"/>
                <a:gd name="connsiteY13" fmla="*/ 8740 h 10000"/>
                <a:gd name="connsiteX14" fmla="*/ 7719 w 10000"/>
                <a:gd name="connsiteY14" fmla="*/ 9185 h 10000"/>
                <a:gd name="connsiteX15" fmla="*/ 7258 w 10000"/>
                <a:gd name="connsiteY15" fmla="*/ 9607 h 10000"/>
                <a:gd name="connsiteX16" fmla="*/ 6765 w 10000"/>
                <a:gd name="connsiteY16" fmla="*/ 10000 h 10000"/>
                <a:gd name="connsiteX17" fmla="*/ 6560 w 10000"/>
                <a:gd name="connsiteY17" fmla="*/ 9861 h 10000"/>
                <a:gd name="connsiteX18" fmla="*/ 6329 w 10000"/>
                <a:gd name="connsiteY18" fmla="*/ 9746 h 10000"/>
                <a:gd name="connsiteX19" fmla="*/ 6054 w 10000"/>
                <a:gd name="connsiteY19" fmla="*/ 9647 h 10000"/>
                <a:gd name="connsiteX20" fmla="*/ 5772 w 10000"/>
                <a:gd name="connsiteY20" fmla="*/ 9578 h 10000"/>
                <a:gd name="connsiteX21" fmla="*/ 5496 w 10000"/>
                <a:gd name="connsiteY21" fmla="*/ 9543 h 10000"/>
                <a:gd name="connsiteX22" fmla="*/ 5215 w 10000"/>
                <a:gd name="connsiteY22" fmla="*/ 9543 h 10000"/>
                <a:gd name="connsiteX23" fmla="*/ 4933 w 10000"/>
                <a:gd name="connsiteY23" fmla="*/ 9584 h 10000"/>
                <a:gd name="connsiteX24" fmla="*/ 4664 w 10000"/>
                <a:gd name="connsiteY24" fmla="*/ 9647 h 10000"/>
                <a:gd name="connsiteX25" fmla="*/ 4407 w 10000"/>
                <a:gd name="connsiteY25" fmla="*/ 9740 h 10000"/>
                <a:gd name="connsiteX26" fmla="*/ 4164 w 10000"/>
                <a:gd name="connsiteY26" fmla="*/ 9867 h 10000"/>
                <a:gd name="connsiteX27" fmla="*/ 3895 w 10000"/>
                <a:gd name="connsiteY27" fmla="*/ 9613 h 10000"/>
                <a:gd name="connsiteX28" fmla="*/ 3357 w 10000"/>
                <a:gd name="connsiteY28" fmla="*/ 9075 h 10000"/>
                <a:gd name="connsiteX29" fmla="*/ 2851 w 10000"/>
                <a:gd name="connsiteY29" fmla="*/ 8526 h 10000"/>
                <a:gd name="connsiteX30" fmla="*/ 2383 w 10000"/>
                <a:gd name="connsiteY30" fmla="*/ 7954 h 10000"/>
                <a:gd name="connsiteX31" fmla="*/ 1947 w 10000"/>
                <a:gd name="connsiteY31" fmla="*/ 7370 h 10000"/>
                <a:gd name="connsiteX32" fmla="*/ 1537 w 10000"/>
                <a:gd name="connsiteY32" fmla="*/ 6775 h 10000"/>
                <a:gd name="connsiteX33" fmla="*/ 1166 w 10000"/>
                <a:gd name="connsiteY33" fmla="*/ 6168 h 10000"/>
                <a:gd name="connsiteX34" fmla="*/ 826 w 10000"/>
                <a:gd name="connsiteY34" fmla="*/ 5549 h 10000"/>
                <a:gd name="connsiteX35" fmla="*/ 519 w 10000"/>
                <a:gd name="connsiteY35" fmla="*/ 4919 h 10000"/>
                <a:gd name="connsiteX36" fmla="*/ 243 w 10000"/>
                <a:gd name="connsiteY36" fmla="*/ 4277 h 10000"/>
                <a:gd name="connsiteX37" fmla="*/ 0 w 10000"/>
                <a:gd name="connsiteY37" fmla="*/ 3624 h 10000"/>
                <a:gd name="connsiteX38" fmla="*/ 218 w 10000"/>
                <a:gd name="connsiteY38" fmla="*/ 3503 h 10000"/>
                <a:gd name="connsiteX39" fmla="*/ 423 w 10000"/>
                <a:gd name="connsiteY39" fmla="*/ 3353 h 10000"/>
                <a:gd name="connsiteX40" fmla="*/ 602 w 10000"/>
                <a:gd name="connsiteY40" fmla="*/ 3179 h 10000"/>
                <a:gd name="connsiteX41" fmla="*/ 769 w 10000"/>
                <a:gd name="connsiteY41" fmla="*/ 2994 h 10000"/>
                <a:gd name="connsiteX42" fmla="*/ 897 w 10000"/>
                <a:gd name="connsiteY42" fmla="*/ 2775 h 10000"/>
                <a:gd name="connsiteX43" fmla="*/ 1006 w 10000"/>
                <a:gd name="connsiteY43" fmla="*/ 2555 h 10000"/>
                <a:gd name="connsiteX44" fmla="*/ 1076 w 10000"/>
                <a:gd name="connsiteY44" fmla="*/ 2335 h 10000"/>
                <a:gd name="connsiteX45" fmla="*/ 1115 w 10000"/>
                <a:gd name="connsiteY45" fmla="*/ 2104 h 10000"/>
                <a:gd name="connsiteX46" fmla="*/ 1121 w 10000"/>
                <a:gd name="connsiteY46" fmla="*/ 1884 h 10000"/>
                <a:gd name="connsiteX47" fmla="*/ 1108 w 10000"/>
                <a:gd name="connsiteY47" fmla="*/ 1653 h 10000"/>
                <a:gd name="connsiteX48" fmla="*/ 1063 w 10000"/>
                <a:gd name="connsiteY48" fmla="*/ 1434 h 10000"/>
                <a:gd name="connsiteX49" fmla="*/ 1698 w 10000"/>
                <a:gd name="connsiteY49" fmla="*/ 1162 h 10000"/>
                <a:gd name="connsiteX50" fmla="*/ 2370 w 10000"/>
                <a:gd name="connsiteY50" fmla="*/ 902 h 10000"/>
                <a:gd name="connsiteX51" fmla="*/ 3062 w 10000"/>
                <a:gd name="connsiteY51" fmla="*/ 653 h 10000"/>
                <a:gd name="connsiteX52" fmla="*/ 3780 w 10000"/>
                <a:gd name="connsiteY52" fmla="*/ 416 h 10000"/>
                <a:gd name="connsiteX53" fmla="*/ 4523 w 10000"/>
                <a:gd name="connsiteY53" fmla="*/ 202 h 10000"/>
                <a:gd name="connsiteX54" fmla="*/ 5298 w 10000"/>
                <a:gd name="connsiteY54" fmla="*/ 0 h 10000"/>
                <a:gd name="connsiteX0" fmla="*/ 5298 w 10000"/>
                <a:gd name="connsiteY0" fmla="*/ 0 h 10000"/>
                <a:gd name="connsiteX1" fmla="*/ 5106 w 10000"/>
                <a:gd name="connsiteY1" fmla="*/ 277 h 10000"/>
                <a:gd name="connsiteX2" fmla="*/ 8187 w 10000"/>
                <a:gd name="connsiteY2" fmla="*/ 6214 h 10000"/>
                <a:gd name="connsiteX3" fmla="*/ 8603 w 10000"/>
                <a:gd name="connsiteY3" fmla="*/ 6260 h 10000"/>
                <a:gd name="connsiteX4" fmla="*/ 9033 w 10000"/>
                <a:gd name="connsiteY4" fmla="*/ 6283 h 10000"/>
                <a:gd name="connsiteX5" fmla="*/ 9366 w 10000"/>
                <a:gd name="connsiteY5" fmla="*/ 6272 h 10000"/>
                <a:gd name="connsiteX6" fmla="*/ 9680 w 10000"/>
                <a:gd name="connsiteY6" fmla="*/ 6243 h 10000"/>
                <a:gd name="connsiteX7" fmla="*/ 10000 w 10000"/>
                <a:gd name="connsiteY7" fmla="*/ 6185 h 10000"/>
                <a:gd name="connsiteX8" fmla="*/ 9680 w 10000"/>
                <a:gd name="connsiteY8" fmla="*/ 6746 h 10000"/>
                <a:gd name="connsiteX9" fmla="*/ 9334 w 10000"/>
                <a:gd name="connsiteY9" fmla="*/ 7277 h 10000"/>
                <a:gd name="connsiteX10" fmla="*/ 8969 w 10000"/>
                <a:gd name="connsiteY10" fmla="*/ 7780 h 10000"/>
                <a:gd name="connsiteX11" fmla="*/ 8578 w 10000"/>
                <a:gd name="connsiteY11" fmla="*/ 8272 h 10000"/>
                <a:gd name="connsiteX12" fmla="*/ 8161 w 10000"/>
                <a:gd name="connsiteY12" fmla="*/ 8740 h 10000"/>
                <a:gd name="connsiteX13" fmla="*/ 7719 w 10000"/>
                <a:gd name="connsiteY13" fmla="*/ 9185 h 10000"/>
                <a:gd name="connsiteX14" fmla="*/ 7258 w 10000"/>
                <a:gd name="connsiteY14" fmla="*/ 9607 h 10000"/>
                <a:gd name="connsiteX15" fmla="*/ 6765 w 10000"/>
                <a:gd name="connsiteY15" fmla="*/ 10000 h 10000"/>
                <a:gd name="connsiteX16" fmla="*/ 6560 w 10000"/>
                <a:gd name="connsiteY16" fmla="*/ 9861 h 10000"/>
                <a:gd name="connsiteX17" fmla="*/ 6329 w 10000"/>
                <a:gd name="connsiteY17" fmla="*/ 9746 h 10000"/>
                <a:gd name="connsiteX18" fmla="*/ 6054 w 10000"/>
                <a:gd name="connsiteY18" fmla="*/ 9647 h 10000"/>
                <a:gd name="connsiteX19" fmla="*/ 5772 w 10000"/>
                <a:gd name="connsiteY19" fmla="*/ 9578 h 10000"/>
                <a:gd name="connsiteX20" fmla="*/ 5496 w 10000"/>
                <a:gd name="connsiteY20" fmla="*/ 9543 h 10000"/>
                <a:gd name="connsiteX21" fmla="*/ 5215 w 10000"/>
                <a:gd name="connsiteY21" fmla="*/ 9543 h 10000"/>
                <a:gd name="connsiteX22" fmla="*/ 4933 w 10000"/>
                <a:gd name="connsiteY22" fmla="*/ 9584 h 10000"/>
                <a:gd name="connsiteX23" fmla="*/ 4664 w 10000"/>
                <a:gd name="connsiteY23" fmla="*/ 9647 h 10000"/>
                <a:gd name="connsiteX24" fmla="*/ 4407 w 10000"/>
                <a:gd name="connsiteY24" fmla="*/ 9740 h 10000"/>
                <a:gd name="connsiteX25" fmla="*/ 4164 w 10000"/>
                <a:gd name="connsiteY25" fmla="*/ 9867 h 10000"/>
                <a:gd name="connsiteX26" fmla="*/ 3895 w 10000"/>
                <a:gd name="connsiteY26" fmla="*/ 9613 h 10000"/>
                <a:gd name="connsiteX27" fmla="*/ 3357 w 10000"/>
                <a:gd name="connsiteY27" fmla="*/ 9075 h 10000"/>
                <a:gd name="connsiteX28" fmla="*/ 2851 w 10000"/>
                <a:gd name="connsiteY28" fmla="*/ 8526 h 10000"/>
                <a:gd name="connsiteX29" fmla="*/ 2383 w 10000"/>
                <a:gd name="connsiteY29" fmla="*/ 7954 h 10000"/>
                <a:gd name="connsiteX30" fmla="*/ 1947 w 10000"/>
                <a:gd name="connsiteY30" fmla="*/ 7370 h 10000"/>
                <a:gd name="connsiteX31" fmla="*/ 1537 w 10000"/>
                <a:gd name="connsiteY31" fmla="*/ 6775 h 10000"/>
                <a:gd name="connsiteX32" fmla="*/ 1166 w 10000"/>
                <a:gd name="connsiteY32" fmla="*/ 6168 h 10000"/>
                <a:gd name="connsiteX33" fmla="*/ 826 w 10000"/>
                <a:gd name="connsiteY33" fmla="*/ 5549 h 10000"/>
                <a:gd name="connsiteX34" fmla="*/ 519 w 10000"/>
                <a:gd name="connsiteY34" fmla="*/ 4919 h 10000"/>
                <a:gd name="connsiteX35" fmla="*/ 243 w 10000"/>
                <a:gd name="connsiteY35" fmla="*/ 4277 h 10000"/>
                <a:gd name="connsiteX36" fmla="*/ 0 w 10000"/>
                <a:gd name="connsiteY36" fmla="*/ 3624 h 10000"/>
                <a:gd name="connsiteX37" fmla="*/ 218 w 10000"/>
                <a:gd name="connsiteY37" fmla="*/ 3503 h 10000"/>
                <a:gd name="connsiteX38" fmla="*/ 423 w 10000"/>
                <a:gd name="connsiteY38" fmla="*/ 3353 h 10000"/>
                <a:gd name="connsiteX39" fmla="*/ 602 w 10000"/>
                <a:gd name="connsiteY39" fmla="*/ 3179 h 10000"/>
                <a:gd name="connsiteX40" fmla="*/ 769 w 10000"/>
                <a:gd name="connsiteY40" fmla="*/ 2994 h 10000"/>
                <a:gd name="connsiteX41" fmla="*/ 897 w 10000"/>
                <a:gd name="connsiteY41" fmla="*/ 2775 h 10000"/>
                <a:gd name="connsiteX42" fmla="*/ 1006 w 10000"/>
                <a:gd name="connsiteY42" fmla="*/ 2555 h 10000"/>
                <a:gd name="connsiteX43" fmla="*/ 1076 w 10000"/>
                <a:gd name="connsiteY43" fmla="*/ 2335 h 10000"/>
                <a:gd name="connsiteX44" fmla="*/ 1115 w 10000"/>
                <a:gd name="connsiteY44" fmla="*/ 2104 h 10000"/>
                <a:gd name="connsiteX45" fmla="*/ 1121 w 10000"/>
                <a:gd name="connsiteY45" fmla="*/ 1884 h 10000"/>
                <a:gd name="connsiteX46" fmla="*/ 1108 w 10000"/>
                <a:gd name="connsiteY46" fmla="*/ 1653 h 10000"/>
                <a:gd name="connsiteX47" fmla="*/ 1063 w 10000"/>
                <a:gd name="connsiteY47" fmla="*/ 1434 h 10000"/>
                <a:gd name="connsiteX48" fmla="*/ 1698 w 10000"/>
                <a:gd name="connsiteY48" fmla="*/ 1162 h 10000"/>
                <a:gd name="connsiteX49" fmla="*/ 2370 w 10000"/>
                <a:gd name="connsiteY49" fmla="*/ 902 h 10000"/>
                <a:gd name="connsiteX50" fmla="*/ 3062 w 10000"/>
                <a:gd name="connsiteY50" fmla="*/ 653 h 10000"/>
                <a:gd name="connsiteX51" fmla="*/ 3780 w 10000"/>
                <a:gd name="connsiteY51" fmla="*/ 416 h 10000"/>
                <a:gd name="connsiteX52" fmla="*/ 4523 w 10000"/>
                <a:gd name="connsiteY52" fmla="*/ 202 h 10000"/>
                <a:gd name="connsiteX53" fmla="*/ 5298 w 10000"/>
                <a:gd name="connsiteY53" fmla="*/ 0 h 10000"/>
                <a:gd name="connsiteX0" fmla="*/ 5298 w 10000"/>
                <a:gd name="connsiteY0" fmla="*/ 0 h 10000"/>
                <a:gd name="connsiteX1" fmla="*/ 5106 w 10000"/>
                <a:gd name="connsiteY1" fmla="*/ 277 h 10000"/>
                <a:gd name="connsiteX2" fmla="*/ 8187 w 10000"/>
                <a:gd name="connsiteY2" fmla="*/ 6214 h 10000"/>
                <a:gd name="connsiteX3" fmla="*/ 8603 w 10000"/>
                <a:gd name="connsiteY3" fmla="*/ 6260 h 10000"/>
                <a:gd name="connsiteX4" fmla="*/ 9366 w 10000"/>
                <a:gd name="connsiteY4" fmla="*/ 6272 h 10000"/>
                <a:gd name="connsiteX5" fmla="*/ 9680 w 10000"/>
                <a:gd name="connsiteY5" fmla="*/ 6243 h 10000"/>
                <a:gd name="connsiteX6" fmla="*/ 10000 w 10000"/>
                <a:gd name="connsiteY6" fmla="*/ 6185 h 10000"/>
                <a:gd name="connsiteX7" fmla="*/ 9680 w 10000"/>
                <a:gd name="connsiteY7" fmla="*/ 6746 h 10000"/>
                <a:gd name="connsiteX8" fmla="*/ 9334 w 10000"/>
                <a:gd name="connsiteY8" fmla="*/ 7277 h 10000"/>
                <a:gd name="connsiteX9" fmla="*/ 8969 w 10000"/>
                <a:gd name="connsiteY9" fmla="*/ 7780 h 10000"/>
                <a:gd name="connsiteX10" fmla="*/ 8578 w 10000"/>
                <a:gd name="connsiteY10" fmla="*/ 8272 h 10000"/>
                <a:gd name="connsiteX11" fmla="*/ 8161 w 10000"/>
                <a:gd name="connsiteY11" fmla="*/ 8740 h 10000"/>
                <a:gd name="connsiteX12" fmla="*/ 7719 w 10000"/>
                <a:gd name="connsiteY12" fmla="*/ 9185 h 10000"/>
                <a:gd name="connsiteX13" fmla="*/ 7258 w 10000"/>
                <a:gd name="connsiteY13" fmla="*/ 9607 h 10000"/>
                <a:gd name="connsiteX14" fmla="*/ 6765 w 10000"/>
                <a:gd name="connsiteY14" fmla="*/ 10000 h 10000"/>
                <a:gd name="connsiteX15" fmla="*/ 6560 w 10000"/>
                <a:gd name="connsiteY15" fmla="*/ 9861 h 10000"/>
                <a:gd name="connsiteX16" fmla="*/ 6329 w 10000"/>
                <a:gd name="connsiteY16" fmla="*/ 9746 h 10000"/>
                <a:gd name="connsiteX17" fmla="*/ 6054 w 10000"/>
                <a:gd name="connsiteY17" fmla="*/ 9647 h 10000"/>
                <a:gd name="connsiteX18" fmla="*/ 5772 w 10000"/>
                <a:gd name="connsiteY18" fmla="*/ 9578 h 10000"/>
                <a:gd name="connsiteX19" fmla="*/ 5496 w 10000"/>
                <a:gd name="connsiteY19" fmla="*/ 9543 h 10000"/>
                <a:gd name="connsiteX20" fmla="*/ 5215 w 10000"/>
                <a:gd name="connsiteY20" fmla="*/ 9543 h 10000"/>
                <a:gd name="connsiteX21" fmla="*/ 4933 w 10000"/>
                <a:gd name="connsiteY21" fmla="*/ 9584 h 10000"/>
                <a:gd name="connsiteX22" fmla="*/ 4664 w 10000"/>
                <a:gd name="connsiteY22" fmla="*/ 9647 h 10000"/>
                <a:gd name="connsiteX23" fmla="*/ 4407 w 10000"/>
                <a:gd name="connsiteY23" fmla="*/ 9740 h 10000"/>
                <a:gd name="connsiteX24" fmla="*/ 4164 w 10000"/>
                <a:gd name="connsiteY24" fmla="*/ 9867 h 10000"/>
                <a:gd name="connsiteX25" fmla="*/ 3895 w 10000"/>
                <a:gd name="connsiteY25" fmla="*/ 9613 h 10000"/>
                <a:gd name="connsiteX26" fmla="*/ 3357 w 10000"/>
                <a:gd name="connsiteY26" fmla="*/ 9075 h 10000"/>
                <a:gd name="connsiteX27" fmla="*/ 2851 w 10000"/>
                <a:gd name="connsiteY27" fmla="*/ 8526 h 10000"/>
                <a:gd name="connsiteX28" fmla="*/ 2383 w 10000"/>
                <a:gd name="connsiteY28" fmla="*/ 7954 h 10000"/>
                <a:gd name="connsiteX29" fmla="*/ 1947 w 10000"/>
                <a:gd name="connsiteY29" fmla="*/ 7370 h 10000"/>
                <a:gd name="connsiteX30" fmla="*/ 1537 w 10000"/>
                <a:gd name="connsiteY30" fmla="*/ 6775 h 10000"/>
                <a:gd name="connsiteX31" fmla="*/ 1166 w 10000"/>
                <a:gd name="connsiteY31" fmla="*/ 6168 h 10000"/>
                <a:gd name="connsiteX32" fmla="*/ 826 w 10000"/>
                <a:gd name="connsiteY32" fmla="*/ 5549 h 10000"/>
                <a:gd name="connsiteX33" fmla="*/ 519 w 10000"/>
                <a:gd name="connsiteY33" fmla="*/ 4919 h 10000"/>
                <a:gd name="connsiteX34" fmla="*/ 243 w 10000"/>
                <a:gd name="connsiteY34" fmla="*/ 4277 h 10000"/>
                <a:gd name="connsiteX35" fmla="*/ 0 w 10000"/>
                <a:gd name="connsiteY35" fmla="*/ 3624 h 10000"/>
                <a:gd name="connsiteX36" fmla="*/ 218 w 10000"/>
                <a:gd name="connsiteY36" fmla="*/ 3503 h 10000"/>
                <a:gd name="connsiteX37" fmla="*/ 423 w 10000"/>
                <a:gd name="connsiteY37" fmla="*/ 3353 h 10000"/>
                <a:gd name="connsiteX38" fmla="*/ 602 w 10000"/>
                <a:gd name="connsiteY38" fmla="*/ 3179 h 10000"/>
                <a:gd name="connsiteX39" fmla="*/ 769 w 10000"/>
                <a:gd name="connsiteY39" fmla="*/ 2994 h 10000"/>
                <a:gd name="connsiteX40" fmla="*/ 897 w 10000"/>
                <a:gd name="connsiteY40" fmla="*/ 2775 h 10000"/>
                <a:gd name="connsiteX41" fmla="*/ 1006 w 10000"/>
                <a:gd name="connsiteY41" fmla="*/ 2555 h 10000"/>
                <a:gd name="connsiteX42" fmla="*/ 1076 w 10000"/>
                <a:gd name="connsiteY42" fmla="*/ 2335 h 10000"/>
                <a:gd name="connsiteX43" fmla="*/ 1115 w 10000"/>
                <a:gd name="connsiteY43" fmla="*/ 2104 h 10000"/>
                <a:gd name="connsiteX44" fmla="*/ 1121 w 10000"/>
                <a:gd name="connsiteY44" fmla="*/ 1884 h 10000"/>
                <a:gd name="connsiteX45" fmla="*/ 1108 w 10000"/>
                <a:gd name="connsiteY45" fmla="*/ 1653 h 10000"/>
                <a:gd name="connsiteX46" fmla="*/ 1063 w 10000"/>
                <a:gd name="connsiteY46" fmla="*/ 1434 h 10000"/>
                <a:gd name="connsiteX47" fmla="*/ 1698 w 10000"/>
                <a:gd name="connsiteY47" fmla="*/ 1162 h 10000"/>
                <a:gd name="connsiteX48" fmla="*/ 2370 w 10000"/>
                <a:gd name="connsiteY48" fmla="*/ 902 h 10000"/>
                <a:gd name="connsiteX49" fmla="*/ 3062 w 10000"/>
                <a:gd name="connsiteY49" fmla="*/ 653 h 10000"/>
                <a:gd name="connsiteX50" fmla="*/ 3780 w 10000"/>
                <a:gd name="connsiteY50" fmla="*/ 416 h 10000"/>
                <a:gd name="connsiteX51" fmla="*/ 4523 w 10000"/>
                <a:gd name="connsiteY51" fmla="*/ 202 h 10000"/>
                <a:gd name="connsiteX52" fmla="*/ 5298 w 10000"/>
                <a:gd name="connsiteY52" fmla="*/ 0 h 10000"/>
                <a:gd name="connsiteX0" fmla="*/ 5298 w 10000"/>
                <a:gd name="connsiteY0" fmla="*/ 0 h 10000"/>
                <a:gd name="connsiteX1" fmla="*/ 5106 w 10000"/>
                <a:gd name="connsiteY1" fmla="*/ 277 h 10000"/>
                <a:gd name="connsiteX2" fmla="*/ 8187 w 10000"/>
                <a:gd name="connsiteY2" fmla="*/ 6214 h 10000"/>
                <a:gd name="connsiteX3" fmla="*/ 9366 w 10000"/>
                <a:gd name="connsiteY3" fmla="*/ 6272 h 10000"/>
                <a:gd name="connsiteX4" fmla="*/ 9680 w 10000"/>
                <a:gd name="connsiteY4" fmla="*/ 6243 h 10000"/>
                <a:gd name="connsiteX5" fmla="*/ 10000 w 10000"/>
                <a:gd name="connsiteY5" fmla="*/ 6185 h 10000"/>
                <a:gd name="connsiteX6" fmla="*/ 9680 w 10000"/>
                <a:gd name="connsiteY6" fmla="*/ 6746 h 10000"/>
                <a:gd name="connsiteX7" fmla="*/ 9334 w 10000"/>
                <a:gd name="connsiteY7" fmla="*/ 7277 h 10000"/>
                <a:gd name="connsiteX8" fmla="*/ 8969 w 10000"/>
                <a:gd name="connsiteY8" fmla="*/ 7780 h 10000"/>
                <a:gd name="connsiteX9" fmla="*/ 8578 w 10000"/>
                <a:gd name="connsiteY9" fmla="*/ 8272 h 10000"/>
                <a:gd name="connsiteX10" fmla="*/ 8161 w 10000"/>
                <a:gd name="connsiteY10" fmla="*/ 8740 h 10000"/>
                <a:gd name="connsiteX11" fmla="*/ 7719 w 10000"/>
                <a:gd name="connsiteY11" fmla="*/ 9185 h 10000"/>
                <a:gd name="connsiteX12" fmla="*/ 7258 w 10000"/>
                <a:gd name="connsiteY12" fmla="*/ 9607 h 10000"/>
                <a:gd name="connsiteX13" fmla="*/ 6765 w 10000"/>
                <a:gd name="connsiteY13" fmla="*/ 10000 h 10000"/>
                <a:gd name="connsiteX14" fmla="*/ 6560 w 10000"/>
                <a:gd name="connsiteY14" fmla="*/ 9861 h 10000"/>
                <a:gd name="connsiteX15" fmla="*/ 6329 w 10000"/>
                <a:gd name="connsiteY15" fmla="*/ 9746 h 10000"/>
                <a:gd name="connsiteX16" fmla="*/ 6054 w 10000"/>
                <a:gd name="connsiteY16" fmla="*/ 9647 h 10000"/>
                <a:gd name="connsiteX17" fmla="*/ 5772 w 10000"/>
                <a:gd name="connsiteY17" fmla="*/ 9578 h 10000"/>
                <a:gd name="connsiteX18" fmla="*/ 5496 w 10000"/>
                <a:gd name="connsiteY18" fmla="*/ 9543 h 10000"/>
                <a:gd name="connsiteX19" fmla="*/ 5215 w 10000"/>
                <a:gd name="connsiteY19" fmla="*/ 9543 h 10000"/>
                <a:gd name="connsiteX20" fmla="*/ 4933 w 10000"/>
                <a:gd name="connsiteY20" fmla="*/ 9584 h 10000"/>
                <a:gd name="connsiteX21" fmla="*/ 4664 w 10000"/>
                <a:gd name="connsiteY21" fmla="*/ 9647 h 10000"/>
                <a:gd name="connsiteX22" fmla="*/ 4407 w 10000"/>
                <a:gd name="connsiteY22" fmla="*/ 9740 h 10000"/>
                <a:gd name="connsiteX23" fmla="*/ 4164 w 10000"/>
                <a:gd name="connsiteY23" fmla="*/ 9867 h 10000"/>
                <a:gd name="connsiteX24" fmla="*/ 3895 w 10000"/>
                <a:gd name="connsiteY24" fmla="*/ 9613 h 10000"/>
                <a:gd name="connsiteX25" fmla="*/ 3357 w 10000"/>
                <a:gd name="connsiteY25" fmla="*/ 9075 h 10000"/>
                <a:gd name="connsiteX26" fmla="*/ 2851 w 10000"/>
                <a:gd name="connsiteY26" fmla="*/ 8526 h 10000"/>
                <a:gd name="connsiteX27" fmla="*/ 2383 w 10000"/>
                <a:gd name="connsiteY27" fmla="*/ 7954 h 10000"/>
                <a:gd name="connsiteX28" fmla="*/ 1947 w 10000"/>
                <a:gd name="connsiteY28" fmla="*/ 7370 h 10000"/>
                <a:gd name="connsiteX29" fmla="*/ 1537 w 10000"/>
                <a:gd name="connsiteY29" fmla="*/ 6775 h 10000"/>
                <a:gd name="connsiteX30" fmla="*/ 1166 w 10000"/>
                <a:gd name="connsiteY30" fmla="*/ 6168 h 10000"/>
                <a:gd name="connsiteX31" fmla="*/ 826 w 10000"/>
                <a:gd name="connsiteY31" fmla="*/ 5549 h 10000"/>
                <a:gd name="connsiteX32" fmla="*/ 519 w 10000"/>
                <a:gd name="connsiteY32" fmla="*/ 4919 h 10000"/>
                <a:gd name="connsiteX33" fmla="*/ 243 w 10000"/>
                <a:gd name="connsiteY33" fmla="*/ 4277 h 10000"/>
                <a:gd name="connsiteX34" fmla="*/ 0 w 10000"/>
                <a:gd name="connsiteY34" fmla="*/ 3624 h 10000"/>
                <a:gd name="connsiteX35" fmla="*/ 218 w 10000"/>
                <a:gd name="connsiteY35" fmla="*/ 3503 h 10000"/>
                <a:gd name="connsiteX36" fmla="*/ 423 w 10000"/>
                <a:gd name="connsiteY36" fmla="*/ 3353 h 10000"/>
                <a:gd name="connsiteX37" fmla="*/ 602 w 10000"/>
                <a:gd name="connsiteY37" fmla="*/ 3179 h 10000"/>
                <a:gd name="connsiteX38" fmla="*/ 769 w 10000"/>
                <a:gd name="connsiteY38" fmla="*/ 2994 h 10000"/>
                <a:gd name="connsiteX39" fmla="*/ 897 w 10000"/>
                <a:gd name="connsiteY39" fmla="*/ 2775 h 10000"/>
                <a:gd name="connsiteX40" fmla="*/ 1006 w 10000"/>
                <a:gd name="connsiteY40" fmla="*/ 2555 h 10000"/>
                <a:gd name="connsiteX41" fmla="*/ 1076 w 10000"/>
                <a:gd name="connsiteY41" fmla="*/ 2335 h 10000"/>
                <a:gd name="connsiteX42" fmla="*/ 1115 w 10000"/>
                <a:gd name="connsiteY42" fmla="*/ 2104 h 10000"/>
                <a:gd name="connsiteX43" fmla="*/ 1121 w 10000"/>
                <a:gd name="connsiteY43" fmla="*/ 1884 h 10000"/>
                <a:gd name="connsiteX44" fmla="*/ 1108 w 10000"/>
                <a:gd name="connsiteY44" fmla="*/ 1653 h 10000"/>
                <a:gd name="connsiteX45" fmla="*/ 1063 w 10000"/>
                <a:gd name="connsiteY45" fmla="*/ 1434 h 10000"/>
                <a:gd name="connsiteX46" fmla="*/ 1698 w 10000"/>
                <a:gd name="connsiteY46" fmla="*/ 1162 h 10000"/>
                <a:gd name="connsiteX47" fmla="*/ 2370 w 10000"/>
                <a:gd name="connsiteY47" fmla="*/ 902 h 10000"/>
                <a:gd name="connsiteX48" fmla="*/ 3062 w 10000"/>
                <a:gd name="connsiteY48" fmla="*/ 653 h 10000"/>
                <a:gd name="connsiteX49" fmla="*/ 3780 w 10000"/>
                <a:gd name="connsiteY49" fmla="*/ 416 h 10000"/>
                <a:gd name="connsiteX50" fmla="*/ 4523 w 10000"/>
                <a:gd name="connsiteY50" fmla="*/ 202 h 10000"/>
                <a:gd name="connsiteX51" fmla="*/ 5298 w 10000"/>
                <a:gd name="connsiteY51" fmla="*/ 0 h 10000"/>
                <a:gd name="connsiteX0" fmla="*/ 5298 w 10000"/>
                <a:gd name="connsiteY0" fmla="*/ 0 h 10000"/>
                <a:gd name="connsiteX1" fmla="*/ 5106 w 10000"/>
                <a:gd name="connsiteY1" fmla="*/ 277 h 10000"/>
                <a:gd name="connsiteX2" fmla="*/ 9366 w 10000"/>
                <a:gd name="connsiteY2" fmla="*/ 6272 h 10000"/>
                <a:gd name="connsiteX3" fmla="*/ 9680 w 10000"/>
                <a:gd name="connsiteY3" fmla="*/ 6243 h 10000"/>
                <a:gd name="connsiteX4" fmla="*/ 10000 w 10000"/>
                <a:gd name="connsiteY4" fmla="*/ 6185 h 10000"/>
                <a:gd name="connsiteX5" fmla="*/ 9680 w 10000"/>
                <a:gd name="connsiteY5" fmla="*/ 6746 h 10000"/>
                <a:gd name="connsiteX6" fmla="*/ 9334 w 10000"/>
                <a:gd name="connsiteY6" fmla="*/ 7277 h 10000"/>
                <a:gd name="connsiteX7" fmla="*/ 8969 w 10000"/>
                <a:gd name="connsiteY7" fmla="*/ 7780 h 10000"/>
                <a:gd name="connsiteX8" fmla="*/ 8578 w 10000"/>
                <a:gd name="connsiteY8" fmla="*/ 8272 h 10000"/>
                <a:gd name="connsiteX9" fmla="*/ 8161 w 10000"/>
                <a:gd name="connsiteY9" fmla="*/ 8740 h 10000"/>
                <a:gd name="connsiteX10" fmla="*/ 7719 w 10000"/>
                <a:gd name="connsiteY10" fmla="*/ 9185 h 10000"/>
                <a:gd name="connsiteX11" fmla="*/ 7258 w 10000"/>
                <a:gd name="connsiteY11" fmla="*/ 9607 h 10000"/>
                <a:gd name="connsiteX12" fmla="*/ 6765 w 10000"/>
                <a:gd name="connsiteY12" fmla="*/ 10000 h 10000"/>
                <a:gd name="connsiteX13" fmla="*/ 6560 w 10000"/>
                <a:gd name="connsiteY13" fmla="*/ 9861 h 10000"/>
                <a:gd name="connsiteX14" fmla="*/ 6329 w 10000"/>
                <a:gd name="connsiteY14" fmla="*/ 9746 h 10000"/>
                <a:gd name="connsiteX15" fmla="*/ 6054 w 10000"/>
                <a:gd name="connsiteY15" fmla="*/ 9647 h 10000"/>
                <a:gd name="connsiteX16" fmla="*/ 5772 w 10000"/>
                <a:gd name="connsiteY16" fmla="*/ 9578 h 10000"/>
                <a:gd name="connsiteX17" fmla="*/ 5496 w 10000"/>
                <a:gd name="connsiteY17" fmla="*/ 9543 h 10000"/>
                <a:gd name="connsiteX18" fmla="*/ 5215 w 10000"/>
                <a:gd name="connsiteY18" fmla="*/ 9543 h 10000"/>
                <a:gd name="connsiteX19" fmla="*/ 4933 w 10000"/>
                <a:gd name="connsiteY19" fmla="*/ 9584 h 10000"/>
                <a:gd name="connsiteX20" fmla="*/ 4664 w 10000"/>
                <a:gd name="connsiteY20" fmla="*/ 9647 h 10000"/>
                <a:gd name="connsiteX21" fmla="*/ 4407 w 10000"/>
                <a:gd name="connsiteY21" fmla="*/ 9740 h 10000"/>
                <a:gd name="connsiteX22" fmla="*/ 4164 w 10000"/>
                <a:gd name="connsiteY22" fmla="*/ 9867 h 10000"/>
                <a:gd name="connsiteX23" fmla="*/ 3895 w 10000"/>
                <a:gd name="connsiteY23" fmla="*/ 9613 h 10000"/>
                <a:gd name="connsiteX24" fmla="*/ 3357 w 10000"/>
                <a:gd name="connsiteY24" fmla="*/ 9075 h 10000"/>
                <a:gd name="connsiteX25" fmla="*/ 2851 w 10000"/>
                <a:gd name="connsiteY25" fmla="*/ 8526 h 10000"/>
                <a:gd name="connsiteX26" fmla="*/ 2383 w 10000"/>
                <a:gd name="connsiteY26" fmla="*/ 7954 h 10000"/>
                <a:gd name="connsiteX27" fmla="*/ 1947 w 10000"/>
                <a:gd name="connsiteY27" fmla="*/ 7370 h 10000"/>
                <a:gd name="connsiteX28" fmla="*/ 1537 w 10000"/>
                <a:gd name="connsiteY28" fmla="*/ 6775 h 10000"/>
                <a:gd name="connsiteX29" fmla="*/ 1166 w 10000"/>
                <a:gd name="connsiteY29" fmla="*/ 6168 h 10000"/>
                <a:gd name="connsiteX30" fmla="*/ 826 w 10000"/>
                <a:gd name="connsiteY30" fmla="*/ 5549 h 10000"/>
                <a:gd name="connsiteX31" fmla="*/ 519 w 10000"/>
                <a:gd name="connsiteY31" fmla="*/ 4919 h 10000"/>
                <a:gd name="connsiteX32" fmla="*/ 243 w 10000"/>
                <a:gd name="connsiteY32" fmla="*/ 4277 h 10000"/>
                <a:gd name="connsiteX33" fmla="*/ 0 w 10000"/>
                <a:gd name="connsiteY33" fmla="*/ 3624 h 10000"/>
                <a:gd name="connsiteX34" fmla="*/ 218 w 10000"/>
                <a:gd name="connsiteY34" fmla="*/ 3503 h 10000"/>
                <a:gd name="connsiteX35" fmla="*/ 423 w 10000"/>
                <a:gd name="connsiteY35" fmla="*/ 3353 h 10000"/>
                <a:gd name="connsiteX36" fmla="*/ 602 w 10000"/>
                <a:gd name="connsiteY36" fmla="*/ 3179 h 10000"/>
                <a:gd name="connsiteX37" fmla="*/ 769 w 10000"/>
                <a:gd name="connsiteY37" fmla="*/ 2994 h 10000"/>
                <a:gd name="connsiteX38" fmla="*/ 897 w 10000"/>
                <a:gd name="connsiteY38" fmla="*/ 2775 h 10000"/>
                <a:gd name="connsiteX39" fmla="*/ 1006 w 10000"/>
                <a:gd name="connsiteY39" fmla="*/ 2555 h 10000"/>
                <a:gd name="connsiteX40" fmla="*/ 1076 w 10000"/>
                <a:gd name="connsiteY40" fmla="*/ 2335 h 10000"/>
                <a:gd name="connsiteX41" fmla="*/ 1115 w 10000"/>
                <a:gd name="connsiteY41" fmla="*/ 2104 h 10000"/>
                <a:gd name="connsiteX42" fmla="*/ 1121 w 10000"/>
                <a:gd name="connsiteY42" fmla="*/ 1884 h 10000"/>
                <a:gd name="connsiteX43" fmla="*/ 1108 w 10000"/>
                <a:gd name="connsiteY43" fmla="*/ 1653 h 10000"/>
                <a:gd name="connsiteX44" fmla="*/ 1063 w 10000"/>
                <a:gd name="connsiteY44" fmla="*/ 1434 h 10000"/>
                <a:gd name="connsiteX45" fmla="*/ 1698 w 10000"/>
                <a:gd name="connsiteY45" fmla="*/ 1162 h 10000"/>
                <a:gd name="connsiteX46" fmla="*/ 2370 w 10000"/>
                <a:gd name="connsiteY46" fmla="*/ 902 h 10000"/>
                <a:gd name="connsiteX47" fmla="*/ 3062 w 10000"/>
                <a:gd name="connsiteY47" fmla="*/ 653 h 10000"/>
                <a:gd name="connsiteX48" fmla="*/ 3780 w 10000"/>
                <a:gd name="connsiteY48" fmla="*/ 416 h 10000"/>
                <a:gd name="connsiteX49" fmla="*/ 4523 w 10000"/>
                <a:gd name="connsiteY49" fmla="*/ 202 h 10000"/>
                <a:gd name="connsiteX50" fmla="*/ 5298 w 10000"/>
                <a:gd name="connsiteY50" fmla="*/ 0 h 10000"/>
                <a:gd name="connsiteX0" fmla="*/ 5298 w 10000"/>
                <a:gd name="connsiteY0" fmla="*/ 0 h 10000"/>
                <a:gd name="connsiteX1" fmla="*/ 5106 w 10000"/>
                <a:gd name="connsiteY1" fmla="*/ 277 h 10000"/>
                <a:gd name="connsiteX2" fmla="*/ 9680 w 10000"/>
                <a:gd name="connsiteY2" fmla="*/ 6243 h 10000"/>
                <a:gd name="connsiteX3" fmla="*/ 10000 w 10000"/>
                <a:gd name="connsiteY3" fmla="*/ 6185 h 10000"/>
                <a:gd name="connsiteX4" fmla="*/ 9680 w 10000"/>
                <a:gd name="connsiteY4" fmla="*/ 6746 h 10000"/>
                <a:gd name="connsiteX5" fmla="*/ 9334 w 10000"/>
                <a:gd name="connsiteY5" fmla="*/ 7277 h 10000"/>
                <a:gd name="connsiteX6" fmla="*/ 8969 w 10000"/>
                <a:gd name="connsiteY6" fmla="*/ 7780 h 10000"/>
                <a:gd name="connsiteX7" fmla="*/ 8578 w 10000"/>
                <a:gd name="connsiteY7" fmla="*/ 8272 h 10000"/>
                <a:gd name="connsiteX8" fmla="*/ 8161 w 10000"/>
                <a:gd name="connsiteY8" fmla="*/ 8740 h 10000"/>
                <a:gd name="connsiteX9" fmla="*/ 7719 w 10000"/>
                <a:gd name="connsiteY9" fmla="*/ 9185 h 10000"/>
                <a:gd name="connsiteX10" fmla="*/ 7258 w 10000"/>
                <a:gd name="connsiteY10" fmla="*/ 9607 h 10000"/>
                <a:gd name="connsiteX11" fmla="*/ 6765 w 10000"/>
                <a:gd name="connsiteY11" fmla="*/ 10000 h 10000"/>
                <a:gd name="connsiteX12" fmla="*/ 6560 w 10000"/>
                <a:gd name="connsiteY12" fmla="*/ 9861 h 10000"/>
                <a:gd name="connsiteX13" fmla="*/ 6329 w 10000"/>
                <a:gd name="connsiteY13" fmla="*/ 9746 h 10000"/>
                <a:gd name="connsiteX14" fmla="*/ 6054 w 10000"/>
                <a:gd name="connsiteY14" fmla="*/ 9647 h 10000"/>
                <a:gd name="connsiteX15" fmla="*/ 5772 w 10000"/>
                <a:gd name="connsiteY15" fmla="*/ 9578 h 10000"/>
                <a:gd name="connsiteX16" fmla="*/ 5496 w 10000"/>
                <a:gd name="connsiteY16" fmla="*/ 9543 h 10000"/>
                <a:gd name="connsiteX17" fmla="*/ 5215 w 10000"/>
                <a:gd name="connsiteY17" fmla="*/ 9543 h 10000"/>
                <a:gd name="connsiteX18" fmla="*/ 4933 w 10000"/>
                <a:gd name="connsiteY18" fmla="*/ 9584 h 10000"/>
                <a:gd name="connsiteX19" fmla="*/ 4664 w 10000"/>
                <a:gd name="connsiteY19" fmla="*/ 9647 h 10000"/>
                <a:gd name="connsiteX20" fmla="*/ 4407 w 10000"/>
                <a:gd name="connsiteY20" fmla="*/ 9740 h 10000"/>
                <a:gd name="connsiteX21" fmla="*/ 4164 w 10000"/>
                <a:gd name="connsiteY21" fmla="*/ 9867 h 10000"/>
                <a:gd name="connsiteX22" fmla="*/ 3895 w 10000"/>
                <a:gd name="connsiteY22" fmla="*/ 9613 h 10000"/>
                <a:gd name="connsiteX23" fmla="*/ 3357 w 10000"/>
                <a:gd name="connsiteY23" fmla="*/ 9075 h 10000"/>
                <a:gd name="connsiteX24" fmla="*/ 2851 w 10000"/>
                <a:gd name="connsiteY24" fmla="*/ 8526 h 10000"/>
                <a:gd name="connsiteX25" fmla="*/ 2383 w 10000"/>
                <a:gd name="connsiteY25" fmla="*/ 7954 h 10000"/>
                <a:gd name="connsiteX26" fmla="*/ 1947 w 10000"/>
                <a:gd name="connsiteY26" fmla="*/ 7370 h 10000"/>
                <a:gd name="connsiteX27" fmla="*/ 1537 w 10000"/>
                <a:gd name="connsiteY27" fmla="*/ 6775 h 10000"/>
                <a:gd name="connsiteX28" fmla="*/ 1166 w 10000"/>
                <a:gd name="connsiteY28" fmla="*/ 6168 h 10000"/>
                <a:gd name="connsiteX29" fmla="*/ 826 w 10000"/>
                <a:gd name="connsiteY29" fmla="*/ 5549 h 10000"/>
                <a:gd name="connsiteX30" fmla="*/ 519 w 10000"/>
                <a:gd name="connsiteY30" fmla="*/ 4919 h 10000"/>
                <a:gd name="connsiteX31" fmla="*/ 243 w 10000"/>
                <a:gd name="connsiteY31" fmla="*/ 4277 h 10000"/>
                <a:gd name="connsiteX32" fmla="*/ 0 w 10000"/>
                <a:gd name="connsiteY32" fmla="*/ 3624 h 10000"/>
                <a:gd name="connsiteX33" fmla="*/ 218 w 10000"/>
                <a:gd name="connsiteY33" fmla="*/ 3503 h 10000"/>
                <a:gd name="connsiteX34" fmla="*/ 423 w 10000"/>
                <a:gd name="connsiteY34" fmla="*/ 3353 h 10000"/>
                <a:gd name="connsiteX35" fmla="*/ 602 w 10000"/>
                <a:gd name="connsiteY35" fmla="*/ 3179 h 10000"/>
                <a:gd name="connsiteX36" fmla="*/ 769 w 10000"/>
                <a:gd name="connsiteY36" fmla="*/ 2994 h 10000"/>
                <a:gd name="connsiteX37" fmla="*/ 897 w 10000"/>
                <a:gd name="connsiteY37" fmla="*/ 2775 h 10000"/>
                <a:gd name="connsiteX38" fmla="*/ 1006 w 10000"/>
                <a:gd name="connsiteY38" fmla="*/ 2555 h 10000"/>
                <a:gd name="connsiteX39" fmla="*/ 1076 w 10000"/>
                <a:gd name="connsiteY39" fmla="*/ 2335 h 10000"/>
                <a:gd name="connsiteX40" fmla="*/ 1115 w 10000"/>
                <a:gd name="connsiteY40" fmla="*/ 2104 h 10000"/>
                <a:gd name="connsiteX41" fmla="*/ 1121 w 10000"/>
                <a:gd name="connsiteY41" fmla="*/ 1884 h 10000"/>
                <a:gd name="connsiteX42" fmla="*/ 1108 w 10000"/>
                <a:gd name="connsiteY42" fmla="*/ 1653 h 10000"/>
                <a:gd name="connsiteX43" fmla="*/ 1063 w 10000"/>
                <a:gd name="connsiteY43" fmla="*/ 1434 h 10000"/>
                <a:gd name="connsiteX44" fmla="*/ 1698 w 10000"/>
                <a:gd name="connsiteY44" fmla="*/ 1162 h 10000"/>
                <a:gd name="connsiteX45" fmla="*/ 2370 w 10000"/>
                <a:gd name="connsiteY45" fmla="*/ 902 h 10000"/>
                <a:gd name="connsiteX46" fmla="*/ 3062 w 10000"/>
                <a:gd name="connsiteY46" fmla="*/ 653 h 10000"/>
                <a:gd name="connsiteX47" fmla="*/ 3780 w 10000"/>
                <a:gd name="connsiteY47" fmla="*/ 416 h 10000"/>
                <a:gd name="connsiteX48" fmla="*/ 4523 w 10000"/>
                <a:gd name="connsiteY48" fmla="*/ 202 h 10000"/>
                <a:gd name="connsiteX49" fmla="*/ 5298 w 10000"/>
                <a:gd name="connsiteY49" fmla="*/ 0 h 10000"/>
                <a:gd name="connsiteX0" fmla="*/ 5298 w 10000"/>
                <a:gd name="connsiteY0" fmla="*/ 0 h 10000"/>
                <a:gd name="connsiteX1" fmla="*/ 5106 w 10000"/>
                <a:gd name="connsiteY1" fmla="*/ 277 h 10000"/>
                <a:gd name="connsiteX2" fmla="*/ 10000 w 10000"/>
                <a:gd name="connsiteY2" fmla="*/ 6185 h 10000"/>
                <a:gd name="connsiteX3" fmla="*/ 9680 w 10000"/>
                <a:gd name="connsiteY3" fmla="*/ 6746 h 10000"/>
                <a:gd name="connsiteX4" fmla="*/ 9334 w 10000"/>
                <a:gd name="connsiteY4" fmla="*/ 7277 h 10000"/>
                <a:gd name="connsiteX5" fmla="*/ 8969 w 10000"/>
                <a:gd name="connsiteY5" fmla="*/ 7780 h 10000"/>
                <a:gd name="connsiteX6" fmla="*/ 8578 w 10000"/>
                <a:gd name="connsiteY6" fmla="*/ 8272 h 10000"/>
                <a:gd name="connsiteX7" fmla="*/ 8161 w 10000"/>
                <a:gd name="connsiteY7" fmla="*/ 8740 h 10000"/>
                <a:gd name="connsiteX8" fmla="*/ 7719 w 10000"/>
                <a:gd name="connsiteY8" fmla="*/ 9185 h 10000"/>
                <a:gd name="connsiteX9" fmla="*/ 7258 w 10000"/>
                <a:gd name="connsiteY9" fmla="*/ 9607 h 10000"/>
                <a:gd name="connsiteX10" fmla="*/ 6765 w 10000"/>
                <a:gd name="connsiteY10" fmla="*/ 10000 h 10000"/>
                <a:gd name="connsiteX11" fmla="*/ 6560 w 10000"/>
                <a:gd name="connsiteY11" fmla="*/ 9861 h 10000"/>
                <a:gd name="connsiteX12" fmla="*/ 6329 w 10000"/>
                <a:gd name="connsiteY12" fmla="*/ 9746 h 10000"/>
                <a:gd name="connsiteX13" fmla="*/ 6054 w 10000"/>
                <a:gd name="connsiteY13" fmla="*/ 9647 h 10000"/>
                <a:gd name="connsiteX14" fmla="*/ 5772 w 10000"/>
                <a:gd name="connsiteY14" fmla="*/ 9578 h 10000"/>
                <a:gd name="connsiteX15" fmla="*/ 5496 w 10000"/>
                <a:gd name="connsiteY15" fmla="*/ 9543 h 10000"/>
                <a:gd name="connsiteX16" fmla="*/ 5215 w 10000"/>
                <a:gd name="connsiteY16" fmla="*/ 9543 h 10000"/>
                <a:gd name="connsiteX17" fmla="*/ 4933 w 10000"/>
                <a:gd name="connsiteY17" fmla="*/ 9584 h 10000"/>
                <a:gd name="connsiteX18" fmla="*/ 4664 w 10000"/>
                <a:gd name="connsiteY18" fmla="*/ 9647 h 10000"/>
                <a:gd name="connsiteX19" fmla="*/ 4407 w 10000"/>
                <a:gd name="connsiteY19" fmla="*/ 9740 h 10000"/>
                <a:gd name="connsiteX20" fmla="*/ 4164 w 10000"/>
                <a:gd name="connsiteY20" fmla="*/ 9867 h 10000"/>
                <a:gd name="connsiteX21" fmla="*/ 3895 w 10000"/>
                <a:gd name="connsiteY21" fmla="*/ 9613 h 10000"/>
                <a:gd name="connsiteX22" fmla="*/ 3357 w 10000"/>
                <a:gd name="connsiteY22" fmla="*/ 9075 h 10000"/>
                <a:gd name="connsiteX23" fmla="*/ 2851 w 10000"/>
                <a:gd name="connsiteY23" fmla="*/ 8526 h 10000"/>
                <a:gd name="connsiteX24" fmla="*/ 2383 w 10000"/>
                <a:gd name="connsiteY24" fmla="*/ 7954 h 10000"/>
                <a:gd name="connsiteX25" fmla="*/ 1947 w 10000"/>
                <a:gd name="connsiteY25" fmla="*/ 7370 h 10000"/>
                <a:gd name="connsiteX26" fmla="*/ 1537 w 10000"/>
                <a:gd name="connsiteY26" fmla="*/ 6775 h 10000"/>
                <a:gd name="connsiteX27" fmla="*/ 1166 w 10000"/>
                <a:gd name="connsiteY27" fmla="*/ 6168 h 10000"/>
                <a:gd name="connsiteX28" fmla="*/ 826 w 10000"/>
                <a:gd name="connsiteY28" fmla="*/ 5549 h 10000"/>
                <a:gd name="connsiteX29" fmla="*/ 519 w 10000"/>
                <a:gd name="connsiteY29" fmla="*/ 4919 h 10000"/>
                <a:gd name="connsiteX30" fmla="*/ 243 w 10000"/>
                <a:gd name="connsiteY30" fmla="*/ 4277 h 10000"/>
                <a:gd name="connsiteX31" fmla="*/ 0 w 10000"/>
                <a:gd name="connsiteY31" fmla="*/ 3624 h 10000"/>
                <a:gd name="connsiteX32" fmla="*/ 218 w 10000"/>
                <a:gd name="connsiteY32" fmla="*/ 3503 h 10000"/>
                <a:gd name="connsiteX33" fmla="*/ 423 w 10000"/>
                <a:gd name="connsiteY33" fmla="*/ 3353 h 10000"/>
                <a:gd name="connsiteX34" fmla="*/ 602 w 10000"/>
                <a:gd name="connsiteY34" fmla="*/ 3179 h 10000"/>
                <a:gd name="connsiteX35" fmla="*/ 769 w 10000"/>
                <a:gd name="connsiteY35" fmla="*/ 2994 h 10000"/>
                <a:gd name="connsiteX36" fmla="*/ 897 w 10000"/>
                <a:gd name="connsiteY36" fmla="*/ 2775 h 10000"/>
                <a:gd name="connsiteX37" fmla="*/ 1006 w 10000"/>
                <a:gd name="connsiteY37" fmla="*/ 2555 h 10000"/>
                <a:gd name="connsiteX38" fmla="*/ 1076 w 10000"/>
                <a:gd name="connsiteY38" fmla="*/ 2335 h 10000"/>
                <a:gd name="connsiteX39" fmla="*/ 1115 w 10000"/>
                <a:gd name="connsiteY39" fmla="*/ 2104 h 10000"/>
                <a:gd name="connsiteX40" fmla="*/ 1121 w 10000"/>
                <a:gd name="connsiteY40" fmla="*/ 1884 h 10000"/>
                <a:gd name="connsiteX41" fmla="*/ 1108 w 10000"/>
                <a:gd name="connsiteY41" fmla="*/ 1653 h 10000"/>
                <a:gd name="connsiteX42" fmla="*/ 1063 w 10000"/>
                <a:gd name="connsiteY42" fmla="*/ 1434 h 10000"/>
                <a:gd name="connsiteX43" fmla="*/ 1698 w 10000"/>
                <a:gd name="connsiteY43" fmla="*/ 1162 h 10000"/>
                <a:gd name="connsiteX44" fmla="*/ 2370 w 10000"/>
                <a:gd name="connsiteY44" fmla="*/ 902 h 10000"/>
                <a:gd name="connsiteX45" fmla="*/ 3062 w 10000"/>
                <a:gd name="connsiteY45" fmla="*/ 653 h 10000"/>
                <a:gd name="connsiteX46" fmla="*/ 3780 w 10000"/>
                <a:gd name="connsiteY46" fmla="*/ 416 h 10000"/>
                <a:gd name="connsiteX47" fmla="*/ 4523 w 10000"/>
                <a:gd name="connsiteY47" fmla="*/ 202 h 10000"/>
                <a:gd name="connsiteX48" fmla="*/ 5298 w 10000"/>
                <a:gd name="connsiteY48" fmla="*/ 0 h 10000"/>
                <a:gd name="connsiteX0" fmla="*/ 5298 w 10000"/>
                <a:gd name="connsiteY0" fmla="*/ 0 h 10000"/>
                <a:gd name="connsiteX1" fmla="*/ 5106 w 10000"/>
                <a:gd name="connsiteY1" fmla="*/ 277 h 10000"/>
                <a:gd name="connsiteX2" fmla="*/ 8229 w 10000"/>
                <a:gd name="connsiteY2" fmla="*/ 2034 h 10000"/>
                <a:gd name="connsiteX3" fmla="*/ 10000 w 10000"/>
                <a:gd name="connsiteY3" fmla="*/ 6185 h 10000"/>
                <a:gd name="connsiteX4" fmla="*/ 9680 w 10000"/>
                <a:gd name="connsiteY4" fmla="*/ 6746 h 10000"/>
                <a:gd name="connsiteX5" fmla="*/ 9334 w 10000"/>
                <a:gd name="connsiteY5" fmla="*/ 7277 h 10000"/>
                <a:gd name="connsiteX6" fmla="*/ 8969 w 10000"/>
                <a:gd name="connsiteY6" fmla="*/ 7780 h 10000"/>
                <a:gd name="connsiteX7" fmla="*/ 8578 w 10000"/>
                <a:gd name="connsiteY7" fmla="*/ 8272 h 10000"/>
                <a:gd name="connsiteX8" fmla="*/ 8161 w 10000"/>
                <a:gd name="connsiteY8" fmla="*/ 8740 h 10000"/>
                <a:gd name="connsiteX9" fmla="*/ 7719 w 10000"/>
                <a:gd name="connsiteY9" fmla="*/ 9185 h 10000"/>
                <a:gd name="connsiteX10" fmla="*/ 7258 w 10000"/>
                <a:gd name="connsiteY10" fmla="*/ 9607 h 10000"/>
                <a:gd name="connsiteX11" fmla="*/ 6765 w 10000"/>
                <a:gd name="connsiteY11" fmla="*/ 10000 h 10000"/>
                <a:gd name="connsiteX12" fmla="*/ 6560 w 10000"/>
                <a:gd name="connsiteY12" fmla="*/ 9861 h 10000"/>
                <a:gd name="connsiteX13" fmla="*/ 6329 w 10000"/>
                <a:gd name="connsiteY13" fmla="*/ 9746 h 10000"/>
                <a:gd name="connsiteX14" fmla="*/ 6054 w 10000"/>
                <a:gd name="connsiteY14" fmla="*/ 9647 h 10000"/>
                <a:gd name="connsiteX15" fmla="*/ 5772 w 10000"/>
                <a:gd name="connsiteY15" fmla="*/ 9578 h 10000"/>
                <a:gd name="connsiteX16" fmla="*/ 5496 w 10000"/>
                <a:gd name="connsiteY16" fmla="*/ 9543 h 10000"/>
                <a:gd name="connsiteX17" fmla="*/ 5215 w 10000"/>
                <a:gd name="connsiteY17" fmla="*/ 9543 h 10000"/>
                <a:gd name="connsiteX18" fmla="*/ 4933 w 10000"/>
                <a:gd name="connsiteY18" fmla="*/ 9584 h 10000"/>
                <a:gd name="connsiteX19" fmla="*/ 4664 w 10000"/>
                <a:gd name="connsiteY19" fmla="*/ 9647 h 10000"/>
                <a:gd name="connsiteX20" fmla="*/ 4407 w 10000"/>
                <a:gd name="connsiteY20" fmla="*/ 9740 h 10000"/>
                <a:gd name="connsiteX21" fmla="*/ 4164 w 10000"/>
                <a:gd name="connsiteY21" fmla="*/ 9867 h 10000"/>
                <a:gd name="connsiteX22" fmla="*/ 3895 w 10000"/>
                <a:gd name="connsiteY22" fmla="*/ 9613 h 10000"/>
                <a:gd name="connsiteX23" fmla="*/ 3357 w 10000"/>
                <a:gd name="connsiteY23" fmla="*/ 9075 h 10000"/>
                <a:gd name="connsiteX24" fmla="*/ 2851 w 10000"/>
                <a:gd name="connsiteY24" fmla="*/ 8526 h 10000"/>
                <a:gd name="connsiteX25" fmla="*/ 2383 w 10000"/>
                <a:gd name="connsiteY25" fmla="*/ 7954 h 10000"/>
                <a:gd name="connsiteX26" fmla="*/ 1947 w 10000"/>
                <a:gd name="connsiteY26" fmla="*/ 7370 h 10000"/>
                <a:gd name="connsiteX27" fmla="*/ 1537 w 10000"/>
                <a:gd name="connsiteY27" fmla="*/ 6775 h 10000"/>
                <a:gd name="connsiteX28" fmla="*/ 1166 w 10000"/>
                <a:gd name="connsiteY28" fmla="*/ 6168 h 10000"/>
                <a:gd name="connsiteX29" fmla="*/ 826 w 10000"/>
                <a:gd name="connsiteY29" fmla="*/ 5549 h 10000"/>
                <a:gd name="connsiteX30" fmla="*/ 519 w 10000"/>
                <a:gd name="connsiteY30" fmla="*/ 4919 h 10000"/>
                <a:gd name="connsiteX31" fmla="*/ 243 w 10000"/>
                <a:gd name="connsiteY31" fmla="*/ 4277 h 10000"/>
                <a:gd name="connsiteX32" fmla="*/ 0 w 10000"/>
                <a:gd name="connsiteY32" fmla="*/ 3624 h 10000"/>
                <a:gd name="connsiteX33" fmla="*/ 218 w 10000"/>
                <a:gd name="connsiteY33" fmla="*/ 3503 h 10000"/>
                <a:gd name="connsiteX34" fmla="*/ 423 w 10000"/>
                <a:gd name="connsiteY34" fmla="*/ 3353 h 10000"/>
                <a:gd name="connsiteX35" fmla="*/ 602 w 10000"/>
                <a:gd name="connsiteY35" fmla="*/ 3179 h 10000"/>
                <a:gd name="connsiteX36" fmla="*/ 769 w 10000"/>
                <a:gd name="connsiteY36" fmla="*/ 2994 h 10000"/>
                <a:gd name="connsiteX37" fmla="*/ 897 w 10000"/>
                <a:gd name="connsiteY37" fmla="*/ 2775 h 10000"/>
                <a:gd name="connsiteX38" fmla="*/ 1006 w 10000"/>
                <a:gd name="connsiteY38" fmla="*/ 2555 h 10000"/>
                <a:gd name="connsiteX39" fmla="*/ 1076 w 10000"/>
                <a:gd name="connsiteY39" fmla="*/ 2335 h 10000"/>
                <a:gd name="connsiteX40" fmla="*/ 1115 w 10000"/>
                <a:gd name="connsiteY40" fmla="*/ 2104 h 10000"/>
                <a:gd name="connsiteX41" fmla="*/ 1121 w 10000"/>
                <a:gd name="connsiteY41" fmla="*/ 1884 h 10000"/>
                <a:gd name="connsiteX42" fmla="*/ 1108 w 10000"/>
                <a:gd name="connsiteY42" fmla="*/ 1653 h 10000"/>
                <a:gd name="connsiteX43" fmla="*/ 1063 w 10000"/>
                <a:gd name="connsiteY43" fmla="*/ 1434 h 10000"/>
                <a:gd name="connsiteX44" fmla="*/ 1698 w 10000"/>
                <a:gd name="connsiteY44" fmla="*/ 1162 h 10000"/>
                <a:gd name="connsiteX45" fmla="*/ 2370 w 10000"/>
                <a:gd name="connsiteY45" fmla="*/ 902 h 10000"/>
                <a:gd name="connsiteX46" fmla="*/ 3062 w 10000"/>
                <a:gd name="connsiteY46" fmla="*/ 653 h 10000"/>
                <a:gd name="connsiteX47" fmla="*/ 3780 w 10000"/>
                <a:gd name="connsiteY47" fmla="*/ 416 h 10000"/>
                <a:gd name="connsiteX48" fmla="*/ 4523 w 10000"/>
                <a:gd name="connsiteY48" fmla="*/ 202 h 10000"/>
                <a:gd name="connsiteX49" fmla="*/ 5298 w 10000"/>
                <a:gd name="connsiteY49" fmla="*/ 0 h 10000"/>
                <a:gd name="connsiteX0" fmla="*/ 5298 w 10000"/>
                <a:gd name="connsiteY0" fmla="*/ 0 h 10000"/>
                <a:gd name="connsiteX1" fmla="*/ 5106 w 10000"/>
                <a:gd name="connsiteY1" fmla="*/ 277 h 10000"/>
                <a:gd name="connsiteX2" fmla="*/ 8229 w 10000"/>
                <a:gd name="connsiteY2" fmla="*/ 2034 h 10000"/>
                <a:gd name="connsiteX3" fmla="*/ 10000 w 10000"/>
                <a:gd name="connsiteY3" fmla="*/ 6185 h 10000"/>
                <a:gd name="connsiteX4" fmla="*/ 9680 w 10000"/>
                <a:gd name="connsiteY4" fmla="*/ 6746 h 10000"/>
                <a:gd name="connsiteX5" fmla="*/ 9334 w 10000"/>
                <a:gd name="connsiteY5" fmla="*/ 7277 h 10000"/>
                <a:gd name="connsiteX6" fmla="*/ 8969 w 10000"/>
                <a:gd name="connsiteY6" fmla="*/ 7780 h 10000"/>
                <a:gd name="connsiteX7" fmla="*/ 8578 w 10000"/>
                <a:gd name="connsiteY7" fmla="*/ 8272 h 10000"/>
                <a:gd name="connsiteX8" fmla="*/ 8161 w 10000"/>
                <a:gd name="connsiteY8" fmla="*/ 8740 h 10000"/>
                <a:gd name="connsiteX9" fmla="*/ 7719 w 10000"/>
                <a:gd name="connsiteY9" fmla="*/ 9185 h 10000"/>
                <a:gd name="connsiteX10" fmla="*/ 7258 w 10000"/>
                <a:gd name="connsiteY10" fmla="*/ 9607 h 10000"/>
                <a:gd name="connsiteX11" fmla="*/ 6765 w 10000"/>
                <a:gd name="connsiteY11" fmla="*/ 10000 h 10000"/>
                <a:gd name="connsiteX12" fmla="*/ 6560 w 10000"/>
                <a:gd name="connsiteY12" fmla="*/ 9861 h 10000"/>
                <a:gd name="connsiteX13" fmla="*/ 6329 w 10000"/>
                <a:gd name="connsiteY13" fmla="*/ 9746 h 10000"/>
                <a:gd name="connsiteX14" fmla="*/ 6054 w 10000"/>
                <a:gd name="connsiteY14" fmla="*/ 9647 h 10000"/>
                <a:gd name="connsiteX15" fmla="*/ 5772 w 10000"/>
                <a:gd name="connsiteY15" fmla="*/ 9578 h 10000"/>
                <a:gd name="connsiteX16" fmla="*/ 5496 w 10000"/>
                <a:gd name="connsiteY16" fmla="*/ 9543 h 10000"/>
                <a:gd name="connsiteX17" fmla="*/ 5215 w 10000"/>
                <a:gd name="connsiteY17" fmla="*/ 9543 h 10000"/>
                <a:gd name="connsiteX18" fmla="*/ 4933 w 10000"/>
                <a:gd name="connsiteY18" fmla="*/ 9584 h 10000"/>
                <a:gd name="connsiteX19" fmla="*/ 4664 w 10000"/>
                <a:gd name="connsiteY19" fmla="*/ 9647 h 10000"/>
                <a:gd name="connsiteX20" fmla="*/ 4407 w 10000"/>
                <a:gd name="connsiteY20" fmla="*/ 9740 h 10000"/>
                <a:gd name="connsiteX21" fmla="*/ 4164 w 10000"/>
                <a:gd name="connsiteY21" fmla="*/ 9867 h 10000"/>
                <a:gd name="connsiteX22" fmla="*/ 3895 w 10000"/>
                <a:gd name="connsiteY22" fmla="*/ 9613 h 10000"/>
                <a:gd name="connsiteX23" fmla="*/ 3357 w 10000"/>
                <a:gd name="connsiteY23" fmla="*/ 9075 h 10000"/>
                <a:gd name="connsiteX24" fmla="*/ 2851 w 10000"/>
                <a:gd name="connsiteY24" fmla="*/ 8526 h 10000"/>
                <a:gd name="connsiteX25" fmla="*/ 2383 w 10000"/>
                <a:gd name="connsiteY25" fmla="*/ 7954 h 10000"/>
                <a:gd name="connsiteX26" fmla="*/ 1947 w 10000"/>
                <a:gd name="connsiteY26" fmla="*/ 7370 h 10000"/>
                <a:gd name="connsiteX27" fmla="*/ 1537 w 10000"/>
                <a:gd name="connsiteY27" fmla="*/ 6775 h 10000"/>
                <a:gd name="connsiteX28" fmla="*/ 1166 w 10000"/>
                <a:gd name="connsiteY28" fmla="*/ 6168 h 10000"/>
                <a:gd name="connsiteX29" fmla="*/ 826 w 10000"/>
                <a:gd name="connsiteY29" fmla="*/ 5549 h 10000"/>
                <a:gd name="connsiteX30" fmla="*/ 519 w 10000"/>
                <a:gd name="connsiteY30" fmla="*/ 4919 h 10000"/>
                <a:gd name="connsiteX31" fmla="*/ 243 w 10000"/>
                <a:gd name="connsiteY31" fmla="*/ 4277 h 10000"/>
                <a:gd name="connsiteX32" fmla="*/ 0 w 10000"/>
                <a:gd name="connsiteY32" fmla="*/ 3624 h 10000"/>
                <a:gd name="connsiteX33" fmla="*/ 218 w 10000"/>
                <a:gd name="connsiteY33" fmla="*/ 3503 h 10000"/>
                <a:gd name="connsiteX34" fmla="*/ 423 w 10000"/>
                <a:gd name="connsiteY34" fmla="*/ 3353 h 10000"/>
                <a:gd name="connsiteX35" fmla="*/ 602 w 10000"/>
                <a:gd name="connsiteY35" fmla="*/ 3179 h 10000"/>
                <a:gd name="connsiteX36" fmla="*/ 769 w 10000"/>
                <a:gd name="connsiteY36" fmla="*/ 2994 h 10000"/>
                <a:gd name="connsiteX37" fmla="*/ 897 w 10000"/>
                <a:gd name="connsiteY37" fmla="*/ 2775 h 10000"/>
                <a:gd name="connsiteX38" fmla="*/ 1006 w 10000"/>
                <a:gd name="connsiteY38" fmla="*/ 2555 h 10000"/>
                <a:gd name="connsiteX39" fmla="*/ 1076 w 10000"/>
                <a:gd name="connsiteY39" fmla="*/ 2335 h 10000"/>
                <a:gd name="connsiteX40" fmla="*/ 1115 w 10000"/>
                <a:gd name="connsiteY40" fmla="*/ 2104 h 10000"/>
                <a:gd name="connsiteX41" fmla="*/ 1121 w 10000"/>
                <a:gd name="connsiteY41" fmla="*/ 1884 h 10000"/>
                <a:gd name="connsiteX42" fmla="*/ 1108 w 10000"/>
                <a:gd name="connsiteY42" fmla="*/ 1653 h 10000"/>
                <a:gd name="connsiteX43" fmla="*/ 1063 w 10000"/>
                <a:gd name="connsiteY43" fmla="*/ 1434 h 10000"/>
                <a:gd name="connsiteX44" fmla="*/ 1698 w 10000"/>
                <a:gd name="connsiteY44" fmla="*/ 1162 h 10000"/>
                <a:gd name="connsiteX45" fmla="*/ 2370 w 10000"/>
                <a:gd name="connsiteY45" fmla="*/ 902 h 10000"/>
                <a:gd name="connsiteX46" fmla="*/ 3062 w 10000"/>
                <a:gd name="connsiteY46" fmla="*/ 653 h 10000"/>
                <a:gd name="connsiteX47" fmla="*/ 3780 w 10000"/>
                <a:gd name="connsiteY47" fmla="*/ 416 h 10000"/>
                <a:gd name="connsiteX48" fmla="*/ 4523 w 10000"/>
                <a:gd name="connsiteY48" fmla="*/ 202 h 10000"/>
                <a:gd name="connsiteX49" fmla="*/ 5298 w 10000"/>
                <a:gd name="connsiteY49" fmla="*/ 0 h 10000"/>
                <a:gd name="connsiteX0" fmla="*/ 5298 w 10000"/>
                <a:gd name="connsiteY0" fmla="*/ 0 h 10000"/>
                <a:gd name="connsiteX1" fmla="*/ 7252 w 10000"/>
                <a:gd name="connsiteY1" fmla="*/ 645 h 10000"/>
                <a:gd name="connsiteX2" fmla="*/ 8229 w 10000"/>
                <a:gd name="connsiteY2" fmla="*/ 2034 h 10000"/>
                <a:gd name="connsiteX3" fmla="*/ 10000 w 10000"/>
                <a:gd name="connsiteY3" fmla="*/ 6185 h 10000"/>
                <a:gd name="connsiteX4" fmla="*/ 9680 w 10000"/>
                <a:gd name="connsiteY4" fmla="*/ 6746 h 10000"/>
                <a:gd name="connsiteX5" fmla="*/ 9334 w 10000"/>
                <a:gd name="connsiteY5" fmla="*/ 7277 h 10000"/>
                <a:gd name="connsiteX6" fmla="*/ 8969 w 10000"/>
                <a:gd name="connsiteY6" fmla="*/ 7780 h 10000"/>
                <a:gd name="connsiteX7" fmla="*/ 8578 w 10000"/>
                <a:gd name="connsiteY7" fmla="*/ 8272 h 10000"/>
                <a:gd name="connsiteX8" fmla="*/ 8161 w 10000"/>
                <a:gd name="connsiteY8" fmla="*/ 8740 h 10000"/>
                <a:gd name="connsiteX9" fmla="*/ 7719 w 10000"/>
                <a:gd name="connsiteY9" fmla="*/ 9185 h 10000"/>
                <a:gd name="connsiteX10" fmla="*/ 7258 w 10000"/>
                <a:gd name="connsiteY10" fmla="*/ 9607 h 10000"/>
                <a:gd name="connsiteX11" fmla="*/ 6765 w 10000"/>
                <a:gd name="connsiteY11" fmla="*/ 10000 h 10000"/>
                <a:gd name="connsiteX12" fmla="*/ 6560 w 10000"/>
                <a:gd name="connsiteY12" fmla="*/ 9861 h 10000"/>
                <a:gd name="connsiteX13" fmla="*/ 6329 w 10000"/>
                <a:gd name="connsiteY13" fmla="*/ 9746 h 10000"/>
                <a:gd name="connsiteX14" fmla="*/ 6054 w 10000"/>
                <a:gd name="connsiteY14" fmla="*/ 9647 h 10000"/>
                <a:gd name="connsiteX15" fmla="*/ 5772 w 10000"/>
                <a:gd name="connsiteY15" fmla="*/ 9578 h 10000"/>
                <a:gd name="connsiteX16" fmla="*/ 5496 w 10000"/>
                <a:gd name="connsiteY16" fmla="*/ 9543 h 10000"/>
                <a:gd name="connsiteX17" fmla="*/ 5215 w 10000"/>
                <a:gd name="connsiteY17" fmla="*/ 9543 h 10000"/>
                <a:gd name="connsiteX18" fmla="*/ 4933 w 10000"/>
                <a:gd name="connsiteY18" fmla="*/ 9584 h 10000"/>
                <a:gd name="connsiteX19" fmla="*/ 4664 w 10000"/>
                <a:gd name="connsiteY19" fmla="*/ 9647 h 10000"/>
                <a:gd name="connsiteX20" fmla="*/ 4407 w 10000"/>
                <a:gd name="connsiteY20" fmla="*/ 9740 h 10000"/>
                <a:gd name="connsiteX21" fmla="*/ 4164 w 10000"/>
                <a:gd name="connsiteY21" fmla="*/ 9867 h 10000"/>
                <a:gd name="connsiteX22" fmla="*/ 3895 w 10000"/>
                <a:gd name="connsiteY22" fmla="*/ 9613 h 10000"/>
                <a:gd name="connsiteX23" fmla="*/ 3357 w 10000"/>
                <a:gd name="connsiteY23" fmla="*/ 9075 h 10000"/>
                <a:gd name="connsiteX24" fmla="*/ 2851 w 10000"/>
                <a:gd name="connsiteY24" fmla="*/ 8526 h 10000"/>
                <a:gd name="connsiteX25" fmla="*/ 2383 w 10000"/>
                <a:gd name="connsiteY25" fmla="*/ 7954 h 10000"/>
                <a:gd name="connsiteX26" fmla="*/ 1947 w 10000"/>
                <a:gd name="connsiteY26" fmla="*/ 7370 h 10000"/>
                <a:gd name="connsiteX27" fmla="*/ 1537 w 10000"/>
                <a:gd name="connsiteY27" fmla="*/ 6775 h 10000"/>
                <a:gd name="connsiteX28" fmla="*/ 1166 w 10000"/>
                <a:gd name="connsiteY28" fmla="*/ 6168 h 10000"/>
                <a:gd name="connsiteX29" fmla="*/ 826 w 10000"/>
                <a:gd name="connsiteY29" fmla="*/ 5549 h 10000"/>
                <a:gd name="connsiteX30" fmla="*/ 519 w 10000"/>
                <a:gd name="connsiteY30" fmla="*/ 4919 h 10000"/>
                <a:gd name="connsiteX31" fmla="*/ 243 w 10000"/>
                <a:gd name="connsiteY31" fmla="*/ 4277 h 10000"/>
                <a:gd name="connsiteX32" fmla="*/ 0 w 10000"/>
                <a:gd name="connsiteY32" fmla="*/ 3624 h 10000"/>
                <a:gd name="connsiteX33" fmla="*/ 218 w 10000"/>
                <a:gd name="connsiteY33" fmla="*/ 3503 h 10000"/>
                <a:gd name="connsiteX34" fmla="*/ 423 w 10000"/>
                <a:gd name="connsiteY34" fmla="*/ 3353 h 10000"/>
                <a:gd name="connsiteX35" fmla="*/ 602 w 10000"/>
                <a:gd name="connsiteY35" fmla="*/ 3179 h 10000"/>
                <a:gd name="connsiteX36" fmla="*/ 769 w 10000"/>
                <a:gd name="connsiteY36" fmla="*/ 2994 h 10000"/>
                <a:gd name="connsiteX37" fmla="*/ 897 w 10000"/>
                <a:gd name="connsiteY37" fmla="*/ 2775 h 10000"/>
                <a:gd name="connsiteX38" fmla="*/ 1006 w 10000"/>
                <a:gd name="connsiteY38" fmla="*/ 2555 h 10000"/>
                <a:gd name="connsiteX39" fmla="*/ 1076 w 10000"/>
                <a:gd name="connsiteY39" fmla="*/ 2335 h 10000"/>
                <a:gd name="connsiteX40" fmla="*/ 1115 w 10000"/>
                <a:gd name="connsiteY40" fmla="*/ 2104 h 10000"/>
                <a:gd name="connsiteX41" fmla="*/ 1121 w 10000"/>
                <a:gd name="connsiteY41" fmla="*/ 1884 h 10000"/>
                <a:gd name="connsiteX42" fmla="*/ 1108 w 10000"/>
                <a:gd name="connsiteY42" fmla="*/ 1653 h 10000"/>
                <a:gd name="connsiteX43" fmla="*/ 1063 w 10000"/>
                <a:gd name="connsiteY43" fmla="*/ 1434 h 10000"/>
                <a:gd name="connsiteX44" fmla="*/ 1698 w 10000"/>
                <a:gd name="connsiteY44" fmla="*/ 1162 h 10000"/>
                <a:gd name="connsiteX45" fmla="*/ 2370 w 10000"/>
                <a:gd name="connsiteY45" fmla="*/ 902 h 10000"/>
                <a:gd name="connsiteX46" fmla="*/ 3062 w 10000"/>
                <a:gd name="connsiteY46" fmla="*/ 653 h 10000"/>
                <a:gd name="connsiteX47" fmla="*/ 3780 w 10000"/>
                <a:gd name="connsiteY47" fmla="*/ 416 h 10000"/>
                <a:gd name="connsiteX48" fmla="*/ 4523 w 10000"/>
                <a:gd name="connsiteY48" fmla="*/ 202 h 10000"/>
                <a:gd name="connsiteX49" fmla="*/ 5298 w 10000"/>
                <a:gd name="connsiteY49" fmla="*/ 0 h 10000"/>
                <a:gd name="connsiteX0" fmla="*/ 5298 w 10000"/>
                <a:gd name="connsiteY0" fmla="*/ 66 h 10066"/>
                <a:gd name="connsiteX1" fmla="*/ 5918 w 10000"/>
                <a:gd name="connsiteY1" fmla="*/ 0 h 10066"/>
                <a:gd name="connsiteX2" fmla="*/ 8229 w 10000"/>
                <a:gd name="connsiteY2" fmla="*/ 2100 h 10066"/>
                <a:gd name="connsiteX3" fmla="*/ 10000 w 10000"/>
                <a:gd name="connsiteY3" fmla="*/ 6251 h 10066"/>
                <a:gd name="connsiteX4" fmla="*/ 9680 w 10000"/>
                <a:gd name="connsiteY4" fmla="*/ 6812 h 10066"/>
                <a:gd name="connsiteX5" fmla="*/ 9334 w 10000"/>
                <a:gd name="connsiteY5" fmla="*/ 7343 h 10066"/>
                <a:gd name="connsiteX6" fmla="*/ 8969 w 10000"/>
                <a:gd name="connsiteY6" fmla="*/ 7846 h 10066"/>
                <a:gd name="connsiteX7" fmla="*/ 8578 w 10000"/>
                <a:gd name="connsiteY7" fmla="*/ 8338 h 10066"/>
                <a:gd name="connsiteX8" fmla="*/ 8161 w 10000"/>
                <a:gd name="connsiteY8" fmla="*/ 8806 h 10066"/>
                <a:gd name="connsiteX9" fmla="*/ 7719 w 10000"/>
                <a:gd name="connsiteY9" fmla="*/ 9251 h 10066"/>
                <a:gd name="connsiteX10" fmla="*/ 7258 w 10000"/>
                <a:gd name="connsiteY10" fmla="*/ 9673 h 10066"/>
                <a:gd name="connsiteX11" fmla="*/ 6765 w 10000"/>
                <a:gd name="connsiteY11" fmla="*/ 10066 h 10066"/>
                <a:gd name="connsiteX12" fmla="*/ 6560 w 10000"/>
                <a:gd name="connsiteY12" fmla="*/ 9927 h 10066"/>
                <a:gd name="connsiteX13" fmla="*/ 6329 w 10000"/>
                <a:gd name="connsiteY13" fmla="*/ 9812 h 10066"/>
                <a:gd name="connsiteX14" fmla="*/ 6054 w 10000"/>
                <a:gd name="connsiteY14" fmla="*/ 9713 h 10066"/>
                <a:gd name="connsiteX15" fmla="*/ 5772 w 10000"/>
                <a:gd name="connsiteY15" fmla="*/ 9644 h 10066"/>
                <a:gd name="connsiteX16" fmla="*/ 5496 w 10000"/>
                <a:gd name="connsiteY16" fmla="*/ 9609 h 10066"/>
                <a:gd name="connsiteX17" fmla="*/ 5215 w 10000"/>
                <a:gd name="connsiteY17" fmla="*/ 9609 h 10066"/>
                <a:gd name="connsiteX18" fmla="*/ 4933 w 10000"/>
                <a:gd name="connsiteY18" fmla="*/ 9650 h 10066"/>
                <a:gd name="connsiteX19" fmla="*/ 4664 w 10000"/>
                <a:gd name="connsiteY19" fmla="*/ 9713 h 10066"/>
                <a:gd name="connsiteX20" fmla="*/ 4407 w 10000"/>
                <a:gd name="connsiteY20" fmla="*/ 9806 h 10066"/>
                <a:gd name="connsiteX21" fmla="*/ 4164 w 10000"/>
                <a:gd name="connsiteY21" fmla="*/ 9933 h 10066"/>
                <a:gd name="connsiteX22" fmla="*/ 3895 w 10000"/>
                <a:gd name="connsiteY22" fmla="*/ 9679 h 10066"/>
                <a:gd name="connsiteX23" fmla="*/ 3357 w 10000"/>
                <a:gd name="connsiteY23" fmla="*/ 9141 h 10066"/>
                <a:gd name="connsiteX24" fmla="*/ 2851 w 10000"/>
                <a:gd name="connsiteY24" fmla="*/ 8592 h 10066"/>
                <a:gd name="connsiteX25" fmla="*/ 2383 w 10000"/>
                <a:gd name="connsiteY25" fmla="*/ 8020 h 10066"/>
                <a:gd name="connsiteX26" fmla="*/ 1947 w 10000"/>
                <a:gd name="connsiteY26" fmla="*/ 7436 h 10066"/>
                <a:gd name="connsiteX27" fmla="*/ 1537 w 10000"/>
                <a:gd name="connsiteY27" fmla="*/ 6841 h 10066"/>
                <a:gd name="connsiteX28" fmla="*/ 1166 w 10000"/>
                <a:gd name="connsiteY28" fmla="*/ 6234 h 10066"/>
                <a:gd name="connsiteX29" fmla="*/ 826 w 10000"/>
                <a:gd name="connsiteY29" fmla="*/ 5615 h 10066"/>
                <a:gd name="connsiteX30" fmla="*/ 519 w 10000"/>
                <a:gd name="connsiteY30" fmla="*/ 4985 h 10066"/>
                <a:gd name="connsiteX31" fmla="*/ 243 w 10000"/>
                <a:gd name="connsiteY31" fmla="*/ 4343 h 10066"/>
                <a:gd name="connsiteX32" fmla="*/ 0 w 10000"/>
                <a:gd name="connsiteY32" fmla="*/ 3690 h 10066"/>
                <a:gd name="connsiteX33" fmla="*/ 218 w 10000"/>
                <a:gd name="connsiteY33" fmla="*/ 3569 h 10066"/>
                <a:gd name="connsiteX34" fmla="*/ 423 w 10000"/>
                <a:gd name="connsiteY34" fmla="*/ 3419 h 10066"/>
                <a:gd name="connsiteX35" fmla="*/ 602 w 10000"/>
                <a:gd name="connsiteY35" fmla="*/ 3245 h 10066"/>
                <a:gd name="connsiteX36" fmla="*/ 769 w 10000"/>
                <a:gd name="connsiteY36" fmla="*/ 3060 h 10066"/>
                <a:gd name="connsiteX37" fmla="*/ 897 w 10000"/>
                <a:gd name="connsiteY37" fmla="*/ 2841 h 10066"/>
                <a:gd name="connsiteX38" fmla="*/ 1006 w 10000"/>
                <a:gd name="connsiteY38" fmla="*/ 2621 h 10066"/>
                <a:gd name="connsiteX39" fmla="*/ 1076 w 10000"/>
                <a:gd name="connsiteY39" fmla="*/ 2401 h 10066"/>
                <a:gd name="connsiteX40" fmla="*/ 1115 w 10000"/>
                <a:gd name="connsiteY40" fmla="*/ 2170 h 10066"/>
                <a:gd name="connsiteX41" fmla="*/ 1121 w 10000"/>
                <a:gd name="connsiteY41" fmla="*/ 1950 h 10066"/>
                <a:gd name="connsiteX42" fmla="*/ 1108 w 10000"/>
                <a:gd name="connsiteY42" fmla="*/ 1719 h 10066"/>
                <a:gd name="connsiteX43" fmla="*/ 1063 w 10000"/>
                <a:gd name="connsiteY43" fmla="*/ 1500 h 10066"/>
                <a:gd name="connsiteX44" fmla="*/ 1698 w 10000"/>
                <a:gd name="connsiteY44" fmla="*/ 1228 h 10066"/>
                <a:gd name="connsiteX45" fmla="*/ 2370 w 10000"/>
                <a:gd name="connsiteY45" fmla="*/ 968 h 10066"/>
                <a:gd name="connsiteX46" fmla="*/ 3062 w 10000"/>
                <a:gd name="connsiteY46" fmla="*/ 719 h 10066"/>
                <a:gd name="connsiteX47" fmla="*/ 3780 w 10000"/>
                <a:gd name="connsiteY47" fmla="*/ 482 h 10066"/>
                <a:gd name="connsiteX48" fmla="*/ 4523 w 10000"/>
                <a:gd name="connsiteY48" fmla="*/ 268 h 10066"/>
                <a:gd name="connsiteX49" fmla="*/ 5298 w 10000"/>
                <a:gd name="connsiteY49" fmla="*/ 66 h 10066"/>
                <a:gd name="connsiteX0" fmla="*/ 5298 w 10000"/>
                <a:gd name="connsiteY0" fmla="*/ 133 h 10133"/>
                <a:gd name="connsiteX1" fmla="*/ 5819 w 10000"/>
                <a:gd name="connsiteY1" fmla="*/ 0 h 10133"/>
                <a:gd name="connsiteX2" fmla="*/ 8229 w 10000"/>
                <a:gd name="connsiteY2" fmla="*/ 2167 h 10133"/>
                <a:gd name="connsiteX3" fmla="*/ 10000 w 10000"/>
                <a:gd name="connsiteY3" fmla="*/ 6318 h 10133"/>
                <a:gd name="connsiteX4" fmla="*/ 9680 w 10000"/>
                <a:gd name="connsiteY4" fmla="*/ 6879 h 10133"/>
                <a:gd name="connsiteX5" fmla="*/ 9334 w 10000"/>
                <a:gd name="connsiteY5" fmla="*/ 7410 h 10133"/>
                <a:gd name="connsiteX6" fmla="*/ 8969 w 10000"/>
                <a:gd name="connsiteY6" fmla="*/ 7913 h 10133"/>
                <a:gd name="connsiteX7" fmla="*/ 8578 w 10000"/>
                <a:gd name="connsiteY7" fmla="*/ 8405 h 10133"/>
                <a:gd name="connsiteX8" fmla="*/ 8161 w 10000"/>
                <a:gd name="connsiteY8" fmla="*/ 8873 h 10133"/>
                <a:gd name="connsiteX9" fmla="*/ 7719 w 10000"/>
                <a:gd name="connsiteY9" fmla="*/ 9318 h 10133"/>
                <a:gd name="connsiteX10" fmla="*/ 7258 w 10000"/>
                <a:gd name="connsiteY10" fmla="*/ 9740 h 10133"/>
                <a:gd name="connsiteX11" fmla="*/ 6765 w 10000"/>
                <a:gd name="connsiteY11" fmla="*/ 10133 h 10133"/>
                <a:gd name="connsiteX12" fmla="*/ 6560 w 10000"/>
                <a:gd name="connsiteY12" fmla="*/ 9994 h 10133"/>
                <a:gd name="connsiteX13" fmla="*/ 6329 w 10000"/>
                <a:gd name="connsiteY13" fmla="*/ 9879 h 10133"/>
                <a:gd name="connsiteX14" fmla="*/ 6054 w 10000"/>
                <a:gd name="connsiteY14" fmla="*/ 9780 h 10133"/>
                <a:gd name="connsiteX15" fmla="*/ 5772 w 10000"/>
                <a:gd name="connsiteY15" fmla="*/ 9711 h 10133"/>
                <a:gd name="connsiteX16" fmla="*/ 5496 w 10000"/>
                <a:gd name="connsiteY16" fmla="*/ 9676 h 10133"/>
                <a:gd name="connsiteX17" fmla="*/ 5215 w 10000"/>
                <a:gd name="connsiteY17" fmla="*/ 9676 h 10133"/>
                <a:gd name="connsiteX18" fmla="*/ 4933 w 10000"/>
                <a:gd name="connsiteY18" fmla="*/ 9717 h 10133"/>
                <a:gd name="connsiteX19" fmla="*/ 4664 w 10000"/>
                <a:gd name="connsiteY19" fmla="*/ 9780 h 10133"/>
                <a:gd name="connsiteX20" fmla="*/ 4407 w 10000"/>
                <a:gd name="connsiteY20" fmla="*/ 9873 h 10133"/>
                <a:gd name="connsiteX21" fmla="*/ 4164 w 10000"/>
                <a:gd name="connsiteY21" fmla="*/ 10000 h 10133"/>
                <a:gd name="connsiteX22" fmla="*/ 3895 w 10000"/>
                <a:gd name="connsiteY22" fmla="*/ 9746 h 10133"/>
                <a:gd name="connsiteX23" fmla="*/ 3357 w 10000"/>
                <a:gd name="connsiteY23" fmla="*/ 9208 h 10133"/>
                <a:gd name="connsiteX24" fmla="*/ 2851 w 10000"/>
                <a:gd name="connsiteY24" fmla="*/ 8659 h 10133"/>
                <a:gd name="connsiteX25" fmla="*/ 2383 w 10000"/>
                <a:gd name="connsiteY25" fmla="*/ 8087 h 10133"/>
                <a:gd name="connsiteX26" fmla="*/ 1947 w 10000"/>
                <a:gd name="connsiteY26" fmla="*/ 7503 h 10133"/>
                <a:gd name="connsiteX27" fmla="*/ 1537 w 10000"/>
                <a:gd name="connsiteY27" fmla="*/ 6908 h 10133"/>
                <a:gd name="connsiteX28" fmla="*/ 1166 w 10000"/>
                <a:gd name="connsiteY28" fmla="*/ 6301 h 10133"/>
                <a:gd name="connsiteX29" fmla="*/ 826 w 10000"/>
                <a:gd name="connsiteY29" fmla="*/ 5682 h 10133"/>
                <a:gd name="connsiteX30" fmla="*/ 519 w 10000"/>
                <a:gd name="connsiteY30" fmla="*/ 5052 h 10133"/>
                <a:gd name="connsiteX31" fmla="*/ 243 w 10000"/>
                <a:gd name="connsiteY31" fmla="*/ 4410 h 10133"/>
                <a:gd name="connsiteX32" fmla="*/ 0 w 10000"/>
                <a:gd name="connsiteY32" fmla="*/ 3757 h 10133"/>
                <a:gd name="connsiteX33" fmla="*/ 218 w 10000"/>
                <a:gd name="connsiteY33" fmla="*/ 3636 h 10133"/>
                <a:gd name="connsiteX34" fmla="*/ 423 w 10000"/>
                <a:gd name="connsiteY34" fmla="*/ 3486 h 10133"/>
                <a:gd name="connsiteX35" fmla="*/ 602 w 10000"/>
                <a:gd name="connsiteY35" fmla="*/ 3312 h 10133"/>
                <a:gd name="connsiteX36" fmla="*/ 769 w 10000"/>
                <a:gd name="connsiteY36" fmla="*/ 3127 h 10133"/>
                <a:gd name="connsiteX37" fmla="*/ 897 w 10000"/>
                <a:gd name="connsiteY37" fmla="*/ 2908 h 10133"/>
                <a:gd name="connsiteX38" fmla="*/ 1006 w 10000"/>
                <a:gd name="connsiteY38" fmla="*/ 2688 h 10133"/>
                <a:gd name="connsiteX39" fmla="*/ 1076 w 10000"/>
                <a:gd name="connsiteY39" fmla="*/ 2468 h 10133"/>
                <a:gd name="connsiteX40" fmla="*/ 1115 w 10000"/>
                <a:gd name="connsiteY40" fmla="*/ 2237 h 10133"/>
                <a:gd name="connsiteX41" fmla="*/ 1121 w 10000"/>
                <a:gd name="connsiteY41" fmla="*/ 2017 h 10133"/>
                <a:gd name="connsiteX42" fmla="*/ 1108 w 10000"/>
                <a:gd name="connsiteY42" fmla="*/ 1786 h 10133"/>
                <a:gd name="connsiteX43" fmla="*/ 1063 w 10000"/>
                <a:gd name="connsiteY43" fmla="*/ 1567 h 10133"/>
                <a:gd name="connsiteX44" fmla="*/ 1698 w 10000"/>
                <a:gd name="connsiteY44" fmla="*/ 1295 h 10133"/>
                <a:gd name="connsiteX45" fmla="*/ 2370 w 10000"/>
                <a:gd name="connsiteY45" fmla="*/ 1035 h 10133"/>
                <a:gd name="connsiteX46" fmla="*/ 3062 w 10000"/>
                <a:gd name="connsiteY46" fmla="*/ 786 h 10133"/>
                <a:gd name="connsiteX47" fmla="*/ 3780 w 10000"/>
                <a:gd name="connsiteY47" fmla="*/ 549 h 10133"/>
                <a:gd name="connsiteX48" fmla="*/ 4523 w 10000"/>
                <a:gd name="connsiteY48" fmla="*/ 335 h 10133"/>
                <a:gd name="connsiteX49" fmla="*/ 5298 w 10000"/>
                <a:gd name="connsiteY49" fmla="*/ 133 h 10133"/>
                <a:gd name="connsiteX0" fmla="*/ 5298 w 10000"/>
                <a:gd name="connsiteY0" fmla="*/ 133 h 10133"/>
                <a:gd name="connsiteX1" fmla="*/ 5819 w 10000"/>
                <a:gd name="connsiteY1" fmla="*/ 0 h 10133"/>
                <a:gd name="connsiteX2" fmla="*/ 8229 w 10000"/>
                <a:gd name="connsiteY2" fmla="*/ 2167 h 10133"/>
                <a:gd name="connsiteX3" fmla="*/ 10000 w 10000"/>
                <a:gd name="connsiteY3" fmla="*/ 6318 h 10133"/>
                <a:gd name="connsiteX4" fmla="*/ 9680 w 10000"/>
                <a:gd name="connsiteY4" fmla="*/ 6879 h 10133"/>
                <a:gd name="connsiteX5" fmla="*/ 9334 w 10000"/>
                <a:gd name="connsiteY5" fmla="*/ 7410 h 10133"/>
                <a:gd name="connsiteX6" fmla="*/ 8969 w 10000"/>
                <a:gd name="connsiteY6" fmla="*/ 7913 h 10133"/>
                <a:gd name="connsiteX7" fmla="*/ 8578 w 10000"/>
                <a:gd name="connsiteY7" fmla="*/ 8405 h 10133"/>
                <a:gd name="connsiteX8" fmla="*/ 8161 w 10000"/>
                <a:gd name="connsiteY8" fmla="*/ 8873 h 10133"/>
                <a:gd name="connsiteX9" fmla="*/ 7719 w 10000"/>
                <a:gd name="connsiteY9" fmla="*/ 9318 h 10133"/>
                <a:gd name="connsiteX10" fmla="*/ 7258 w 10000"/>
                <a:gd name="connsiteY10" fmla="*/ 9740 h 10133"/>
                <a:gd name="connsiteX11" fmla="*/ 6765 w 10000"/>
                <a:gd name="connsiteY11" fmla="*/ 10133 h 10133"/>
                <a:gd name="connsiteX12" fmla="*/ 6560 w 10000"/>
                <a:gd name="connsiteY12" fmla="*/ 9994 h 10133"/>
                <a:gd name="connsiteX13" fmla="*/ 6329 w 10000"/>
                <a:gd name="connsiteY13" fmla="*/ 9879 h 10133"/>
                <a:gd name="connsiteX14" fmla="*/ 6054 w 10000"/>
                <a:gd name="connsiteY14" fmla="*/ 9780 h 10133"/>
                <a:gd name="connsiteX15" fmla="*/ 5772 w 10000"/>
                <a:gd name="connsiteY15" fmla="*/ 9711 h 10133"/>
                <a:gd name="connsiteX16" fmla="*/ 5496 w 10000"/>
                <a:gd name="connsiteY16" fmla="*/ 9676 h 10133"/>
                <a:gd name="connsiteX17" fmla="*/ 5215 w 10000"/>
                <a:gd name="connsiteY17" fmla="*/ 9676 h 10133"/>
                <a:gd name="connsiteX18" fmla="*/ 4933 w 10000"/>
                <a:gd name="connsiteY18" fmla="*/ 9717 h 10133"/>
                <a:gd name="connsiteX19" fmla="*/ 4664 w 10000"/>
                <a:gd name="connsiteY19" fmla="*/ 9780 h 10133"/>
                <a:gd name="connsiteX20" fmla="*/ 4407 w 10000"/>
                <a:gd name="connsiteY20" fmla="*/ 9873 h 10133"/>
                <a:gd name="connsiteX21" fmla="*/ 4164 w 10000"/>
                <a:gd name="connsiteY21" fmla="*/ 10000 h 10133"/>
                <a:gd name="connsiteX22" fmla="*/ 3895 w 10000"/>
                <a:gd name="connsiteY22" fmla="*/ 9746 h 10133"/>
                <a:gd name="connsiteX23" fmla="*/ 3357 w 10000"/>
                <a:gd name="connsiteY23" fmla="*/ 9208 h 10133"/>
                <a:gd name="connsiteX24" fmla="*/ 2851 w 10000"/>
                <a:gd name="connsiteY24" fmla="*/ 8659 h 10133"/>
                <a:gd name="connsiteX25" fmla="*/ 2383 w 10000"/>
                <a:gd name="connsiteY25" fmla="*/ 8087 h 10133"/>
                <a:gd name="connsiteX26" fmla="*/ 1947 w 10000"/>
                <a:gd name="connsiteY26" fmla="*/ 7503 h 10133"/>
                <a:gd name="connsiteX27" fmla="*/ 1537 w 10000"/>
                <a:gd name="connsiteY27" fmla="*/ 6908 h 10133"/>
                <a:gd name="connsiteX28" fmla="*/ 1166 w 10000"/>
                <a:gd name="connsiteY28" fmla="*/ 6301 h 10133"/>
                <a:gd name="connsiteX29" fmla="*/ 826 w 10000"/>
                <a:gd name="connsiteY29" fmla="*/ 5682 h 10133"/>
                <a:gd name="connsiteX30" fmla="*/ 519 w 10000"/>
                <a:gd name="connsiteY30" fmla="*/ 5052 h 10133"/>
                <a:gd name="connsiteX31" fmla="*/ 243 w 10000"/>
                <a:gd name="connsiteY31" fmla="*/ 4410 h 10133"/>
                <a:gd name="connsiteX32" fmla="*/ 0 w 10000"/>
                <a:gd name="connsiteY32" fmla="*/ 3757 h 10133"/>
                <a:gd name="connsiteX33" fmla="*/ 218 w 10000"/>
                <a:gd name="connsiteY33" fmla="*/ 3636 h 10133"/>
                <a:gd name="connsiteX34" fmla="*/ 423 w 10000"/>
                <a:gd name="connsiteY34" fmla="*/ 3486 h 10133"/>
                <a:gd name="connsiteX35" fmla="*/ 602 w 10000"/>
                <a:gd name="connsiteY35" fmla="*/ 3312 h 10133"/>
                <a:gd name="connsiteX36" fmla="*/ 769 w 10000"/>
                <a:gd name="connsiteY36" fmla="*/ 3127 h 10133"/>
                <a:gd name="connsiteX37" fmla="*/ 897 w 10000"/>
                <a:gd name="connsiteY37" fmla="*/ 2908 h 10133"/>
                <a:gd name="connsiteX38" fmla="*/ 1006 w 10000"/>
                <a:gd name="connsiteY38" fmla="*/ 2688 h 10133"/>
                <a:gd name="connsiteX39" fmla="*/ 1076 w 10000"/>
                <a:gd name="connsiteY39" fmla="*/ 2468 h 10133"/>
                <a:gd name="connsiteX40" fmla="*/ 1115 w 10000"/>
                <a:gd name="connsiteY40" fmla="*/ 2237 h 10133"/>
                <a:gd name="connsiteX41" fmla="*/ 1121 w 10000"/>
                <a:gd name="connsiteY41" fmla="*/ 2017 h 10133"/>
                <a:gd name="connsiteX42" fmla="*/ 1108 w 10000"/>
                <a:gd name="connsiteY42" fmla="*/ 1786 h 10133"/>
                <a:gd name="connsiteX43" fmla="*/ 1063 w 10000"/>
                <a:gd name="connsiteY43" fmla="*/ 1567 h 10133"/>
                <a:gd name="connsiteX44" fmla="*/ 1698 w 10000"/>
                <a:gd name="connsiteY44" fmla="*/ 1295 h 10133"/>
                <a:gd name="connsiteX45" fmla="*/ 2370 w 10000"/>
                <a:gd name="connsiteY45" fmla="*/ 1035 h 10133"/>
                <a:gd name="connsiteX46" fmla="*/ 3062 w 10000"/>
                <a:gd name="connsiteY46" fmla="*/ 786 h 10133"/>
                <a:gd name="connsiteX47" fmla="*/ 3780 w 10000"/>
                <a:gd name="connsiteY47" fmla="*/ 549 h 10133"/>
                <a:gd name="connsiteX48" fmla="*/ 4523 w 10000"/>
                <a:gd name="connsiteY48" fmla="*/ 335 h 10133"/>
                <a:gd name="connsiteX49" fmla="*/ 5298 w 10000"/>
                <a:gd name="connsiteY49" fmla="*/ 133 h 10133"/>
                <a:gd name="connsiteX0" fmla="*/ 5298 w 10000"/>
                <a:gd name="connsiteY0" fmla="*/ 133 h 10133"/>
                <a:gd name="connsiteX1" fmla="*/ 5819 w 10000"/>
                <a:gd name="connsiteY1" fmla="*/ 0 h 10133"/>
                <a:gd name="connsiteX2" fmla="*/ 8427 w 10000"/>
                <a:gd name="connsiteY2" fmla="*/ 2389 h 10133"/>
                <a:gd name="connsiteX3" fmla="*/ 10000 w 10000"/>
                <a:gd name="connsiteY3" fmla="*/ 6318 h 10133"/>
                <a:gd name="connsiteX4" fmla="*/ 9680 w 10000"/>
                <a:gd name="connsiteY4" fmla="*/ 6879 h 10133"/>
                <a:gd name="connsiteX5" fmla="*/ 9334 w 10000"/>
                <a:gd name="connsiteY5" fmla="*/ 7410 h 10133"/>
                <a:gd name="connsiteX6" fmla="*/ 8969 w 10000"/>
                <a:gd name="connsiteY6" fmla="*/ 7913 h 10133"/>
                <a:gd name="connsiteX7" fmla="*/ 8578 w 10000"/>
                <a:gd name="connsiteY7" fmla="*/ 8405 h 10133"/>
                <a:gd name="connsiteX8" fmla="*/ 8161 w 10000"/>
                <a:gd name="connsiteY8" fmla="*/ 8873 h 10133"/>
                <a:gd name="connsiteX9" fmla="*/ 7719 w 10000"/>
                <a:gd name="connsiteY9" fmla="*/ 9318 h 10133"/>
                <a:gd name="connsiteX10" fmla="*/ 7258 w 10000"/>
                <a:gd name="connsiteY10" fmla="*/ 9740 h 10133"/>
                <a:gd name="connsiteX11" fmla="*/ 6765 w 10000"/>
                <a:gd name="connsiteY11" fmla="*/ 10133 h 10133"/>
                <a:gd name="connsiteX12" fmla="*/ 6560 w 10000"/>
                <a:gd name="connsiteY12" fmla="*/ 9994 h 10133"/>
                <a:gd name="connsiteX13" fmla="*/ 6329 w 10000"/>
                <a:gd name="connsiteY13" fmla="*/ 9879 h 10133"/>
                <a:gd name="connsiteX14" fmla="*/ 6054 w 10000"/>
                <a:gd name="connsiteY14" fmla="*/ 9780 h 10133"/>
                <a:gd name="connsiteX15" fmla="*/ 5772 w 10000"/>
                <a:gd name="connsiteY15" fmla="*/ 9711 h 10133"/>
                <a:gd name="connsiteX16" fmla="*/ 5496 w 10000"/>
                <a:gd name="connsiteY16" fmla="*/ 9676 h 10133"/>
                <a:gd name="connsiteX17" fmla="*/ 5215 w 10000"/>
                <a:gd name="connsiteY17" fmla="*/ 9676 h 10133"/>
                <a:gd name="connsiteX18" fmla="*/ 4933 w 10000"/>
                <a:gd name="connsiteY18" fmla="*/ 9717 h 10133"/>
                <a:gd name="connsiteX19" fmla="*/ 4664 w 10000"/>
                <a:gd name="connsiteY19" fmla="*/ 9780 h 10133"/>
                <a:gd name="connsiteX20" fmla="*/ 4407 w 10000"/>
                <a:gd name="connsiteY20" fmla="*/ 9873 h 10133"/>
                <a:gd name="connsiteX21" fmla="*/ 4164 w 10000"/>
                <a:gd name="connsiteY21" fmla="*/ 10000 h 10133"/>
                <a:gd name="connsiteX22" fmla="*/ 3895 w 10000"/>
                <a:gd name="connsiteY22" fmla="*/ 9746 h 10133"/>
                <a:gd name="connsiteX23" fmla="*/ 3357 w 10000"/>
                <a:gd name="connsiteY23" fmla="*/ 9208 h 10133"/>
                <a:gd name="connsiteX24" fmla="*/ 2851 w 10000"/>
                <a:gd name="connsiteY24" fmla="*/ 8659 h 10133"/>
                <a:gd name="connsiteX25" fmla="*/ 2383 w 10000"/>
                <a:gd name="connsiteY25" fmla="*/ 8087 h 10133"/>
                <a:gd name="connsiteX26" fmla="*/ 1947 w 10000"/>
                <a:gd name="connsiteY26" fmla="*/ 7503 h 10133"/>
                <a:gd name="connsiteX27" fmla="*/ 1537 w 10000"/>
                <a:gd name="connsiteY27" fmla="*/ 6908 h 10133"/>
                <a:gd name="connsiteX28" fmla="*/ 1166 w 10000"/>
                <a:gd name="connsiteY28" fmla="*/ 6301 h 10133"/>
                <a:gd name="connsiteX29" fmla="*/ 826 w 10000"/>
                <a:gd name="connsiteY29" fmla="*/ 5682 h 10133"/>
                <a:gd name="connsiteX30" fmla="*/ 519 w 10000"/>
                <a:gd name="connsiteY30" fmla="*/ 5052 h 10133"/>
                <a:gd name="connsiteX31" fmla="*/ 243 w 10000"/>
                <a:gd name="connsiteY31" fmla="*/ 4410 h 10133"/>
                <a:gd name="connsiteX32" fmla="*/ 0 w 10000"/>
                <a:gd name="connsiteY32" fmla="*/ 3757 h 10133"/>
                <a:gd name="connsiteX33" fmla="*/ 218 w 10000"/>
                <a:gd name="connsiteY33" fmla="*/ 3636 h 10133"/>
                <a:gd name="connsiteX34" fmla="*/ 423 w 10000"/>
                <a:gd name="connsiteY34" fmla="*/ 3486 h 10133"/>
                <a:gd name="connsiteX35" fmla="*/ 602 w 10000"/>
                <a:gd name="connsiteY35" fmla="*/ 3312 h 10133"/>
                <a:gd name="connsiteX36" fmla="*/ 769 w 10000"/>
                <a:gd name="connsiteY36" fmla="*/ 3127 h 10133"/>
                <a:gd name="connsiteX37" fmla="*/ 897 w 10000"/>
                <a:gd name="connsiteY37" fmla="*/ 2908 h 10133"/>
                <a:gd name="connsiteX38" fmla="*/ 1006 w 10000"/>
                <a:gd name="connsiteY38" fmla="*/ 2688 h 10133"/>
                <a:gd name="connsiteX39" fmla="*/ 1076 w 10000"/>
                <a:gd name="connsiteY39" fmla="*/ 2468 h 10133"/>
                <a:gd name="connsiteX40" fmla="*/ 1115 w 10000"/>
                <a:gd name="connsiteY40" fmla="*/ 2237 h 10133"/>
                <a:gd name="connsiteX41" fmla="*/ 1121 w 10000"/>
                <a:gd name="connsiteY41" fmla="*/ 2017 h 10133"/>
                <a:gd name="connsiteX42" fmla="*/ 1108 w 10000"/>
                <a:gd name="connsiteY42" fmla="*/ 1786 h 10133"/>
                <a:gd name="connsiteX43" fmla="*/ 1063 w 10000"/>
                <a:gd name="connsiteY43" fmla="*/ 1567 h 10133"/>
                <a:gd name="connsiteX44" fmla="*/ 1698 w 10000"/>
                <a:gd name="connsiteY44" fmla="*/ 1295 h 10133"/>
                <a:gd name="connsiteX45" fmla="*/ 2370 w 10000"/>
                <a:gd name="connsiteY45" fmla="*/ 1035 h 10133"/>
                <a:gd name="connsiteX46" fmla="*/ 3062 w 10000"/>
                <a:gd name="connsiteY46" fmla="*/ 786 h 10133"/>
                <a:gd name="connsiteX47" fmla="*/ 3780 w 10000"/>
                <a:gd name="connsiteY47" fmla="*/ 549 h 10133"/>
                <a:gd name="connsiteX48" fmla="*/ 4523 w 10000"/>
                <a:gd name="connsiteY48" fmla="*/ 335 h 10133"/>
                <a:gd name="connsiteX49" fmla="*/ 5298 w 10000"/>
                <a:gd name="connsiteY49" fmla="*/ 133 h 10133"/>
                <a:gd name="connsiteX0" fmla="*/ 5298 w 10272"/>
                <a:gd name="connsiteY0" fmla="*/ 133 h 10133"/>
                <a:gd name="connsiteX1" fmla="*/ 5819 w 10272"/>
                <a:gd name="connsiteY1" fmla="*/ 0 h 10133"/>
                <a:gd name="connsiteX2" fmla="*/ 8427 w 10272"/>
                <a:gd name="connsiteY2" fmla="*/ 2389 h 10133"/>
                <a:gd name="connsiteX3" fmla="*/ 10272 w 10272"/>
                <a:gd name="connsiteY3" fmla="*/ 5940 h 10133"/>
                <a:gd name="connsiteX4" fmla="*/ 9680 w 10272"/>
                <a:gd name="connsiteY4" fmla="*/ 6879 h 10133"/>
                <a:gd name="connsiteX5" fmla="*/ 9334 w 10272"/>
                <a:gd name="connsiteY5" fmla="*/ 7410 h 10133"/>
                <a:gd name="connsiteX6" fmla="*/ 8969 w 10272"/>
                <a:gd name="connsiteY6" fmla="*/ 7913 h 10133"/>
                <a:gd name="connsiteX7" fmla="*/ 8578 w 10272"/>
                <a:gd name="connsiteY7" fmla="*/ 8405 h 10133"/>
                <a:gd name="connsiteX8" fmla="*/ 8161 w 10272"/>
                <a:gd name="connsiteY8" fmla="*/ 8873 h 10133"/>
                <a:gd name="connsiteX9" fmla="*/ 7719 w 10272"/>
                <a:gd name="connsiteY9" fmla="*/ 9318 h 10133"/>
                <a:gd name="connsiteX10" fmla="*/ 7258 w 10272"/>
                <a:gd name="connsiteY10" fmla="*/ 9740 h 10133"/>
                <a:gd name="connsiteX11" fmla="*/ 6765 w 10272"/>
                <a:gd name="connsiteY11" fmla="*/ 10133 h 10133"/>
                <a:gd name="connsiteX12" fmla="*/ 6560 w 10272"/>
                <a:gd name="connsiteY12" fmla="*/ 9994 h 10133"/>
                <a:gd name="connsiteX13" fmla="*/ 6329 w 10272"/>
                <a:gd name="connsiteY13" fmla="*/ 9879 h 10133"/>
                <a:gd name="connsiteX14" fmla="*/ 6054 w 10272"/>
                <a:gd name="connsiteY14" fmla="*/ 9780 h 10133"/>
                <a:gd name="connsiteX15" fmla="*/ 5772 w 10272"/>
                <a:gd name="connsiteY15" fmla="*/ 9711 h 10133"/>
                <a:gd name="connsiteX16" fmla="*/ 5496 w 10272"/>
                <a:gd name="connsiteY16" fmla="*/ 9676 h 10133"/>
                <a:gd name="connsiteX17" fmla="*/ 5215 w 10272"/>
                <a:gd name="connsiteY17" fmla="*/ 9676 h 10133"/>
                <a:gd name="connsiteX18" fmla="*/ 4933 w 10272"/>
                <a:gd name="connsiteY18" fmla="*/ 9717 h 10133"/>
                <a:gd name="connsiteX19" fmla="*/ 4664 w 10272"/>
                <a:gd name="connsiteY19" fmla="*/ 9780 h 10133"/>
                <a:gd name="connsiteX20" fmla="*/ 4407 w 10272"/>
                <a:gd name="connsiteY20" fmla="*/ 9873 h 10133"/>
                <a:gd name="connsiteX21" fmla="*/ 4164 w 10272"/>
                <a:gd name="connsiteY21" fmla="*/ 10000 h 10133"/>
                <a:gd name="connsiteX22" fmla="*/ 3895 w 10272"/>
                <a:gd name="connsiteY22" fmla="*/ 9746 h 10133"/>
                <a:gd name="connsiteX23" fmla="*/ 3357 w 10272"/>
                <a:gd name="connsiteY23" fmla="*/ 9208 h 10133"/>
                <a:gd name="connsiteX24" fmla="*/ 2851 w 10272"/>
                <a:gd name="connsiteY24" fmla="*/ 8659 h 10133"/>
                <a:gd name="connsiteX25" fmla="*/ 2383 w 10272"/>
                <a:gd name="connsiteY25" fmla="*/ 8087 h 10133"/>
                <a:gd name="connsiteX26" fmla="*/ 1947 w 10272"/>
                <a:gd name="connsiteY26" fmla="*/ 7503 h 10133"/>
                <a:gd name="connsiteX27" fmla="*/ 1537 w 10272"/>
                <a:gd name="connsiteY27" fmla="*/ 6908 h 10133"/>
                <a:gd name="connsiteX28" fmla="*/ 1166 w 10272"/>
                <a:gd name="connsiteY28" fmla="*/ 6301 h 10133"/>
                <a:gd name="connsiteX29" fmla="*/ 826 w 10272"/>
                <a:gd name="connsiteY29" fmla="*/ 5682 h 10133"/>
                <a:gd name="connsiteX30" fmla="*/ 519 w 10272"/>
                <a:gd name="connsiteY30" fmla="*/ 5052 h 10133"/>
                <a:gd name="connsiteX31" fmla="*/ 243 w 10272"/>
                <a:gd name="connsiteY31" fmla="*/ 4410 h 10133"/>
                <a:gd name="connsiteX32" fmla="*/ 0 w 10272"/>
                <a:gd name="connsiteY32" fmla="*/ 3757 h 10133"/>
                <a:gd name="connsiteX33" fmla="*/ 218 w 10272"/>
                <a:gd name="connsiteY33" fmla="*/ 3636 h 10133"/>
                <a:gd name="connsiteX34" fmla="*/ 423 w 10272"/>
                <a:gd name="connsiteY34" fmla="*/ 3486 h 10133"/>
                <a:gd name="connsiteX35" fmla="*/ 602 w 10272"/>
                <a:gd name="connsiteY35" fmla="*/ 3312 h 10133"/>
                <a:gd name="connsiteX36" fmla="*/ 769 w 10272"/>
                <a:gd name="connsiteY36" fmla="*/ 3127 h 10133"/>
                <a:gd name="connsiteX37" fmla="*/ 897 w 10272"/>
                <a:gd name="connsiteY37" fmla="*/ 2908 h 10133"/>
                <a:gd name="connsiteX38" fmla="*/ 1006 w 10272"/>
                <a:gd name="connsiteY38" fmla="*/ 2688 h 10133"/>
                <a:gd name="connsiteX39" fmla="*/ 1076 w 10272"/>
                <a:gd name="connsiteY39" fmla="*/ 2468 h 10133"/>
                <a:gd name="connsiteX40" fmla="*/ 1115 w 10272"/>
                <a:gd name="connsiteY40" fmla="*/ 2237 h 10133"/>
                <a:gd name="connsiteX41" fmla="*/ 1121 w 10272"/>
                <a:gd name="connsiteY41" fmla="*/ 2017 h 10133"/>
                <a:gd name="connsiteX42" fmla="*/ 1108 w 10272"/>
                <a:gd name="connsiteY42" fmla="*/ 1786 h 10133"/>
                <a:gd name="connsiteX43" fmla="*/ 1063 w 10272"/>
                <a:gd name="connsiteY43" fmla="*/ 1567 h 10133"/>
                <a:gd name="connsiteX44" fmla="*/ 1698 w 10272"/>
                <a:gd name="connsiteY44" fmla="*/ 1295 h 10133"/>
                <a:gd name="connsiteX45" fmla="*/ 2370 w 10272"/>
                <a:gd name="connsiteY45" fmla="*/ 1035 h 10133"/>
                <a:gd name="connsiteX46" fmla="*/ 3062 w 10272"/>
                <a:gd name="connsiteY46" fmla="*/ 786 h 10133"/>
                <a:gd name="connsiteX47" fmla="*/ 3780 w 10272"/>
                <a:gd name="connsiteY47" fmla="*/ 549 h 10133"/>
                <a:gd name="connsiteX48" fmla="*/ 4523 w 10272"/>
                <a:gd name="connsiteY48" fmla="*/ 335 h 10133"/>
                <a:gd name="connsiteX49" fmla="*/ 5298 w 10272"/>
                <a:gd name="connsiteY49" fmla="*/ 133 h 10133"/>
                <a:gd name="connsiteX0" fmla="*/ 5298 w 10272"/>
                <a:gd name="connsiteY0" fmla="*/ 133 h 10133"/>
                <a:gd name="connsiteX1" fmla="*/ 5819 w 10272"/>
                <a:gd name="connsiteY1" fmla="*/ 0 h 10133"/>
                <a:gd name="connsiteX2" fmla="*/ 8427 w 10272"/>
                <a:gd name="connsiteY2" fmla="*/ 2389 h 10133"/>
                <a:gd name="connsiteX3" fmla="*/ 10272 w 10272"/>
                <a:gd name="connsiteY3" fmla="*/ 5940 h 10133"/>
                <a:gd name="connsiteX4" fmla="*/ 9680 w 10272"/>
                <a:gd name="connsiteY4" fmla="*/ 6879 h 10133"/>
                <a:gd name="connsiteX5" fmla="*/ 9334 w 10272"/>
                <a:gd name="connsiteY5" fmla="*/ 7410 h 10133"/>
                <a:gd name="connsiteX6" fmla="*/ 8969 w 10272"/>
                <a:gd name="connsiteY6" fmla="*/ 7913 h 10133"/>
                <a:gd name="connsiteX7" fmla="*/ 8578 w 10272"/>
                <a:gd name="connsiteY7" fmla="*/ 8405 h 10133"/>
                <a:gd name="connsiteX8" fmla="*/ 8161 w 10272"/>
                <a:gd name="connsiteY8" fmla="*/ 8873 h 10133"/>
                <a:gd name="connsiteX9" fmla="*/ 7719 w 10272"/>
                <a:gd name="connsiteY9" fmla="*/ 9318 h 10133"/>
                <a:gd name="connsiteX10" fmla="*/ 7258 w 10272"/>
                <a:gd name="connsiteY10" fmla="*/ 9740 h 10133"/>
                <a:gd name="connsiteX11" fmla="*/ 6765 w 10272"/>
                <a:gd name="connsiteY11" fmla="*/ 10133 h 10133"/>
                <a:gd name="connsiteX12" fmla="*/ 6560 w 10272"/>
                <a:gd name="connsiteY12" fmla="*/ 9994 h 10133"/>
                <a:gd name="connsiteX13" fmla="*/ 6329 w 10272"/>
                <a:gd name="connsiteY13" fmla="*/ 9879 h 10133"/>
                <a:gd name="connsiteX14" fmla="*/ 6054 w 10272"/>
                <a:gd name="connsiteY14" fmla="*/ 9780 h 10133"/>
                <a:gd name="connsiteX15" fmla="*/ 5772 w 10272"/>
                <a:gd name="connsiteY15" fmla="*/ 9711 h 10133"/>
                <a:gd name="connsiteX16" fmla="*/ 5496 w 10272"/>
                <a:gd name="connsiteY16" fmla="*/ 9676 h 10133"/>
                <a:gd name="connsiteX17" fmla="*/ 5215 w 10272"/>
                <a:gd name="connsiteY17" fmla="*/ 9676 h 10133"/>
                <a:gd name="connsiteX18" fmla="*/ 4933 w 10272"/>
                <a:gd name="connsiteY18" fmla="*/ 9717 h 10133"/>
                <a:gd name="connsiteX19" fmla="*/ 4664 w 10272"/>
                <a:gd name="connsiteY19" fmla="*/ 9780 h 10133"/>
                <a:gd name="connsiteX20" fmla="*/ 4407 w 10272"/>
                <a:gd name="connsiteY20" fmla="*/ 9873 h 10133"/>
                <a:gd name="connsiteX21" fmla="*/ 4164 w 10272"/>
                <a:gd name="connsiteY21" fmla="*/ 10000 h 10133"/>
                <a:gd name="connsiteX22" fmla="*/ 3895 w 10272"/>
                <a:gd name="connsiteY22" fmla="*/ 9746 h 10133"/>
                <a:gd name="connsiteX23" fmla="*/ 3357 w 10272"/>
                <a:gd name="connsiteY23" fmla="*/ 9208 h 10133"/>
                <a:gd name="connsiteX24" fmla="*/ 2851 w 10272"/>
                <a:gd name="connsiteY24" fmla="*/ 8659 h 10133"/>
                <a:gd name="connsiteX25" fmla="*/ 2383 w 10272"/>
                <a:gd name="connsiteY25" fmla="*/ 8087 h 10133"/>
                <a:gd name="connsiteX26" fmla="*/ 1947 w 10272"/>
                <a:gd name="connsiteY26" fmla="*/ 7503 h 10133"/>
                <a:gd name="connsiteX27" fmla="*/ 1537 w 10272"/>
                <a:gd name="connsiteY27" fmla="*/ 6908 h 10133"/>
                <a:gd name="connsiteX28" fmla="*/ 1166 w 10272"/>
                <a:gd name="connsiteY28" fmla="*/ 6301 h 10133"/>
                <a:gd name="connsiteX29" fmla="*/ 826 w 10272"/>
                <a:gd name="connsiteY29" fmla="*/ 5682 h 10133"/>
                <a:gd name="connsiteX30" fmla="*/ 519 w 10272"/>
                <a:gd name="connsiteY30" fmla="*/ 5052 h 10133"/>
                <a:gd name="connsiteX31" fmla="*/ 243 w 10272"/>
                <a:gd name="connsiteY31" fmla="*/ 4410 h 10133"/>
                <a:gd name="connsiteX32" fmla="*/ 0 w 10272"/>
                <a:gd name="connsiteY32" fmla="*/ 3757 h 10133"/>
                <a:gd name="connsiteX33" fmla="*/ 218 w 10272"/>
                <a:gd name="connsiteY33" fmla="*/ 3636 h 10133"/>
                <a:gd name="connsiteX34" fmla="*/ 423 w 10272"/>
                <a:gd name="connsiteY34" fmla="*/ 3486 h 10133"/>
                <a:gd name="connsiteX35" fmla="*/ 602 w 10272"/>
                <a:gd name="connsiteY35" fmla="*/ 3312 h 10133"/>
                <a:gd name="connsiteX36" fmla="*/ 769 w 10272"/>
                <a:gd name="connsiteY36" fmla="*/ 3127 h 10133"/>
                <a:gd name="connsiteX37" fmla="*/ 897 w 10272"/>
                <a:gd name="connsiteY37" fmla="*/ 2908 h 10133"/>
                <a:gd name="connsiteX38" fmla="*/ 1006 w 10272"/>
                <a:gd name="connsiteY38" fmla="*/ 2688 h 10133"/>
                <a:gd name="connsiteX39" fmla="*/ 1076 w 10272"/>
                <a:gd name="connsiteY39" fmla="*/ 2468 h 10133"/>
                <a:gd name="connsiteX40" fmla="*/ 1115 w 10272"/>
                <a:gd name="connsiteY40" fmla="*/ 2237 h 10133"/>
                <a:gd name="connsiteX41" fmla="*/ 1121 w 10272"/>
                <a:gd name="connsiteY41" fmla="*/ 2017 h 10133"/>
                <a:gd name="connsiteX42" fmla="*/ 1108 w 10272"/>
                <a:gd name="connsiteY42" fmla="*/ 1786 h 10133"/>
                <a:gd name="connsiteX43" fmla="*/ 1063 w 10272"/>
                <a:gd name="connsiteY43" fmla="*/ 1567 h 10133"/>
                <a:gd name="connsiteX44" fmla="*/ 1698 w 10272"/>
                <a:gd name="connsiteY44" fmla="*/ 1295 h 10133"/>
                <a:gd name="connsiteX45" fmla="*/ 2370 w 10272"/>
                <a:gd name="connsiteY45" fmla="*/ 1035 h 10133"/>
                <a:gd name="connsiteX46" fmla="*/ 3062 w 10272"/>
                <a:gd name="connsiteY46" fmla="*/ 786 h 10133"/>
                <a:gd name="connsiteX47" fmla="*/ 3780 w 10272"/>
                <a:gd name="connsiteY47" fmla="*/ 549 h 10133"/>
                <a:gd name="connsiteX48" fmla="*/ 4523 w 10272"/>
                <a:gd name="connsiteY48" fmla="*/ 335 h 10133"/>
                <a:gd name="connsiteX49" fmla="*/ 5298 w 10272"/>
                <a:gd name="connsiteY49" fmla="*/ 133 h 10133"/>
                <a:gd name="connsiteX0" fmla="*/ 5298 w 10272"/>
                <a:gd name="connsiteY0" fmla="*/ 133 h 10133"/>
                <a:gd name="connsiteX1" fmla="*/ 5819 w 10272"/>
                <a:gd name="connsiteY1" fmla="*/ 0 h 10133"/>
                <a:gd name="connsiteX2" fmla="*/ 10272 w 10272"/>
                <a:gd name="connsiteY2" fmla="*/ 5940 h 10133"/>
                <a:gd name="connsiteX3" fmla="*/ 9680 w 10272"/>
                <a:gd name="connsiteY3" fmla="*/ 6879 h 10133"/>
                <a:gd name="connsiteX4" fmla="*/ 9334 w 10272"/>
                <a:gd name="connsiteY4" fmla="*/ 7410 h 10133"/>
                <a:gd name="connsiteX5" fmla="*/ 8969 w 10272"/>
                <a:gd name="connsiteY5" fmla="*/ 7913 h 10133"/>
                <a:gd name="connsiteX6" fmla="*/ 8578 w 10272"/>
                <a:gd name="connsiteY6" fmla="*/ 8405 h 10133"/>
                <a:gd name="connsiteX7" fmla="*/ 8161 w 10272"/>
                <a:gd name="connsiteY7" fmla="*/ 8873 h 10133"/>
                <a:gd name="connsiteX8" fmla="*/ 7719 w 10272"/>
                <a:gd name="connsiteY8" fmla="*/ 9318 h 10133"/>
                <a:gd name="connsiteX9" fmla="*/ 7258 w 10272"/>
                <a:gd name="connsiteY9" fmla="*/ 9740 h 10133"/>
                <a:gd name="connsiteX10" fmla="*/ 6765 w 10272"/>
                <a:gd name="connsiteY10" fmla="*/ 10133 h 10133"/>
                <a:gd name="connsiteX11" fmla="*/ 6560 w 10272"/>
                <a:gd name="connsiteY11" fmla="*/ 9994 h 10133"/>
                <a:gd name="connsiteX12" fmla="*/ 6329 w 10272"/>
                <a:gd name="connsiteY12" fmla="*/ 9879 h 10133"/>
                <a:gd name="connsiteX13" fmla="*/ 6054 w 10272"/>
                <a:gd name="connsiteY13" fmla="*/ 9780 h 10133"/>
                <a:gd name="connsiteX14" fmla="*/ 5772 w 10272"/>
                <a:gd name="connsiteY14" fmla="*/ 9711 h 10133"/>
                <a:gd name="connsiteX15" fmla="*/ 5496 w 10272"/>
                <a:gd name="connsiteY15" fmla="*/ 9676 h 10133"/>
                <a:gd name="connsiteX16" fmla="*/ 5215 w 10272"/>
                <a:gd name="connsiteY16" fmla="*/ 9676 h 10133"/>
                <a:gd name="connsiteX17" fmla="*/ 4933 w 10272"/>
                <a:gd name="connsiteY17" fmla="*/ 9717 h 10133"/>
                <a:gd name="connsiteX18" fmla="*/ 4664 w 10272"/>
                <a:gd name="connsiteY18" fmla="*/ 9780 h 10133"/>
                <a:gd name="connsiteX19" fmla="*/ 4407 w 10272"/>
                <a:gd name="connsiteY19" fmla="*/ 9873 h 10133"/>
                <a:gd name="connsiteX20" fmla="*/ 4164 w 10272"/>
                <a:gd name="connsiteY20" fmla="*/ 10000 h 10133"/>
                <a:gd name="connsiteX21" fmla="*/ 3895 w 10272"/>
                <a:gd name="connsiteY21" fmla="*/ 9746 h 10133"/>
                <a:gd name="connsiteX22" fmla="*/ 3357 w 10272"/>
                <a:gd name="connsiteY22" fmla="*/ 9208 h 10133"/>
                <a:gd name="connsiteX23" fmla="*/ 2851 w 10272"/>
                <a:gd name="connsiteY23" fmla="*/ 8659 h 10133"/>
                <a:gd name="connsiteX24" fmla="*/ 2383 w 10272"/>
                <a:gd name="connsiteY24" fmla="*/ 8087 h 10133"/>
                <a:gd name="connsiteX25" fmla="*/ 1947 w 10272"/>
                <a:gd name="connsiteY25" fmla="*/ 7503 h 10133"/>
                <a:gd name="connsiteX26" fmla="*/ 1537 w 10272"/>
                <a:gd name="connsiteY26" fmla="*/ 6908 h 10133"/>
                <a:gd name="connsiteX27" fmla="*/ 1166 w 10272"/>
                <a:gd name="connsiteY27" fmla="*/ 6301 h 10133"/>
                <a:gd name="connsiteX28" fmla="*/ 826 w 10272"/>
                <a:gd name="connsiteY28" fmla="*/ 5682 h 10133"/>
                <a:gd name="connsiteX29" fmla="*/ 519 w 10272"/>
                <a:gd name="connsiteY29" fmla="*/ 5052 h 10133"/>
                <a:gd name="connsiteX30" fmla="*/ 243 w 10272"/>
                <a:gd name="connsiteY30" fmla="*/ 4410 h 10133"/>
                <a:gd name="connsiteX31" fmla="*/ 0 w 10272"/>
                <a:gd name="connsiteY31" fmla="*/ 3757 h 10133"/>
                <a:gd name="connsiteX32" fmla="*/ 218 w 10272"/>
                <a:gd name="connsiteY32" fmla="*/ 3636 h 10133"/>
                <a:gd name="connsiteX33" fmla="*/ 423 w 10272"/>
                <a:gd name="connsiteY33" fmla="*/ 3486 h 10133"/>
                <a:gd name="connsiteX34" fmla="*/ 602 w 10272"/>
                <a:gd name="connsiteY34" fmla="*/ 3312 h 10133"/>
                <a:gd name="connsiteX35" fmla="*/ 769 w 10272"/>
                <a:gd name="connsiteY35" fmla="*/ 3127 h 10133"/>
                <a:gd name="connsiteX36" fmla="*/ 897 w 10272"/>
                <a:gd name="connsiteY36" fmla="*/ 2908 h 10133"/>
                <a:gd name="connsiteX37" fmla="*/ 1006 w 10272"/>
                <a:gd name="connsiteY37" fmla="*/ 2688 h 10133"/>
                <a:gd name="connsiteX38" fmla="*/ 1076 w 10272"/>
                <a:gd name="connsiteY38" fmla="*/ 2468 h 10133"/>
                <a:gd name="connsiteX39" fmla="*/ 1115 w 10272"/>
                <a:gd name="connsiteY39" fmla="*/ 2237 h 10133"/>
                <a:gd name="connsiteX40" fmla="*/ 1121 w 10272"/>
                <a:gd name="connsiteY40" fmla="*/ 2017 h 10133"/>
                <a:gd name="connsiteX41" fmla="*/ 1108 w 10272"/>
                <a:gd name="connsiteY41" fmla="*/ 1786 h 10133"/>
                <a:gd name="connsiteX42" fmla="*/ 1063 w 10272"/>
                <a:gd name="connsiteY42" fmla="*/ 1567 h 10133"/>
                <a:gd name="connsiteX43" fmla="*/ 1698 w 10272"/>
                <a:gd name="connsiteY43" fmla="*/ 1295 h 10133"/>
                <a:gd name="connsiteX44" fmla="*/ 2370 w 10272"/>
                <a:gd name="connsiteY44" fmla="*/ 1035 h 10133"/>
                <a:gd name="connsiteX45" fmla="*/ 3062 w 10272"/>
                <a:gd name="connsiteY45" fmla="*/ 786 h 10133"/>
                <a:gd name="connsiteX46" fmla="*/ 3780 w 10272"/>
                <a:gd name="connsiteY46" fmla="*/ 549 h 10133"/>
                <a:gd name="connsiteX47" fmla="*/ 4523 w 10272"/>
                <a:gd name="connsiteY47" fmla="*/ 335 h 10133"/>
                <a:gd name="connsiteX48" fmla="*/ 5298 w 10272"/>
                <a:gd name="connsiteY48" fmla="*/ 133 h 10133"/>
                <a:gd name="connsiteX0" fmla="*/ 5298 w 10272"/>
                <a:gd name="connsiteY0" fmla="*/ 133 h 10133"/>
                <a:gd name="connsiteX1" fmla="*/ 5819 w 10272"/>
                <a:gd name="connsiteY1" fmla="*/ 0 h 10133"/>
                <a:gd name="connsiteX2" fmla="*/ 10272 w 10272"/>
                <a:gd name="connsiteY2" fmla="*/ 5940 h 10133"/>
                <a:gd name="connsiteX3" fmla="*/ 9680 w 10272"/>
                <a:gd name="connsiteY3" fmla="*/ 6879 h 10133"/>
                <a:gd name="connsiteX4" fmla="*/ 9334 w 10272"/>
                <a:gd name="connsiteY4" fmla="*/ 7410 h 10133"/>
                <a:gd name="connsiteX5" fmla="*/ 8969 w 10272"/>
                <a:gd name="connsiteY5" fmla="*/ 7913 h 10133"/>
                <a:gd name="connsiteX6" fmla="*/ 8578 w 10272"/>
                <a:gd name="connsiteY6" fmla="*/ 8405 h 10133"/>
                <a:gd name="connsiteX7" fmla="*/ 8161 w 10272"/>
                <a:gd name="connsiteY7" fmla="*/ 8873 h 10133"/>
                <a:gd name="connsiteX8" fmla="*/ 7719 w 10272"/>
                <a:gd name="connsiteY8" fmla="*/ 9318 h 10133"/>
                <a:gd name="connsiteX9" fmla="*/ 7258 w 10272"/>
                <a:gd name="connsiteY9" fmla="*/ 9740 h 10133"/>
                <a:gd name="connsiteX10" fmla="*/ 6765 w 10272"/>
                <a:gd name="connsiteY10" fmla="*/ 10133 h 10133"/>
                <a:gd name="connsiteX11" fmla="*/ 6560 w 10272"/>
                <a:gd name="connsiteY11" fmla="*/ 9994 h 10133"/>
                <a:gd name="connsiteX12" fmla="*/ 6329 w 10272"/>
                <a:gd name="connsiteY12" fmla="*/ 9879 h 10133"/>
                <a:gd name="connsiteX13" fmla="*/ 6054 w 10272"/>
                <a:gd name="connsiteY13" fmla="*/ 9780 h 10133"/>
                <a:gd name="connsiteX14" fmla="*/ 5772 w 10272"/>
                <a:gd name="connsiteY14" fmla="*/ 9711 h 10133"/>
                <a:gd name="connsiteX15" fmla="*/ 5496 w 10272"/>
                <a:gd name="connsiteY15" fmla="*/ 9676 h 10133"/>
                <a:gd name="connsiteX16" fmla="*/ 5215 w 10272"/>
                <a:gd name="connsiteY16" fmla="*/ 9676 h 10133"/>
                <a:gd name="connsiteX17" fmla="*/ 4933 w 10272"/>
                <a:gd name="connsiteY17" fmla="*/ 9717 h 10133"/>
                <a:gd name="connsiteX18" fmla="*/ 4664 w 10272"/>
                <a:gd name="connsiteY18" fmla="*/ 9780 h 10133"/>
                <a:gd name="connsiteX19" fmla="*/ 4407 w 10272"/>
                <a:gd name="connsiteY19" fmla="*/ 9873 h 10133"/>
                <a:gd name="connsiteX20" fmla="*/ 4164 w 10272"/>
                <a:gd name="connsiteY20" fmla="*/ 10000 h 10133"/>
                <a:gd name="connsiteX21" fmla="*/ 3895 w 10272"/>
                <a:gd name="connsiteY21" fmla="*/ 9746 h 10133"/>
                <a:gd name="connsiteX22" fmla="*/ 3357 w 10272"/>
                <a:gd name="connsiteY22" fmla="*/ 9208 h 10133"/>
                <a:gd name="connsiteX23" fmla="*/ 2851 w 10272"/>
                <a:gd name="connsiteY23" fmla="*/ 8659 h 10133"/>
                <a:gd name="connsiteX24" fmla="*/ 2383 w 10272"/>
                <a:gd name="connsiteY24" fmla="*/ 8087 h 10133"/>
                <a:gd name="connsiteX25" fmla="*/ 1947 w 10272"/>
                <a:gd name="connsiteY25" fmla="*/ 7503 h 10133"/>
                <a:gd name="connsiteX26" fmla="*/ 1537 w 10272"/>
                <a:gd name="connsiteY26" fmla="*/ 6908 h 10133"/>
                <a:gd name="connsiteX27" fmla="*/ 1166 w 10272"/>
                <a:gd name="connsiteY27" fmla="*/ 6301 h 10133"/>
                <a:gd name="connsiteX28" fmla="*/ 826 w 10272"/>
                <a:gd name="connsiteY28" fmla="*/ 5682 h 10133"/>
                <a:gd name="connsiteX29" fmla="*/ 519 w 10272"/>
                <a:gd name="connsiteY29" fmla="*/ 5052 h 10133"/>
                <a:gd name="connsiteX30" fmla="*/ 243 w 10272"/>
                <a:gd name="connsiteY30" fmla="*/ 4410 h 10133"/>
                <a:gd name="connsiteX31" fmla="*/ 0 w 10272"/>
                <a:gd name="connsiteY31" fmla="*/ 3757 h 10133"/>
                <a:gd name="connsiteX32" fmla="*/ 218 w 10272"/>
                <a:gd name="connsiteY32" fmla="*/ 3636 h 10133"/>
                <a:gd name="connsiteX33" fmla="*/ 423 w 10272"/>
                <a:gd name="connsiteY33" fmla="*/ 3486 h 10133"/>
                <a:gd name="connsiteX34" fmla="*/ 602 w 10272"/>
                <a:gd name="connsiteY34" fmla="*/ 3312 h 10133"/>
                <a:gd name="connsiteX35" fmla="*/ 769 w 10272"/>
                <a:gd name="connsiteY35" fmla="*/ 3127 h 10133"/>
                <a:gd name="connsiteX36" fmla="*/ 897 w 10272"/>
                <a:gd name="connsiteY36" fmla="*/ 2908 h 10133"/>
                <a:gd name="connsiteX37" fmla="*/ 1006 w 10272"/>
                <a:gd name="connsiteY37" fmla="*/ 2688 h 10133"/>
                <a:gd name="connsiteX38" fmla="*/ 1076 w 10272"/>
                <a:gd name="connsiteY38" fmla="*/ 2468 h 10133"/>
                <a:gd name="connsiteX39" fmla="*/ 1115 w 10272"/>
                <a:gd name="connsiteY39" fmla="*/ 2237 h 10133"/>
                <a:gd name="connsiteX40" fmla="*/ 1121 w 10272"/>
                <a:gd name="connsiteY40" fmla="*/ 2017 h 10133"/>
                <a:gd name="connsiteX41" fmla="*/ 1108 w 10272"/>
                <a:gd name="connsiteY41" fmla="*/ 1786 h 10133"/>
                <a:gd name="connsiteX42" fmla="*/ 1063 w 10272"/>
                <a:gd name="connsiteY42" fmla="*/ 1567 h 10133"/>
                <a:gd name="connsiteX43" fmla="*/ 1698 w 10272"/>
                <a:gd name="connsiteY43" fmla="*/ 1295 h 10133"/>
                <a:gd name="connsiteX44" fmla="*/ 2370 w 10272"/>
                <a:gd name="connsiteY44" fmla="*/ 1035 h 10133"/>
                <a:gd name="connsiteX45" fmla="*/ 3062 w 10272"/>
                <a:gd name="connsiteY45" fmla="*/ 786 h 10133"/>
                <a:gd name="connsiteX46" fmla="*/ 3780 w 10272"/>
                <a:gd name="connsiteY46" fmla="*/ 549 h 10133"/>
                <a:gd name="connsiteX47" fmla="*/ 4523 w 10272"/>
                <a:gd name="connsiteY47" fmla="*/ 335 h 10133"/>
                <a:gd name="connsiteX48" fmla="*/ 5298 w 10272"/>
                <a:gd name="connsiteY48" fmla="*/ 133 h 10133"/>
                <a:gd name="connsiteX0" fmla="*/ 5298 w 10272"/>
                <a:gd name="connsiteY0" fmla="*/ 133 h 10133"/>
                <a:gd name="connsiteX1" fmla="*/ 5819 w 10272"/>
                <a:gd name="connsiteY1" fmla="*/ 0 h 10133"/>
                <a:gd name="connsiteX2" fmla="*/ 10272 w 10272"/>
                <a:gd name="connsiteY2" fmla="*/ 5940 h 10133"/>
                <a:gd name="connsiteX3" fmla="*/ 9680 w 10272"/>
                <a:gd name="connsiteY3" fmla="*/ 6879 h 10133"/>
                <a:gd name="connsiteX4" fmla="*/ 9334 w 10272"/>
                <a:gd name="connsiteY4" fmla="*/ 7410 h 10133"/>
                <a:gd name="connsiteX5" fmla="*/ 8969 w 10272"/>
                <a:gd name="connsiteY5" fmla="*/ 7913 h 10133"/>
                <a:gd name="connsiteX6" fmla="*/ 8578 w 10272"/>
                <a:gd name="connsiteY6" fmla="*/ 8405 h 10133"/>
                <a:gd name="connsiteX7" fmla="*/ 8161 w 10272"/>
                <a:gd name="connsiteY7" fmla="*/ 8873 h 10133"/>
                <a:gd name="connsiteX8" fmla="*/ 7719 w 10272"/>
                <a:gd name="connsiteY8" fmla="*/ 9318 h 10133"/>
                <a:gd name="connsiteX9" fmla="*/ 7258 w 10272"/>
                <a:gd name="connsiteY9" fmla="*/ 9740 h 10133"/>
                <a:gd name="connsiteX10" fmla="*/ 6765 w 10272"/>
                <a:gd name="connsiteY10" fmla="*/ 10133 h 10133"/>
                <a:gd name="connsiteX11" fmla="*/ 6560 w 10272"/>
                <a:gd name="connsiteY11" fmla="*/ 9994 h 10133"/>
                <a:gd name="connsiteX12" fmla="*/ 6329 w 10272"/>
                <a:gd name="connsiteY12" fmla="*/ 9879 h 10133"/>
                <a:gd name="connsiteX13" fmla="*/ 6054 w 10272"/>
                <a:gd name="connsiteY13" fmla="*/ 9780 h 10133"/>
                <a:gd name="connsiteX14" fmla="*/ 5772 w 10272"/>
                <a:gd name="connsiteY14" fmla="*/ 9711 h 10133"/>
                <a:gd name="connsiteX15" fmla="*/ 5496 w 10272"/>
                <a:gd name="connsiteY15" fmla="*/ 9676 h 10133"/>
                <a:gd name="connsiteX16" fmla="*/ 5215 w 10272"/>
                <a:gd name="connsiteY16" fmla="*/ 9676 h 10133"/>
                <a:gd name="connsiteX17" fmla="*/ 4933 w 10272"/>
                <a:gd name="connsiteY17" fmla="*/ 9717 h 10133"/>
                <a:gd name="connsiteX18" fmla="*/ 4664 w 10272"/>
                <a:gd name="connsiteY18" fmla="*/ 9780 h 10133"/>
                <a:gd name="connsiteX19" fmla="*/ 4407 w 10272"/>
                <a:gd name="connsiteY19" fmla="*/ 9873 h 10133"/>
                <a:gd name="connsiteX20" fmla="*/ 4164 w 10272"/>
                <a:gd name="connsiteY20" fmla="*/ 10000 h 10133"/>
                <a:gd name="connsiteX21" fmla="*/ 3895 w 10272"/>
                <a:gd name="connsiteY21" fmla="*/ 9746 h 10133"/>
                <a:gd name="connsiteX22" fmla="*/ 3357 w 10272"/>
                <a:gd name="connsiteY22" fmla="*/ 9208 h 10133"/>
                <a:gd name="connsiteX23" fmla="*/ 2851 w 10272"/>
                <a:gd name="connsiteY23" fmla="*/ 8659 h 10133"/>
                <a:gd name="connsiteX24" fmla="*/ 2383 w 10272"/>
                <a:gd name="connsiteY24" fmla="*/ 8087 h 10133"/>
                <a:gd name="connsiteX25" fmla="*/ 1947 w 10272"/>
                <a:gd name="connsiteY25" fmla="*/ 7503 h 10133"/>
                <a:gd name="connsiteX26" fmla="*/ 1537 w 10272"/>
                <a:gd name="connsiteY26" fmla="*/ 6908 h 10133"/>
                <a:gd name="connsiteX27" fmla="*/ 1166 w 10272"/>
                <a:gd name="connsiteY27" fmla="*/ 6301 h 10133"/>
                <a:gd name="connsiteX28" fmla="*/ 826 w 10272"/>
                <a:gd name="connsiteY28" fmla="*/ 5682 h 10133"/>
                <a:gd name="connsiteX29" fmla="*/ 519 w 10272"/>
                <a:gd name="connsiteY29" fmla="*/ 5052 h 10133"/>
                <a:gd name="connsiteX30" fmla="*/ 243 w 10272"/>
                <a:gd name="connsiteY30" fmla="*/ 4410 h 10133"/>
                <a:gd name="connsiteX31" fmla="*/ 0 w 10272"/>
                <a:gd name="connsiteY31" fmla="*/ 3757 h 10133"/>
                <a:gd name="connsiteX32" fmla="*/ 218 w 10272"/>
                <a:gd name="connsiteY32" fmla="*/ 3636 h 10133"/>
                <a:gd name="connsiteX33" fmla="*/ 423 w 10272"/>
                <a:gd name="connsiteY33" fmla="*/ 3486 h 10133"/>
                <a:gd name="connsiteX34" fmla="*/ 602 w 10272"/>
                <a:gd name="connsiteY34" fmla="*/ 3312 h 10133"/>
                <a:gd name="connsiteX35" fmla="*/ 769 w 10272"/>
                <a:gd name="connsiteY35" fmla="*/ 3127 h 10133"/>
                <a:gd name="connsiteX36" fmla="*/ 897 w 10272"/>
                <a:gd name="connsiteY36" fmla="*/ 2908 h 10133"/>
                <a:gd name="connsiteX37" fmla="*/ 1006 w 10272"/>
                <a:gd name="connsiteY37" fmla="*/ 2688 h 10133"/>
                <a:gd name="connsiteX38" fmla="*/ 1076 w 10272"/>
                <a:gd name="connsiteY38" fmla="*/ 2468 h 10133"/>
                <a:gd name="connsiteX39" fmla="*/ 1115 w 10272"/>
                <a:gd name="connsiteY39" fmla="*/ 2237 h 10133"/>
                <a:gd name="connsiteX40" fmla="*/ 1121 w 10272"/>
                <a:gd name="connsiteY40" fmla="*/ 2017 h 10133"/>
                <a:gd name="connsiteX41" fmla="*/ 1108 w 10272"/>
                <a:gd name="connsiteY41" fmla="*/ 1786 h 10133"/>
                <a:gd name="connsiteX42" fmla="*/ 1063 w 10272"/>
                <a:gd name="connsiteY42" fmla="*/ 1567 h 10133"/>
                <a:gd name="connsiteX43" fmla="*/ 1698 w 10272"/>
                <a:gd name="connsiteY43" fmla="*/ 1295 h 10133"/>
                <a:gd name="connsiteX44" fmla="*/ 2370 w 10272"/>
                <a:gd name="connsiteY44" fmla="*/ 1035 h 10133"/>
                <a:gd name="connsiteX45" fmla="*/ 3062 w 10272"/>
                <a:gd name="connsiteY45" fmla="*/ 786 h 10133"/>
                <a:gd name="connsiteX46" fmla="*/ 3780 w 10272"/>
                <a:gd name="connsiteY46" fmla="*/ 549 h 10133"/>
                <a:gd name="connsiteX47" fmla="*/ 4523 w 10272"/>
                <a:gd name="connsiteY47" fmla="*/ 335 h 10133"/>
                <a:gd name="connsiteX48" fmla="*/ 5298 w 10272"/>
                <a:gd name="connsiteY48" fmla="*/ 133 h 10133"/>
                <a:gd name="connsiteX0" fmla="*/ 5298 w 10371"/>
                <a:gd name="connsiteY0" fmla="*/ 133 h 10133"/>
                <a:gd name="connsiteX1" fmla="*/ 5819 w 10371"/>
                <a:gd name="connsiteY1" fmla="*/ 0 h 10133"/>
                <a:gd name="connsiteX2" fmla="*/ 10371 w 10371"/>
                <a:gd name="connsiteY2" fmla="*/ 5718 h 10133"/>
                <a:gd name="connsiteX3" fmla="*/ 9680 w 10371"/>
                <a:gd name="connsiteY3" fmla="*/ 6879 h 10133"/>
                <a:gd name="connsiteX4" fmla="*/ 9334 w 10371"/>
                <a:gd name="connsiteY4" fmla="*/ 7410 h 10133"/>
                <a:gd name="connsiteX5" fmla="*/ 8969 w 10371"/>
                <a:gd name="connsiteY5" fmla="*/ 7913 h 10133"/>
                <a:gd name="connsiteX6" fmla="*/ 8578 w 10371"/>
                <a:gd name="connsiteY6" fmla="*/ 8405 h 10133"/>
                <a:gd name="connsiteX7" fmla="*/ 8161 w 10371"/>
                <a:gd name="connsiteY7" fmla="*/ 8873 h 10133"/>
                <a:gd name="connsiteX8" fmla="*/ 7719 w 10371"/>
                <a:gd name="connsiteY8" fmla="*/ 9318 h 10133"/>
                <a:gd name="connsiteX9" fmla="*/ 7258 w 10371"/>
                <a:gd name="connsiteY9" fmla="*/ 9740 h 10133"/>
                <a:gd name="connsiteX10" fmla="*/ 6765 w 10371"/>
                <a:gd name="connsiteY10" fmla="*/ 10133 h 10133"/>
                <a:gd name="connsiteX11" fmla="*/ 6560 w 10371"/>
                <a:gd name="connsiteY11" fmla="*/ 9994 h 10133"/>
                <a:gd name="connsiteX12" fmla="*/ 6329 w 10371"/>
                <a:gd name="connsiteY12" fmla="*/ 9879 h 10133"/>
                <a:gd name="connsiteX13" fmla="*/ 6054 w 10371"/>
                <a:gd name="connsiteY13" fmla="*/ 9780 h 10133"/>
                <a:gd name="connsiteX14" fmla="*/ 5772 w 10371"/>
                <a:gd name="connsiteY14" fmla="*/ 9711 h 10133"/>
                <a:gd name="connsiteX15" fmla="*/ 5496 w 10371"/>
                <a:gd name="connsiteY15" fmla="*/ 9676 h 10133"/>
                <a:gd name="connsiteX16" fmla="*/ 5215 w 10371"/>
                <a:gd name="connsiteY16" fmla="*/ 9676 h 10133"/>
                <a:gd name="connsiteX17" fmla="*/ 4933 w 10371"/>
                <a:gd name="connsiteY17" fmla="*/ 9717 h 10133"/>
                <a:gd name="connsiteX18" fmla="*/ 4664 w 10371"/>
                <a:gd name="connsiteY18" fmla="*/ 9780 h 10133"/>
                <a:gd name="connsiteX19" fmla="*/ 4407 w 10371"/>
                <a:gd name="connsiteY19" fmla="*/ 9873 h 10133"/>
                <a:gd name="connsiteX20" fmla="*/ 4164 w 10371"/>
                <a:gd name="connsiteY20" fmla="*/ 10000 h 10133"/>
                <a:gd name="connsiteX21" fmla="*/ 3895 w 10371"/>
                <a:gd name="connsiteY21" fmla="*/ 9746 h 10133"/>
                <a:gd name="connsiteX22" fmla="*/ 3357 w 10371"/>
                <a:gd name="connsiteY22" fmla="*/ 9208 h 10133"/>
                <a:gd name="connsiteX23" fmla="*/ 2851 w 10371"/>
                <a:gd name="connsiteY23" fmla="*/ 8659 h 10133"/>
                <a:gd name="connsiteX24" fmla="*/ 2383 w 10371"/>
                <a:gd name="connsiteY24" fmla="*/ 8087 h 10133"/>
                <a:gd name="connsiteX25" fmla="*/ 1947 w 10371"/>
                <a:gd name="connsiteY25" fmla="*/ 7503 h 10133"/>
                <a:gd name="connsiteX26" fmla="*/ 1537 w 10371"/>
                <a:gd name="connsiteY26" fmla="*/ 6908 h 10133"/>
                <a:gd name="connsiteX27" fmla="*/ 1166 w 10371"/>
                <a:gd name="connsiteY27" fmla="*/ 6301 h 10133"/>
                <a:gd name="connsiteX28" fmla="*/ 826 w 10371"/>
                <a:gd name="connsiteY28" fmla="*/ 5682 h 10133"/>
                <a:gd name="connsiteX29" fmla="*/ 519 w 10371"/>
                <a:gd name="connsiteY29" fmla="*/ 5052 h 10133"/>
                <a:gd name="connsiteX30" fmla="*/ 243 w 10371"/>
                <a:gd name="connsiteY30" fmla="*/ 4410 h 10133"/>
                <a:gd name="connsiteX31" fmla="*/ 0 w 10371"/>
                <a:gd name="connsiteY31" fmla="*/ 3757 h 10133"/>
                <a:gd name="connsiteX32" fmla="*/ 218 w 10371"/>
                <a:gd name="connsiteY32" fmla="*/ 3636 h 10133"/>
                <a:gd name="connsiteX33" fmla="*/ 423 w 10371"/>
                <a:gd name="connsiteY33" fmla="*/ 3486 h 10133"/>
                <a:gd name="connsiteX34" fmla="*/ 602 w 10371"/>
                <a:gd name="connsiteY34" fmla="*/ 3312 h 10133"/>
                <a:gd name="connsiteX35" fmla="*/ 769 w 10371"/>
                <a:gd name="connsiteY35" fmla="*/ 3127 h 10133"/>
                <a:gd name="connsiteX36" fmla="*/ 897 w 10371"/>
                <a:gd name="connsiteY36" fmla="*/ 2908 h 10133"/>
                <a:gd name="connsiteX37" fmla="*/ 1006 w 10371"/>
                <a:gd name="connsiteY37" fmla="*/ 2688 h 10133"/>
                <a:gd name="connsiteX38" fmla="*/ 1076 w 10371"/>
                <a:gd name="connsiteY38" fmla="*/ 2468 h 10133"/>
                <a:gd name="connsiteX39" fmla="*/ 1115 w 10371"/>
                <a:gd name="connsiteY39" fmla="*/ 2237 h 10133"/>
                <a:gd name="connsiteX40" fmla="*/ 1121 w 10371"/>
                <a:gd name="connsiteY40" fmla="*/ 2017 h 10133"/>
                <a:gd name="connsiteX41" fmla="*/ 1108 w 10371"/>
                <a:gd name="connsiteY41" fmla="*/ 1786 h 10133"/>
                <a:gd name="connsiteX42" fmla="*/ 1063 w 10371"/>
                <a:gd name="connsiteY42" fmla="*/ 1567 h 10133"/>
                <a:gd name="connsiteX43" fmla="*/ 1698 w 10371"/>
                <a:gd name="connsiteY43" fmla="*/ 1295 h 10133"/>
                <a:gd name="connsiteX44" fmla="*/ 2370 w 10371"/>
                <a:gd name="connsiteY44" fmla="*/ 1035 h 10133"/>
                <a:gd name="connsiteX45" fmla="*/ 3062 w 10371"/>
                <a:gd name="connsiteY45" fmla="*/ 786 h 10133"/>
                <a:gd name="connsiteX46" fmla="*/ 3780 w 10371"/>
                <a:gd name="connsiteY46" fmla="*/ 549 h 10133"/>
                <a:gd name="connsiteX47" fmla="*/ 4523 w 10371"/>
                <a:gd name="connsiteY47" fmla="*/ 335 h 10133"/>
                <a:gd name="connsiteX48" fmla="*/ 5298 w 10371"/>
                <a:gd name="connsiteY48" fmla="*/ 133 h 10133"/>
                <a:gd name="connsiteX0" fmla="*/ 5298 w 10371"/>
                <a:gd name="connsiteY0" fmla="*/ 133 h 10133"/>
                <a:gd name="connsiteX1" fmla="*/ 5819 w 10371"/>
                <a:gd name="connsiteY1" fmla="*/ 0 h 10133"/>
                <a:gd name="connsiteX2" fmla="*/ 10371 w 10371"/>
                <a:gd name="connsiteY2" fmla="*/ 5718 h 10133"/>
                <a:gd name="connsiteX3" fmla="*/ 9680 w 10371"/>
                <a:gd name="connsiteY3" fmla="*/ 6879 h 10133"/>
                <a:gd name="connsiteX4" fmla="*/ 9334 w 10371"/>
                <a:gd name="connsiteY4" fmla="*/ 7410 h 10133"/>
                <a:gd name="connsiteX5" fmla="*/ 8969 w 10371"/>
                <a:gd name="connsiteY5" fmla="*/ 7913 h 10133"/>
                <a:gd name="connsiteX6" fmla="*/ 8578 w 10371"/>
                <a:gd name="connsiteY6" fmla="*/ 8405 h 10133"/>
                <a:gd name="connsiteX7" fmla="*/ 8161 w 10371"/>
                <a:gd name="connsiteY7" fmla="*/ 8873 h 10133"/>
                <a:gd name="connsiteX8" fmla="*/ 7719 w 10371"/>
                <a:gd name="connsiteY8" fmla="*/ 9318 h 10133"/>
                <a:gd name="connsiteX9" fmla="*/ 7258 w 10371"/>
                <a:gd name="connsiteY9" fmla="*/ 9740 h 10133"/>
                <a:gd name="connsiteX10" fmla="*/ 6765 w 10371"/>
                <a:gd name="connsiteY10" fmla="*/ 10133 h 10133"/>
                <a:gd name="connsiteX11" fmla="*/ 6560 w 10371"/>
                <a:gd name="connsiteY11" fmla="*/ 9994 h 10133"/>
                <a:gd name="connsiteX12" fmla="*/ 6329 w 10371"/>
                <a:gd name="connsiteY12" fmla="*/ 9879 h 10133"/>
                <a:gd name="connsiteX13" fmla="*/ 6054 w 10371"/>
                <a:gd name="connsiteY13" fmla="*/ 9780 h 10133"/>
                <a:gd name="connsiteX14" fmla="*/ 5772 w 10371"/>
                <a:gd name="connsiteY14" fmla="*/ 9711 h 10133"/>
                <a:gd name="connsiteX15" fmla="*/ 5496 w 10371"/>
                <a:gd name="connsiteY15" fmla="*/ 9676 h 10133"/>
                <a:gd name="connsiteX16" fmla="*/ 5215 w 10371"/>
                <a:gd name="connsiteY16" fmla="*/ 9676 h 10133"/>
                <a:gd name="connsiteX17" fmla="*/ 4933 w 10371"/>
                <a:gd name="connsiteY17" fmla="*/ 9717 h 10133"/>
                <a:gd name="connsiteX18" fmla="*/ 4664 w 10371"/>
                <a:gd name="connsiteY18" fmla="*/ 9780 h 10133"/>
                <a:gd name="connsiteX19" fmla="*/ 4407 w 10371"/>
                <a:gd name="connsiteY19" fmla="*/ 9873 h 10133"/>
                <a:gd name="connsiteX20" fmla="*/ 4164 w 10371"/>
                <a:gd name="connsiteY20" fmla="*/ 10000 h 10133"/>
                <a:gd name="connsiteX21" fmla="*/ 3895 w 10371"/>
                <a:gd name="connsiteY21" fmla="*/ 9746 h 10133"/>
                <a:gd name="connsiteX22" fmla="*/ 3357 w 10371"/>
                <a:gd name="connsiteY22" fmla="*/ 9208 h 10133"/>
                <a:gd name="connsiteX23" fmla="*/ 2851 w 10371"/>
                <a:gd name="connsiteY23" fmla="*/ 8659 h 10133"/>
                <a:gd name="connsiteX24" fmla="*/ 2383 w 10371"/>
                <a:gd name="connsiteY24" fmla="*/ 8087 h 10133"/>
                <a:gd name="connsiteX25" fmla="*/ 1947 w 10371"/>
                <a:gd name="connsiteY25" fmla="*/ 7503 h 10133"/>
                <a:gd name="connsiteX26" fmla="*/ 1537 w 10371"/>
                <a:gd name="connsiteY26" fmla="*/ 6908 h 10133"/>
                <a:gd name="connsiteX27" fmla="*/ 1166 w 10371"/>
                <a:gd name="connsiteY27" fmla="*/ 6301 h 10133"/>
                <a:gd name="connsiteX28" fmla="*/ 826 w 10371"/>
                <a:gd name="connsiteY28" fmla="*/ 5682 h 10133"/>
                <a:gd name="connsiteX29" fmla="*/ 519 w 10371"/>
                <a:gd name="connsiteY29" fmla="*/ 5052 h 10133"/>
                <a:gd name="connsiteX30" fmla="*/ 243 w 10371"/>
                <a:gd name="connsiteY30" fmla="*/ 4410 h 10133"/>
                <a:gd name="connsiteX31" fmla="*/ 0 w 10371"/>
                <a:gd name="connsiteY31" fmla="*/ 3757 h 10133"/>
                <a:gd name="connsiteX32" fmla="*/ 218 w 10371"/>
                <a:gd name="connsiteY32" fmla="*/ 3636 h 10133"/>
                <a:gd name="connsiteX33" fmla="*/ 423 w 10371"/>
                <a:gd name="connsiteY33" fmla="*/ 3486 h 10133"/>
                <a:gd name="connsiteX34" fmla="*/ 602 w 10371"/>
                <a:gd name="connsiteY34" fmla="*/ 3312 h 10133"/>
                <a:gd name="connsiteX35" fmla="*/ 769 w 10371"/>
                <a:gd name="connsiteY35" fmla="*/ 3127 h 10133"/>
                <a:gd name="connsiteX36" fmla="*/ 897 w 10371"/>
                <a:gd name="connsiteY36" fmla="*/ 2908 h 10133"/>
                <a:gd name="connsiteX37" fmla="*/ 1006 w 10371"/>
                <a:gd name="connsiteY37" fmla="*/ 2688 h 10133"/>
                <a:gd name="connsiteX38" fmla="*/ 1076 w 10371"/>
                <a:gd name="connsiteY38" fmla="*/ 2468 h 10133"/>
                <a:gd name="connsiteX39" fmla="*/ 1115 w 10371"/>
                <a:gd name="connsiteY39" fmla="*/ 2237 h 10133"/>
                <a:gd name="connsiteX40" fmla="*/ 1121 w 10371"/>
                <a:gd name="connsiteY40" fmla="*/ 2017 h 10133"/>
                <a:gd name="connsiteX41" fmla="*/ 1108 w 10371"/>
                <a:gd name="connsiteY41" fmla="*/ 1786 h 10133"/>
                <a:gd name="connsiteX42" fmla="*/ 1063 w 10371"/>
                <a:gd name="connsiteY42" fmla="*/ 1567 h 10133"/>
                <a:gd name="connsiteX43" fmla="*/ 1698 w 10371"/>
                <a:gd name="connsiteY43" fmla="*/ 1295 h 10133"/>
                <a:gd name="connsiteX44" fmla="*/ 2370 w 10371"/>
                <a:gd name="connsiteY44" fmla="*/ 1035 h 10133"/>
                <a:gd name="connsiteX45" fmla="*/ 3062 w 10371"/>
                <a:gd name="connsiteY45" fmla="*/ 786 h 10133"/>
                <a:gd name="connsiteX46" fmla="*/ 3780 w 10371"/>
                <a:gd name="connsiteY46" fmla="*/ 549 h 10133"/>
                <a:gd name="connsiteX47" fmla="*/ 4523 w 10371"/>
                <a:gd name="connsiteY47" fmla="*/ 335 h 10133"/>
                <a:gd name="connsiteX48" fmla="*/ 5298 w 10371"/>
                <a:gd name="connsiteY48" fmla="*/ 133 h 10133"/>
                <a:gd name="connsiteX0" fmla="*/ 5298 w 10371"/>
                <a:gd name="connsiteY0" fmla="*/ 155 h 10155"/>
                <a:gd name="connsiteX1" fmla="*/ 5918 w 10371"/>
                <a:gd name="connsiteY1" fmla="*/ 0 h 10155"/>
                <a:gd name="connsiteX2" fmla="*/ 10371 w 10371"/>
                <a:gd name="connsiteY2" fmla="*/ 5740 h 10155"/>
                <a:gd name="connsiteX3" fmla="*/ 9680 w 10371"/>
                <a:gd name="connsiteY3" fmla="*/ 6901 h 10155"/>
                <a:gd name="connsiteX4" fmla="*/ 9334 w 10371"/>
                <a:gd name="connsiteY4" fmla="*/ 7432 h 10155"/>
                <a:gd name="connsiteX5" fmla="*/ 8969 w 10371"/>
                <a:gd name="connsiteY5" fmla="*/ 7935 h 10155"/>
                <a:gd name="connsiteX6" fmla="*/ 8578 w 10371"/>
                <a:gd name="connsiteY6" fmla="*/ 8427 h 10155"/>
                <a:gd name="connsiteX7" fmla="*/ 8161 w 10371"/>
                <a:gd name="connsiteY7" fmla="*/ 8895 h 10155"/>
                <a:gd name="connsiteX8" fmla="*/ 7719 w 10371"/>
                <a:gd name="connsiteY8" fmla="*/ 9340 h 10155"/>
                <a:gd name="connsiteX9" fmla="*/ 7258 w 10371"/>
                <a:gd name="connsiteY9" fmla="*/ 9762 h 10155"/>
                <a:gd name="connsiteX10" fmla="*/ 6765 w 10371"/>
                <a:gd name="connsiteY10" fmla="*/ 10155 h 10155"/>
                <a:gd name="connsiteX11" fmla="*/ 6560 w 10371"/>
                <a:gd name="connsiteY11" fmla="*/ 10016 h 10155"/>
                <a:gd name="connsiteX12" fmla="*/ 6329 w 10371"/>
                <a:gd name="connsiteY12" fmla="*/ 9901 h 10155"/>
                <a:gd name="connsiteX13" fmla="*/ 6054 w 10371"/>
                <a:gd name="connsiteY13" fmla="*/ 9802 h 10155"/>
                <a:gd name="connsiteX14" fmla="*/ 5772 w 10371"/>
                <a:gd name="connsiteY14" fmla="*/ 9733 h 10155"/>
                <a:gd name="connsiteX15" fmla="*/ 5496 w 10371"/>
                <a:gd name="connsiteY15" fmla="*/ 9698 h 10155"/>
                <a:gd name="connsiteX16" fmla="*/ 5215 w 10371"/>
                <a:gd name="connsiteY16" fmla="*/ 9698 h 10155"/>
                <a:gd name="connsiteX17" fmla="*/ 4933 w 10371"/>
                <a:gd name="connsiteY17" fmla="*/ 9739 h 10155"/>
                <a:gd name="connsiteX18" fmla="*/ 4664 w 10371"/>
                <a:gd name="connsiteY18" fmla="*/ 9802 h 10155"/>
                <a:gd name="connsiteX19" fmla="*/ 4407 w 10371"/>
                <a:gd name="connsiteY19" fmla="*/ 9895 h 10155"/>
                <a:gd name="connsiteX20" fmla="*/ 4164 w 10371"/>
                <a:gd name="connsiteY20" fmla="*/ 10022 h 10155"/>
                <a:gd name="connsiteX21" fmla="*/ 3895 w 10371"/>
                <a:gd name="connsiteY21" fmla="*/ 9768 h 10155"/>
                <a:gd name="connsiteX22" fmla="*/ 3357 w 10371"/>
                <a:gd name="connsiteY22" fmla="*/ 9230 h 10155"/>
                <a:gd name="connsiteX23" fmla="*/ 2851 w 10371"/>
                <a:gd name="connsiteY23" fmla="*/ 8681 h 10155"/>
                <a:gd name="connsiteX24" fmla="*/ 2383 w 10371"/>
                <a:gd name="connsiteY24" fmla="*/ 8109 h 10155"/>
                <a:gd name="connsiteX25" fmla="*/ 1947 w 10371"/>
                <a:gd name="connsiteY25" fmla="*/ 7525 h 10155"/>
                <a:gd name="connsiteX26" fmla="*/ 1537 w 10371"/>
                <a:gd name="connsiteY26" fmla="*/ 6930 h 10155"/>
                <a:gd name="connsiteX27" fmla="*/ 1166 w 10371"/>
                <a:gd name="connsiteY27" fmla="*/ 6323 h 10155"/>
                <a:gd name="connsiteX28" fmla="*/ 826 w 10371"/>
                <a:gd name="connsiteY28" fmla="*/ 5704 h 10155"/>
                <a:gd name="connsiteX29" fmla="*/ 519 w 10371"/>
                <a:gd name="connsiteY29" fmla="*/ 5074 h 10155"/>
                <a:gd name="connsiteX30" fmla="*/ 243 w 10371"/>
                <a:gd name="connsiteY30" fmla="*/ 4432 h 10155"/>
                <a:gd name="connsiteX31" fmla="*/ 0 w 10371"/>
                <a:gd name="connsiteY31" fmla="*/ 3779 h 10155"/>
                <a:gd name="connsiteX32" fmla="*/ 218 w 10371"/>
                <a:gd name="connsiteY32" fmla="*/ 3658 h 10155"/>
                <a:gd name="connsiteX33" fmla="*/ 423 w 10371"/>
                <a:gd name="connsiteY33" fmla="*/ 3508 h 10155"/>
                <a:gd name="connsiteX34" fmla="*/ 602 w 10371"/>
                <a:gd name="connsiteY34" fmla="*/ 3334 h 10155"/>
                <a:gd name="connsiteX35" fmla="*/ 769 w 10371"/>
                <a:gd name="connsiteY35" fmla="*/ 3149 h 10155"/>
                <a:gd name="connsiteX36" fmla="*/ 897 w 10371"/>
                <a:gd name="connsiteY36" fmla="*/ 2930 h 10155"/>
                <a:gd name="connsiteX37" fmla="*/ 1006 w 10371"/>
                <a:gd name="connsiteY37" fmla="*/ 2710 h 10155"/>
                <a:gd name="connsiteX38" fmla="*/ 1076 w 10371"/>
                <a:gd name="connsiteY38" fmla="*/ 2490 h 10155"/>
                <a:gd name="connsiteX39" fmla="*/ 1115 w 10371"/>
                <a:gd name="connsiteY39" fmla="*/ 2259 h 10155"/>
                <a:gd name="connsiteX40" fmla="*/ 1121 w 10371"/>
                <a:gd name="connsiteY40" fmla="*/ 2039 h 10155"/>
                <a:gd name="connsiteX41" fmla="*/ 1108 w 10371"/>
                <a:gd name="connsiteY41" fmla="*/ 1808 h 10155"/>
                <a:gd name="connsiteX42" fmla="*/ 1063 w 10371"/>
                <a:gd name="connsiteY42" fmla="*/ 1589 h 10155"/>
                <a:gd name="connsiteX43" fmla="*/ 1698 w 10371"/>
                <a:gd name="connsiteY43" fmla="*/ 1317 h 10155"/>
                <a:gd name="connsiteX44" fmla="*/ 2370 w 10371"/>
                <a:gd name="connsiteY44" fmla="*/ 1057 h 10155"/>
                <a:gd name="connsiteX45" fmla="*/ 3062 w 10371"/>
                <a:gd name="connsiteY45" fmla="*/ 808 h 10155"/>
                <a:gd name="connsiteX46" fmla="*/ 3780 w 10371"/>
                <a:gd name="connsiteY46" fmla="*/ 571 h 10155"/>
                <a:gd name="connsiteX47" fmla="*/ 4523 w 10371"/>
                <a:gd name="connsiteY47" fmla="*/ 357 h 10155"/>
                <a:gd name="connsiteX48" fmla="*/ 5298 w 10371"/>
                <a:gd name="connsiteY48" fmla="*/ 155 h 10155"/>
                <a:gd name="connsiteX0" fmla="*/ 5298 w 10371"/>
                <a:gd name="connsiteY0" fmla="*/ 155 h 10155"/>
                <a:gd name="connsiteX1" fmla="*/ 5918 w 10371"/>
                <a:gd name="connsiteY1" fmla="*/ 0 h 10155"/>
                <a:gd name="connsiteX2" fmla="*/ 10371 w 10371"/>
                <a:gd name="connsiteY2" fmla="*/ 5740 h 10155"/>
                <a:gd name="connsiteX3" fmla="*/ 9680 w 10371"/>
                <a:gd name="connsiteY3" fmla="*/ 6901 h 10155"/>
                <a:gd name="connsiteX4" fmla="*/ 9334 w 10371"/>
                <a:gd name="connsiteY4" fmla="*/ 7432 h 10155"/>
                <a:gd name="connsiteX5" fmla="*/ 8969 w 10371"/>
                <a:gd name="connsiteY5" fmla="*/ 7935 h 10155"/>
                <a:gd name="connsiteX6" fmla="*/ 8578 w 10371"/>
                <a:gd name="connsiteY6" fmla="*/ 8427 h 10155"/>
                <a:gd name="connsiteX7" fmla="*/ 8161 w 10371"/>
                <a:gd name="connsiteY7" fmla="*/ 8895 h 10155"/>
                <a:gd name="connsiteX8" fmla="*/ 7719 w 10371"/>
                <a:gd name="connsiteY8" fmla="*/ 9340 h 10155"/>
                <a:gd name="connsiteX9" fmla="*/ 7258 w 10371"/>
                <a:gd name="connsiteY9" fmla="*/ 9762 h 10155"/>
                <a:gd name="connsiteX10" fmla="*/ 6765 w 10371"/>
                <a:gd name="connsiteY10" fmla="*/ 10155 h 10155"/>
                <a:gd name="connsiteX11" fmla="*/ 6560 w 10371"/>
                <a:gd name="connsiteY11" fmla="*/ 10016 h 10155"/>
                <a:gd name="connsiteX12" fmla="*/ 6329 w 10371"/>
                <a:gd name="connsiteY12" fmla="*/ 9901 h 10155"/>
                <a:gd name="connsiteX13" fmla="*/ 6054 w 10371"/>
                <a:gd name="connsiteY13" fmla="*/ 9802 h 10155"/>
                <a:gd name="connsiteX14" fmla="*/ 5772 w 10371"/>
                <a:gd name="connsiteY14" fmla="*/ 9733 h 10155"/>
                <a:gd name="connsiteX15" fmla="*/ 5496 w 10371"/>
                <a:gd name="connsiteY15" fmla="*/ 9698 h 10155"/>
                <a:gd name="connsiteX16" fmla="*/ 5215 w 10371"/>
                <a:gd name="connsiteY16" fmla="*/ 9698 h 10155"/>
                <a:gd name="connsiteX17" fmla="*/ 4933 w 10371"/>
                <a:gd name="connsiteY17" fmla="*/ 9739 h 10155"/>
                <a:gd name="connsiteX18" fmla="*/ 4664 w 10371"/>
                <a:gd name="connsiteY18" fmla="*/ 9802 h 10155"/>
                <a:gd name="connsiteX19" fmla="*/ 4407 w 10371"/>
                <a:gd name="connsiteY19" fmla="*/ 9895 h 10155"/>
                <a:gd name="connsiteX20" fmla="*/ 4164 w 10371"/>
                <a:gd name="connsiteY20" fmla="*/ 10022 h 10155"/>
                <a:gd name="connsiteX21" fmla="*/ 3895 w 10371"/>
                <a:gd name="connsiteY21" fmla="*/ 9768 h 10155"/>
                <a:gd name="connsiteX22" fmla="*/ 3357 w 10371"/>
                <a:gd name="connsiteY22" fmla="*/ 9230 h 10155"/>
                <a:gd name="connsiteX23" fmla="*/ 2851 w 10371"/>
                <a:gd name="connsiteY23" fmla="*/ 8681 h 10155"/>
                <a:gd name="connsiteX24" fmla="*/ 2383 w 10371"/>
                <a:gd name="connsiteY24" fmla="*/ 8109 h 10155"/>
                <a:gd name="connsiteX25" fmla="*/ 1947 w 10371"/>
                <a:gd name="connsiteY25" fmla="*/ 7525 h 10155"/>
                <a:gd name="connsiteX26" fmla="*/ 1537 w 10371"/>
                <a:gd name="connsiteY26" fmla="*/ 6930 h 10155"/>
                <a:gd name="connsiteX27" fmla="*/ 1166 w 10371"/>
                <a:gd name="connsiteY27" fmla="*/ 6323 h 10155"/>
                <a:gd name="connsiteX28" fmla="*/ 826 w 10371"/>
                <a:gd name="connsiteY28" fmla="*/ 5704 h 10155"/>
                <a:gd name="connsiteX29" fmla="*/ 519 w 10371"/>
                <a:gd name="connsiteY29" fmla="*/ 5074 h 10155"/>
                <a:gd name="connsiteX30" fmla="*/ 243 w 10371"/>
                <a:gd name="connsiteY30" fmla="*/ 4432 h 10155"/>
                <a:gd name="connsiteX31" fmla="*/ 0 w 10371"/>
                <a:gd name="connsiteY31" fmla="*/ 3779 h 10155"/>
                <a:gd name="connsiteX32" fmla="*/ 218 w 10371"/>
                <a:gd name="connsiteY32" fmla="*/ 3658 h 10155"/>
                <a:gd name="connsiteX33" fmla="*/ 423 w 10371"/>
                <a:gd name="connsiteY33" fmla="*/ 3508 h 10155"/>
                <a:gd name="connsiteX34" fmla="*/ 602 w 10371"/>
                <a:gd name="connsiteY34" fmla="*/ 3334 h 10155"/>
                <a:gd name="connsiteX35" fmla="*/ 769 w 10371"/>
                <a:gd name="connsiteY35" fmla="*/ 3149 h 10155"/>
                <a:gd name="connsiteX36" fmla="*/ 897 w 10371"/>
                <a:gd name="connsiteY36" fmla="*/ 2930 h 10155"/>
                <a:gd name="connsiteX37" fmla="*/ 1006 w 10371"/>
                <a:gd name="connsiteY37" fmla="*/ 2710 h 10155"/>
                <a:gd name="connsiteX38" fmla="*/ 1076 w 10371"/>
                <a:gd name="connsiteY38" fmla="*/ 2490 h 10155"/>
                <a:gd name="connsiteX39" fmla="*/ 1115 w 10371"/>
                <a:gd name="connsiteY39" fmla="*/ 2259 h 10155"/>
                <a:gd name="connsiteX40" fmla="*/ 1121 w 10371"/>
                <a:gd name="connsiteY40" fmla="*/ 2039 h 10155"/>
                <a:gd name="connsiteX41" fmla="*/ 1108 w 10371"/>
                <a:gd name="connsiteY41" fmla="*/ 1808 h 10155"/>
                <a:gd name="connsiteX42" fmla="*/ 1063 w 10371"/>
                <a:gd name="connsiteY42" fmla="*/ 1589 h 10155"/>
                <a:gd name="connsiteX43" fmla="*/ 1698 w 10371"/>
                <a:gd name="connsiteY43" fmla="*/ 1317 h 10155"/>
                <a:gd name="connsiteX44" fmla="*/ 2370 w 10371"/>
                <a:gd name="connsiteY44" fmla="*/ 1057 h 10155"/>
                <a:gd name="connsiteX45" fmla="*/ 3062 w 10371"/>
                <a:gd name="connsiteY45" fmla="*/ 808 h 10155"/>
                <a:gd name="connsiteX46" fmla="*/ 3780 w 10371"/>
                <a:gd name="connsiteY46" fmla="*/ 571 h 10155"/>
                <a:gd name="connsiteX47" fmla="*/ 4523 w 10371"/>
                <a:gd name="connsiteY47" fmla="*/ 357 h 10155"/>
                <a:gd name="connsiteX48" fmla="*/ 5298 w 10371"/>
                <a:gd name="connsiteY48" fmla="*/ 155 h 10155"/>
                <a:gd name="connsiteX0" fmla="*/ 5298 w 10371"/>
                <a:gd name="connsiteY0" fmla="*/ 155 h 10155"/>
                <a:gd name="connsiteX1" fmla="*/ 5918 w 10371"/>
                <a:gd name="connsiteY1" fmla="*/ 0 h 10155"/>
                <a:gd name="connsiteX2" fmla="*/ 10371 w 10371"/>
                <a:gd name="connsiteY2" fmla="*/ 5740 h 10155"/>
                <a:gd name="connsiteX3" fmla="*/ 9680 w 10371"/>
                <a:gd name="connsiteY3" fmla="*/ 6901 h 10155"/>
                <a:gd name="connsiteX4" fmla="*/ 9334 w 10371"/>
                <a:gd name="connsiteY4" fmla="*/ 7432 h 10155"/>
                <a:gd name="connsiteX5" fmla="*/ 8969 w 10371"/>
                <a:gd name="connsiteY5" fmla="*/ 7935 h 10155"/>
                <a:gd name="connsiteX6" fmla="*/ 8578 w 10371"/>
                <a:gd name="connsiteY6" fmla="*/ 8427 h 10155"/>
                <a:gd name="connsiteX7" fmla="*/ 8161 w 10371"/>
                <a:gd name="connsiteY7" fmla="*/ 8895 h 10155"/>
                <a:gd name="connsiteX8" fmla="*/ 7719 w 10371"/>
                <a:gd name="connsiteY8" fmla="*/ 9340 h 10155"/>
                <a:gd name="connsiteX9" fmla="*/ 7258 w 10371"/>
                <a:gd name="connsiteY9" fmla="*/ 9762 h 10155"/>
                <a:gd name="connsiteX10" fmla="*/ 6765 w 10371"/>
                <a:gd name="connsiteY10" fmla="*/ 10155 h 10155"/>
                <a:gd name="connsiteX11" fmla="*/ 6560 w 10371"/>
                <a:gd name="connsiteY11" fmla="*/ 10016 h 10155"/>
                <a:gd name="connsiteX12" fmla="*/ 6329 w 10371"/>
                <a:gd name="connsiteY12" fmla="*/ 9901 h 10155"/>
                <a:gd name="connsiteX13" fmla="*/ 6054 w 10371"/>
                <a:gd name="connsiteY13" fmla="*/ 9802 h 10155"/>
                <a:gd name="connsiteX14" fmla="*/ 5772 w 10371"/>
                <a:gd name="connsiteY14" fmla="*/ 9733 h 10155"/>
                <a:gd name="connsiteX15" fmla="*/ 5496 w 10371"/>
                <a:gd name="connsiteY15" fmla="*/ 9698 h 10155"/>
                <a:gd name="connsiteX16" fmla="*/ 5215 w 10371"/>
                <a:gd name="connsiteY16" fmla="*/ 9698 h 10155"/>
                <a:gd name="connsiteX17" fmla="*/ 4933 w 10371"/>
                <a:gd name="connsiteY17" fmla="*/ 9739 h 10155"/>
                <a:gd name="connsiteX18" fmla="*/ 4664 w 10371"/>
                <a:gd name="connsiteY18" fmla="*/ 9802 h 10155"/>
                <a:gd name="connsiteX19" fmla="*/ 4407 w 10371"/>
                <a:gd name="connsiteY19" fmla="*/ 9895 h 10155"/>
                <a:gd name="connsiteX20" fmla="*/ 4164 w 10371"/>
                <a:gd name="connsiteY20" fmla="*/ 10022 h 10155"/>
                <a:gd name="connsiteX21" fmla="*/ 3895 w 10371"/>
                <a:gd name="connsiteY21" fmla="*/ 9768 h 10155"/>
                <a:gd name="connsiteX22" fmla="*/ 3357 w 10371"/>
                <a:gd name="connsiteY22" fmla="*/ 9230 h 10155"/>
                <a:gd name="connsiteX23" fmla="*/ 2851 w 10371"/>
                <a:gd name="connsiteY23" fmla="*/ 8681 h 10155"/>
                <a:gd name="connsiteX24" fmla="*/ 2383 w 10371"/>
                <a:gd name="connsiteY24" fmla="*/ 8109 h 10155"/>
                <a:gd name="connsiteX25" fmla="*/ 1947 w 10371"/>
                <a:gd name="connsiteY25" fmla="*/ 7525 h 10155"/>
                <a:gd name="connsiteX26" fmla="*/ 1537 w 10371"/>
                <a:gd name="connsiteY26" fmla="*/ 6930 h 10155"/>
                <a:gd name="connsiteX27" fmla="*/ 1166 w 10371"/>
                <a:gd name="connsiteY27" fmla="*/ 6323 h 10155"/>
                <a:gd name="connsiteX28" fmla="*/ 826 w 10371"/>
                <a:gd name="connsiteY28" fmla="*/ 5704 h 10155"/>
                <a:gd name="connsiteX29" fmla="*/ 519 w 10371"/>
                <a:gd name="connsiteY29" fmla="*/ 5074 h 10155"/>
                <a:gd name="connsiteX30" fmla="*/ 243 w 10371"/>
                <a:gd name="connsiteY30" fmla="*/ 4432 h 10155"/>
                <a:gd name="connsiteX31" fmla="*/ 0 w 10371"/>
                <a:gd name="connsiteY31" fmla="*/ 3779 h 10155"/>
                <a:gd name="connsiteX32" fmla="*/ 218 w 10371"/>
                <a:gd name="connsiteY32" fmla="*/ 3658 h 10155"/>
                <a:gd name="connsiteX33" fmla="*/ 423 w 10371"/>
                <a:gd name="connsiteY33" fmla="*/ 3508 h 10155"/>
                <a:gd name="connsiteX34" fmla="*/ 602 w 10371"/>
                <a:gd name="connsiteY34" fmla="*/ 3334 h 10155"/>
                <a:gd name="connsiteX35" fmla="*/ 769 w 10371"/>
                <a:gd name="connsiteY35" fmla="*/ 3149 h 10155"/>
                <a:gd name="connsiteX36" fmla="*/ 897 w 10371"/>
                <a:gd name="connsiteY36" fmla="*/ 2930 h 10155"/>
                <a:gd name="connsiteX37" fmla="*/ 1006 w 10371"/>
                <a:gd name="connsiteY37" fmla="*/ 2710 h 10155"/>
                <a:gd name="connsiteX38" fmla="*/ 1076 w 10371"/>
                <a:gd name="connsiteY38" fmla="*/ 2490 h 10155"/>
                <a:gd name="connsiteX39" fmla="*/ 1115 w 10371"/>
                <a:gd name="connsiteY39" fmla="*/ 2259 h 10155"/>
                <a:gd name="connsiteX40" fmla="*/ 1121 w 10371"/>
                <a:gd name="connsiteY40" fmla="*/ 2039 h 10155"/>
                <a:gd name="connsiteX41" fmla="*/ 1108 w 10371"/>
                <a:gd name="connsiteY41" fmla="*/ 1808 h 10155"/>
                <a:gd name="connsiteX42" fmla="*/ 1063 w 10371"/>
                <a:gd name="connsiteY42" fmla="*/ 1589 h 10155"/>
                <a:gd name="connsiteX43" fmla="*/ 1698 w 10371"/>
                <a:gd name="connsiteY43" fmla="*/ 1317 h 10155"/>
                <a:gd name="connsiteX44" fmla="*/ 2370 w 10371"/>
                <a:gd name="connsiteY44" fmla="*/ 1057 h 10155"/>
                <a:gd name="connsiteX45" fmla="*/ 3062 w 10371"/>
                <a:gd name="connsiteY45" fmla="*/ 808 h 10155"/>
                <a:gd name="connsiteX46" fmla="*/ 3780 w 10371"/>
                <a:gd name="connsiteY46" fmla="*/ 571 h 10155"/>
                <a:gd name="connsiteX47" fmla="*/ 4523 w 10371"/>
                <a:gd name="connsiteY47" fmla="*/ 357 h 10155"/>
                <a:gd name="connsiteX48" fmla="*/ 5298 w 10371"/>
                <a:gd name="connsiteY48" fmla="*/ 155 h 10155"/>
                <a:gd name="connsiteX0" fmla="*/ 5298 w 10445"/>
                <a:gd name="connsiteY0" fmla="*/ 155 h 10155"/>
                <a:gd name="connsiteX1" fmla="*/ 5918 w 10445"/>
                <a:gd name="connsiteY1" fmla="*/ 0 h 10155"/>
                <a:gd name="connsiteX2" fmla="*/ 10445 w 10445"/>
                <a:gd name="connsiteY2" fmla="*/ 5607 h 10155"/>
                <a:gd name="connsiteX3" fmla="*/ 9680 w 10445"/>
                <a:gd name="connsiteY3" fmla="*/ 6901 h 10155"/>
                <a:gd name="connsiteX4" fmla="*/ 9334 w 10445"/>
                <a:gd name="connsiteY4" fmla="*/ 7432 h 10155"/>
                <a:gd name="connsiteX5" fmla="*/ 8969 w 10445"/>
                <a:gd name="connsiteY5" fmla="*/ 7935 h 10155"/>
                <a:gd name="connsiteX6" fmla="*/ 8578 w 10445"/>
                <a:gd name="connsiteY6" fmla="*/ 8427 h 10155"/>
                <a:gd name="connsiteX7" fmla="*/ 8161 w 10445"/>
                <a:gd name="connsiteY7" fmla="*/ 8895 h 10155"/>
                <a:gd name="connsiteX8" fmla="*/ 7719 w 10445"/>
                <a:gd name="connsiteY8" fmla="*/ 9340 h 10155"/>
                <a:gd name="connsiteX9" fmla="*/ 7258 w 10445"/>
                <a:gd name="connsiteY9" fmla="*/ 9762 h 10155"/>
                <a:gd name="connsiteX10" fmla="*/ 6765 w 10445"/>
                <a:gd name="connsiteY10" fmla="*/ 10155 h 10155"/>
                <a:gd name="connsiteX11" fmla="*/ 6560 w 10445"/>
                <a:gd name="connsiteY11" fmla="*/ 10016 h 10155"/>
                <a:gd name="connsiteX12" fmla="*/ 6329 w 10445"/>
                <a:gd name="connsiteY12" fmla="*/ 9901 h 10155"/>
                <a:gd name="connsiteX13" fmla="*/ 6054 w 10445"/>
                <a:gd name="connsiteY13" fmla="*/ 9802 h 10155"/>
                <a:gd name="connsiteX14" fmla="*/ 5772 w 10445"/>
                <a:gd name="connsiteY14" fmla="*/ 9733 h 10155"/>
                <a:gd name="connsiteX15" fmla="*/ 5496 w 10445"/>
                <a:gd name="connsiteY15" fmla="*/ 9698 h 10155"/>
                <a:gd name="connsiteX16" fmla="*/ 5215 w 10445"/>
                <a:gd name="connsiteY16" fmla="*/ 9698 h 10155"/>
                <a:gd name="connsiteX17" fmla="*/ 4933 w 10445"/>
                <a:gd name="connsiteY17" fmla="*/ 9739 h 10155"/>
                <a:gd name="connsiteX18" fmla="*/ 4664 w 10445"/>
                <a:gd name="connsiteY18" fmla="*/ 9802 h 10155"/>
                <a:gd name="connsiteX19" fmla="*/ 4407 w 10445"/>
                <a:gd name="connsiteY19" fmla="*/ 9895 h 10155"/>
                <a:gd name="connsiteX20" fmla="*/ 4164 w 10445"/>
                <a:gd name="connsiteY20" fmla="*/ 10022 h 10155"/>
                <a:gd name="connsiteX21" fmla="*/ 3895 w 10445"/>
                <a:gd name="connsiteY21" fmla="*/ 9768 h 10155"/>
                <a:gd name="connsiteX22" fmla="*/ 3357 w 10445"/>
                <a:gd name="connsiteY22" fmla="*/ 9230 h 10155"/>
                <a:gd name="connsiteX23" fmla="*/ 2851 w 10445"/>
                <a:gd name="connsiteY23" fmla="*/ 8681 h 10155"/>
                <a:gd name="connsiteX24" fmla="*/ 2383 w 10445"/>
                <a:gd name="connsiteY24" fmla="*/ 8109 h 10155"/>
                <a:gd name="connsiteX25" fmla="*/ 1947 w 10445"/>
                <a:gd name="connsiteY25" fmla="*/ 7525 h 10155"/>
                <a:gd name="connsiteX26" fmla="*/ 1537 w 10445"/>
                <a:gd name="connsiteY26" fmla="*/ 6930 h 10155"/>
                <a:gd name="connsiteX27" fmla="*/ 1166 w 10445"/>
                <a:gd name="connsiteY27" fmla="*/ 6323 h 10155"/>
                <a:gd name="connsiteX28" fmla="*/ 826 w 10445"/>
                <a:gd name="connsiteY28" fmla="*/ 5704 h 10155"/>
                <a:gd name="connsiteX29" fmla="*/ 519 w 10445"/>
                <a:gd name="connsiteY29" fmla="*/ 5074 h 10155"/>
                <a:gd name="connsiteX30" fmla="*/ 243 w 10445"/>
                <a:gd name="connsiteY30" fmla="*/ 4432 h 10155"/>
                <a:gd name="connsiteX31" fmla="*/ 0 w 10445"/>
                <a:gd name="connsiteY31" fmla="*/ 3779 h 10155"/>
                <a:gd name="connsiteX32" fmla="*/ 218 w 10445"/>
                <a:gd name="connsiteY32" fmla="*/ 3658 h 10155"/>
                <a:gd name="connsiteX33" fmla="*/ 423 w 10445"/>
                <a:gd name="connsiteY33" fmla="*/ 3508 h 10155"/>
                <a:gd name="connsiteX34" fmla="*/ 602 w 10445"/>
                <a:gd name="connsiteY34" fmla="*/ 3334 h 10155"/>
                <a:gd name="connsiteX35" fmla="*/ 769 w 10445"/>
                <a:gd name="connsiteY35" fmla="*/ 3149 h 10155"/>
                <a:gd name="connsiteX36" fmla="*/ 897 w 10445"/>
                <a:gd name="connsiteY36" fmla="*/ 2930 h 10155"/>
                <a:gd name="connsiteX37" fmla="*/ 1006 w 10445"/>
                <a:gd name="connsiteY37" fmla="*/ 2710 h 10155"/>
                <a:gd name="connsiteX38" fmla="*/ 1076 w 10445"/>
                <a:gd name="connsiteY38" fmla="*/ 2490 h 10155"/>
                <a:gd name="connsiteX39" fmla="*/ 1115 w 10445"/>
                <a:gd name="connsiteY39" fmla="*/ 2259 h 10155"/>
                <a:gd name="connsiteX40" fmla="*/ 1121 w 10445"/>
                <a:gd name="connsiteY40" fmla="*/ 2039 h 10155"/>
                <a:gd name="connsiteX41" fmla="*/ 1108 w 10445"/>
                <a:gd name="connsiteY41" fmla="*/ 1808 h 10155"/>
                <a:gd name="connsiteX42" fmla="*/ 1063 w 10445"/>
                <a:gd name="connsiteY42" fmla="*/ 1589 h 10155"/>
                <a:gd name="connsiteX43" fmla="*/ 1698 w 10445"/>
                <a:gd name="connsiteY43" fmla="*/ 1317 h 10155"/>
                <a:gd name="connsiteX44" fmla="*/ 2370 w 10445"/>
                <a:gd name="connsiteY44" fmla="*/ 1057 h 10155"/>
                <a:gd name="connsiteX45" fmla="*/ 3062 w 10445"/>
                <a:gd name="connsiteY45" fmla="*/ 808 h 10155"/>
                <a:gd name="connsiteX46" fmla="*/ 3780 w 10445"/>
                <a:gd name="connsiteY46" fmla="*/ 571 h 10155"/>
                <a:gd name="connsiteX47" fmla="*/ 4523 w 10445"/>
                <a:gd name="connsiteY47" fmla="*/ 357 h 10155"/>
                <a:gd name="connsiteX48" fmla="*/ 5298 w 10445"/>
                <a:gd name="connsiteY48" fmla="*/ 155 h 10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10445" h="10155">
                  <a:moveTo>
                    <a:pt x="5298" y="155"/>
                  </a:moveTo>
                  <a:lnTo>
                    <a:pt x="5918" y="0"/>
                  </a:lnTo>
                  <a:cubicBezTo>
                    <a:pt x="7686" y="791"/>
                    <a:pt x="10098" y="3484"/>
                    <a:pt x="10445" y="5607"/>
                  </a:cubicBezTo>
                  <a:lnTo>
                    <a:pt x="9680" y="6901"/>
                  </a:lnTo>
                  <a:lnTo>
                    <a:pt x="9334" y="7432"/>
                  </a:lnTo>
                  <a:lnTo>
                    <a:pt x="8969" y="7935"/>
                  </a:lnTo>
                  <a:lnTo>
                    <a:pt x="8578" y="8427"/>
                  </a:lnTo>
                  <a:lnTo>
                    <a:pt x="8161" y="8895"/>
                  </a:lnTo>
                  <a:lnTo>
                    <a:pt x="7719" y="9340"/>
                  </a:lnTo>
                  <a:lnTo>
                    <a:pt x="7258" y="9762"/>
                  </a:lnTo>
                  <a:lnTo>
                    <a:pt x="6765" y="10155"/>
                  </a:lnTo>
                  <a:lnTo>
                    <a:pt x="6560" y="10016"/>
                  </a:lnTo>
                  <a:lnTo>
                    <a:pt x="6329" y="9901"/>
                  </a:lnTo>
                  <a:lnTo>
                    <a:pt x="6054" y="9802"/>
                  </a:lnTo>
                  <a:lnTo>
                    <a:pt x="5772" y="9733"/>
                  </a:lnTo>
                  <a:lnTo>
                    <a:pt x="5496" y="9698"/>
                  </a:lnTo>
                  <a:lnTo>
                    <a:pt x="5215" y="9698"/>
                  </a:lnTo>
                  <a:lnTo>
                    <a:pt x="4933" y="9739"/>
                  </a:lnTo>
                  <a:lnTo>
                    <a:pt x="4664" y="9802"/>
                  </a:lnTo>
                  <a:lnTo>
                    <a:pt x="4407" y="9895"/>
                  </a:lnTo>
                  <a:lnTo>
                    <a:pt x="4164" y="10022"/>
                  </a:lnTo>
                  <a:lnTo>
                    <a:pt x="3895" y="9768"/>
                  </a:lnTo>
                  <a:lnTo>
                    <a:pt x="3357" y="9230"/>
                  </a:lnTo>
                  <a:lnTo>
                    <a:pt x="2851" y="8681"/>
                  </a:lnTo>
                  <a:lnTo>
                    <a:pt x="2383" y="8109"/>
                  </a:lnTo>
                  <a:lnTo>
                    <a:pt x="1947" y="7525"/>
                  </a:lnTo>
                  <a:lnTo>
                    <a:pt x="1537" y="6930"/>
                  </a:lnTo>
                  <a:lnTo>
                    <a:pt x="1166" y="6323"/>
                  </a:lnTo>
                  <a:lnTo>
                    <a:pt x="826" y="5704"/>
                  </a:lnTo>
                  <a:lnTo>
                    <a:pt x="519" y="5074"/>
                  </a:lnTo>
                  <a:lnTo>
                    <a:pt x="243" y="4432"/>
                  </a:lnTo>
                  <a:lnTo>
                    <a:pt x="0" y="3779"/>
                  </a:lnTo>
                  <a:lnTo>
                    <a:pt x="218" y="3658"/>
                  </a:lnTo>
                  <a:lnTo>
                    <a:pt x="423" y="3508"/>
                  </a:lnTo>
                  <a:lnTo>
                    <a:pt x="602" y="3334"/>
                  </a:lnTo>
                  <a:lnTo>
                    <a:pt x="769" y="3149"/>
                  </a:lnTo>
                  <a:cubicBezTo>
                    <a:pt x="812" y="3076"/>
                    <a:pt x="854" y="3003"/>
                    <a:pt x="897" y="2930"/>
                  </a:cubicBezTo>
                  <a:lnTo>
                    <a:pt x="1006" y="2710"/>
                  </a:lnTo>
                  <a:cubicBezTo>
                    <a:pt x="1029" y="2637"/>
                    <a:pt x="1053" y="2563"/>
                    <a:pt x="1076" y="2490"/>
                  </a:cubicBezTo>
                  <a:lnTo>
                    <a:pt x="1115" y="2259"/>
                  </a:lnTo>
                  <a:cubicBezTo>
                    <a:pt x="1117" y="2186"/>
                    <a:pt x="1119" y="2112"/>
                    <a:pt x="1121" y="2039"/>
                  </a:cubicBezTo>
                  <a:cubicBezTo>
                    <a:pt x="1117" y="1962"/>
                    <a:pt x="1112" y="1885"/>
                    <a:pt x="1108" y="1808"/>
                  </a:cubicBezTo>
                  <a:lnTo>
                    <a:pt x="1063" y="1589"/>
                  </a:lnTo>
                  <a:lnTo>
                    <a:pt x="1698" y="1317"/>
                  </a:lnTo>
                  <a:lnTo>
                    <a:pt x="2370" y="1057"/>
                  </a:lnTo>
                  <a:lnTo>
                    <a:pt x="3062" y="808"/>
                  </a:lnTo>
                  <a:lnTo>
                    <a:pt x="3780" y="571"/>
                  </a:lnTo>
                  <a:lnTo>
                    <a:pt x="4523" y="357"/>
                  </a:lnTo>
                  <a:lnTo>
                    <a:pt x="5298" y="15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>
                <a:solidFill>
                  <a:srgbClr val="646464"/>
                </a:solidFill>
              </a:endParaRPr>
            </a:p>
          </p:txBody>
        </p:sp>
      </p:grpSp>
      <p:grpSp>
        <p:nvGrpSpPr>
          <p:cNvPr id="2" name="Gruppieren 1"/>
          <p:cNvGrpSpPr/>
          <p:nvPr/>
        </p:nvGrpSpPr>
        <p:grpSpPr>
          <a:xfrm>
            <a:off x="333262" y="1193688"/>
            <a:ext cx="2772000" cy="2756125"/>
            <a:chOff x="333262" y="1205343"/>
            <a:chExt cx="2772000" cy="2756125"/>
          </a:xfrm>
        </p:grpSpPr>
        <p:cxnSp>
          <p:nvCxnSpPr>
            <p:cNvPr id="34" name="Gerade Verbindung 18"/>
            <p:cNvCxnSpPr/>
            <p:nvPr/>
          </p:nvCxnSpPr>
          <p:spPr>
            <a:xfrm flipH="1">
              <a:off x="333262" y="1205343"/>
              <a:ext cx="2772000" cy="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</p:cxnSp>
        <p:cxnSp>
          <p:nvCxnSpPr>
            <p:cNvPr id="35" name="Gerade Verbindung 18"/>
            <p:cNvCxnSpPr/>
            <p:nvPr/>
          </p:nvCxnSpPr>
          <p:spPr>
            <a:xfrm flipH="1">
              <a:off x="333262" y="3961468"/>
              <a:ext cx="2772000" cy="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</p:cxnSp>
      </p:grpSp>
    </p:spTree>
    <p:extLst>
      <p:ext uri="{BB962C8B-B14F-4D97-AF65-F5344CB8AC3E}">
        <p14:creationId xmlns:p14="http://schemas.microsoft.com/office/powerpoint/2010/main" val="375755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8323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750" y="495416"/>
            <a:ext cx="7810500" cy="4219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630969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008" y="1211861"/>
            <a:ext cx="5990003" cy="3492850"/>
          </a:xfrm>
          <a:prstGeom prst="rect">
            <a:avLst/>
          </a:prstGeom>
        </p:spPr>
      </p:pic>
      <p:sp>
        <p:nvSpPr>
          <p:cNvPr id="19" name="Rechteck 18">
            <a:hlinkClick r:id="rId4" action="ppaction://hlinksldjump"/>
          </p:cNvPr>
          <p:cNvSpPr/>
          <p:nvPr/>
        </p:nvSpPr>
        <p:spPr>
          <a:xfrm>
            <a:off x="2446332" y="1264054"/>
            <a:ext cx="1763376" cy="391820"/>
          </a:xfrm>
          <a:prstGeom prst="rect">
            <a:avLst/>
          </a:prstGeom>
          <a:solidFill>
            <a:schemeClr val="tx2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4048" tIns="37024" rIns="74048" bIns="37024" rtlCol="0" anchor="ctr"/>
          <a:lstStyle/>
          <a:p>
            <a:pPr lvl="0" algn="ctr" rtl="0">
              <a:lnSpc>
                <a:spcPct val="90000"/>
              </a:lnSpc>
            </a:pPr>
            <a:r>
              <a:rPr lang="x-none" sz="1900">
                <a:solidFill>
                  <a:schemeClr val="bg1"/>
                </a:solidFill>
                <a:latin typeface="TeleGrotesk Headline Ultra" pitchFamily="2" charset="0"/>
              </a:rPr>
              <a:t>E2E service</a:t>
            </a:r>
          </a:p>
        </p:txBody>
      </p:sp>
      <p:sp>
        <p:nvSpPr>
          <p:cNvPr id="21" name="Rechteck 20">
            <a:hlinkClick r:id="rId5" action="ppaction://hlinksldjump"/>
          </p:cNvPr>
          <p:cNvSpPr/>
          <p:nvPr/>
        </p:nvSpPr>
        <p:spPr>
          <a:xfrm>
            <a:off x="5231147" y="2359762"/>
            <a:ext cx="1224567" cy="391820"/>
          </a:xfrm>
          <a:prstGeom prst="rect">
            <a:avLst/>
          </a:prstGeom>
          <a:solidFill>
            <a:schemeClr val="tx2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4048" tIns="37024" rIns="74048" bIns="37024" rtlCol="0" anchor="ctr"/>
          <a:lstStyle/>
          <a:p>
            <a:pPr algn="ctr" rtl="0">
              <a:lnSpc>
                <a:spcPct val="90000"/>
              </a:lnSpc>
            </a:pPr>
            <a:r>
              <a:rPr lang="x-none" sz="1900">
                <a:solidFill>
                  <a:schemeClr val="bg1"/>
                </a:solidFill>
                <a:latin typeface="TeleGrotesk Headline Ultra" pitchFamily="2" charset="0"/>
              </a:rPr>
              <a:t>Costs</a:t>
            </a:r>
          </a:p>
        </p:txBody>
      </p:sp>
      <p:sp>
        <p:nvSpPr>
          <p:cNvPr id="22" name="Rechteck 21">
            <a:hlinkClick r:id="rId6" action="ppaction://hlinksldjump"/>
          </p:cNvPr>
          <p:cNvSpPr/>
          <p:nvPr/>
        </p:nvSpPr>
        <p:spPr>
          <a:xfrm>
            <a:off x="264039" y="2174667"/>
            <a:ext cx="2187893" cy="542306"/>
          </a:xfrm>
          <a:prstGeom prst="rect">
            <a:avLst/>
          </a:prstGeom>
          <a:solidFill>
            <a:schemeClr val="tx2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4048" tIns="37024" rIns="74048" bIns="37024" rtlCol="0" anchor="ctr"/>
          <a:lstStyle/>
          <a:p>
            <a:pPr algn="l" rtl="0">
              <a:lnSpc>
                <a:spcPct val="90000"/>
              </a:lnSpc>
            </a:pPr>
            <a:r>
              <a:rPr lang="x-none" sz="1900" dirty="0">
                <a:solidFill>
                  <a:schemeClr val="bg1"/>
                </a:solidFill>
                <a:latin typeface="TeleGrotesk Headline Ultra" pitchFamily="2" charset="0"/>
              </a:rPr>
              <a:t>User-friendliness</a:t>
            </a:r>
          </a:p>
        </p:txBody>
      </p:sp>
      <p:sp>
        <p:nvSpPr>
          <p:cNvPr id="26" name="Rechteck 25">
            <a:hlinkClick r:id="rId7" action="ppaction://hlinksldjump"/>
          </p:cNvPr>
          <p:cNvSpPr/>
          <p:nvPr/>
        </p:nvSpPr>
        <p:spPr>
          <a:xfrm>
            <a:off x="4697687" y="3661571"/>
            <a:ext cx="1698066" cy="391820"/>
          </a:xfrm>
          <a:prstGeom prst="rect">
            <a:avLst/>
          </a:prstGeom>
          <a:solidFill>
            <a:schemeClr val="tx2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4048" tIns="37024" rIns="74048" bIns="37024" rtlCol="0" anchor="ctr"/>
          <a:lstStyle/>
          <a:p>
            <a:pPr algn="ctr" rtl="0">
              <a:lnSpc>
                <a:spcPct val="90000"/>
              </a:lnSpc>
            </a:pPr>
            <a:r>
              <a:rPr lang="x-none" sz="1900">
                <a:solidFill>
                  <a:schemeClr val="bg1"/>
                </a:solidFill>
                <a:latin typeface="TeleGrotesk Headline Ultra" pitchFamily="2" charset="0"/>
              </a:rPr>
              <a:t>Security</a:t>
            </a:r>
          </a:p>
        </p:txBody>
      </p:sp>
      <p:sp>
        <p:nvSpPr>
          <p:cNvPr id="27" name="Rechteck 26">
            <a:hlinkClick r:id="rId4" action="ppaction://hlinksldjump"/>
          </p:cNvPr>
          <p:cNvSpPr/>
          <p:nvPr/>
        </p:nvSpPr>
        <p:spPr>
          <a:xfrm>
            <a:off x="290563" y="3692208"/>
            <a:ext cx="1600101" cy="391820"/>
          </a:xfrm>
          <a:prstGeom prst="rect">
            <a:avLst/>
          </a:prstGeom>
          <a:solidFill>
            <a:schemeClr val="tx2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4048" tIns="37024" rIns="74048" bIns="37024" rtlCol="0" anchor="ctr"/>
          <a:lstStyle/>
          <a:p>
            <a:pPr algn="ctr" rtl="0">
              <a:lnSpc>
                <a:spcPct val="90000"/>
              </a:lnSpc>
            </a:pPr>
            <a:r>
              <a:rPr lang="x-none" sz="1900" smtClean="0">
                <a:solidFill>
                  <a:schemeClr val="bg1"/>
                </a:solidFill>
                <a:latin typeface="TeleGrotesk Headline Ultra" pitchFamily="2" charset="0"/>
              </a:rPr>
              <a:t>Open</a:t>
            </a:r>
            <a:endParaRPr lang="x-none" sz="1900">
              <a:solidFill>
                <a:schemeClr val="bg1"/>
              </a:solidFill>
              <a:latin typeface="TeleGrotesk Headline Ultra" pitchFamily="2" charset="0"/>
            </a:endParaRPr>
          </a:p>
        </p:txBody>
      </p:sp>
      <p:sp>
        <p:nvSpPr>
          <p:cNvPr id="7" name="Halber Rahmen 6"/>
          <p:cNvSpPr/>
          <p:nvPr/>
        </p:nvSpPr>
        <p:spPr bwMode="gray">
          <a:xfrm rot="10800000">
            <a:off x="3899933" y="1369277"/>
            <a:ext cx="367895" cy="384373"/>
          </a:xfrm>
          <a:prstGeom prst="halfFrame">
            <a:avLst>
              <a:gd name="adj1" fmla="val 6619"/>
              <a:gd name="adj2" fmla="val 6619"/>
            </a:avLst>
          </a:prstGeom>
          <a:solidFill>
            <a:schemeClr val="tx2"/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square" lIns="87458" tIns="87458" rIns="87458" bIns="87458" rtlCol="0" anchor="ctr" anchorCtr="0">
            <a:spAutoFit/>
          </a:bodyPr>
          <a:lstStyle/>
          <a:p>
            <a:pPr algn="ctr" defTabSz="370316">
              <a:lnSpc>
                <a:spcPct val="90000"/>
              </a:lnSpc>
              <a:buClr>
                <a:srgbClr val="E20074"/>
              </a:buClr>
            </a:pPr>
            <a:endParaRPr lang="x-none" sz="1500" dirty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52" name="Halber Rahmen 51"/>
          <p:cNvSpPr/>
          <p:nvPr/>
        </p:nvSpPr>
        <p:spPr bwMode="gray">
          <a:xfrm rot="10800000" flipH="1">
            <a:off x="5163980" y="2471428"/>
            <a:ext cx="367895" cy="384373"/>
          </a:xfrm>
          <a:prstGeom prst="halfFrame">
            <a:avLst>
              <a:gd name="adj1" fmla="val 6619"/>
              <a:gd name="adj2" fmla="val 6619"/>
            </a:avLst>
          </a:prstGeom>
          <a:solidFill>
            <a:schemeClr val="tx2"/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square" lIns="87458" tIns="87458" rIns="87458" bIns="87458" rtlCol="0" anchor="ctr" anchorCtr="0">
            <a:spAutoFit/>
          </a:bodyPr>
          <a:lstStyle/>
          <a:p>
            <a:pPr algn="ctr" defTabSz="370316">
              <a:lnSpc>
                <a:spcPct val="90000"/>
              </a:lnSpc>
              <a:buClr>
                <a:srgbClr val="E20074"/>
              </a:buClr>
            </a:pPr>
            <a:endParaRPr lang="x-none" sz="1500" dirty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53" name="Halber Rahmen 52"/>
          <p:cNvSpPr/>
          <p:nvPr/>
        </p:nvSpPr>
        <p:spPr bwMode="gray">
          <a:xfrm rot="10800000" flipH="1" flipV="1">
            <a:off x="4635739" y="3559851"/>
            <a:ext cx="367895" cy="384373"/>
          </a:xfrm>
          <a:prstGeom prst="halfFrame">
            <a:avLst>
              <a:gd name="adj1" fmla="val 6619"/>
              <a:gd name="adj2" fmla="val 6619"/>
            </a:avLst>
          </a:prstGeom>
          <a:solidFill>
            <a:schemeClr val="tx2"/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square" lIns="87458" tIns="87458" rIns="87458" bIns="87458" rtlCol="0" anchor="ctr" anchorCtr="0">
            <a:spAutoFit/>
          </a:bodyPr>
          <a:lstStyle/>
          <a:p>
            <a:pPr algn="ctr" defTabSz="370316">
              <a:lnSpc>
                <a:spcPct val="90000"/>
              </a:lnSpc>
              <a:buClr>
                <a:srgbClr val="E20074"/>
              </a:buClr>
            </a:pPr>
            <a:endParaRPr lang="x-none" sz="1500" dirty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54" name="Halber Rahmen 53"/>
          <p:cNvSpPr/>
          <p:nvPr/>
        </p:nvSpPr>
        <p:spPr bwMode="gray">
          <a:xfrm rot="10800000" flipV="1">
            <a:off x="1579659" y="3595463"/>
            <a:ext cx="367895" cy="384373"/>
          </a:xfrm>
          <a:prstGeom prst="halfFrame">
            <a:avLst>
              <a:gd name="adj1" fmla="val 6619"/>
              <a:gd name="adj2" fmla="val 6619"/>
            </a:avLst>
          </a:prstGeom>
          <a:solidFill>
            <a:schemeClr val="tx2"/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square" lIns="87458" tIns="87458" rIns="87458" bIns="87458" rtlCol="0" anchor="ctr" anchorCtr="0">
            <a:spAutoFit/>
          </a:bodyPr>
          <a:lstStyle/>
          <a:p>
            <a:pPr algn="ctr" defTabSz="370316">
              <a:lnSpc>
                <a:spcPct val="90000"/>
              </a:lnSpc>
              <a:buClr>
                <a:srgbClr val="E20074"/>
              </a:buClr>
            </a:pPr>
            <a:endParaRPr lang="x-none" sz="1500" dirty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55" name="Halber Rahmen 54"/>
          <p:cNvSpPr/>
          <p:nvPr/>
        </p:nvSpPr>
        <p:spPr bwMode="gray">
          <a:xfrm rot="10800000">
            <a:off x="2140048" y="2431298"/>
            <a:ext cx="367895" cy="384373"/>
          </a:xfrm>
          <a:prstGeom prst="halfFrame">
            <a:avLst>
              <a:gd name="adj1" fmla="val 6619"/>
              <a:gd name="adj2" fmla="val 6619"/>
            </a:avLst>
          </a:prstGeom>
          <a:solidFill>
            <a:schemeClr val="tx2"/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square" lIns="87458" tIns="87458" rIns="87458" bIns="87458" rtlCol="0" anchor="ctr" anchorCtr="0">
            <a:spAutoFit/>
          </a:bodyPr>
          <a:lstStyle/>
          <a:p>
            <a:pPr algn="ctr" defTabSz="370316">
              <a:lnSpc>
                <a:spcPct val="90000"/>
              </a:lnSpc>
              <a:buClr>
                <a:srgbClr val="E20074"/>
              </a:buClr>
            </a:pPr>
            <a:endParaRPr lang="x-none" sz="1500" dirty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23" name="Rechteck 22"/>
          <p:cNvSpPr/>
          <p:nvPr/>
        </p:nvSpPr>
        <p:spPr>
          <a:xfrm>
            <a:off x="6792480" y="0"/>
            <a:ext cx="2351519" cy="513614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4048" tIns="37024" rIns="74048" bIns="37024" rtlCol="0" anchor="ctr"/>
          <a:lstStyle/>
          <a:p>
            <a:pPr algn="ctr" rtl="0"/>
            <a:endParaRPr lang="x-none" dirty="0" err="1" smtClean="0">
              <a:solidFill>
                <a:schemeClr val="tx1"/>
              </a:solidFill>
            </a:endParaRPr>
          </a:p>
        </p:txBody>
      </p:sp>
      <p:sp>
        <p:nvSpPr>
          <p:cNvPr id="24" name="Rechteck 23"/>
          <p:cNvSpPr/>
          <p:nvPr/>
        </p:nvSpPr>
        <p:spPr>
          <a:xfrm>
            <a:off x="6792480" y="121107"/>
            <a:ext cx="2351520" cy="112341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74917" tIns="87448" rIns="262375" bIns="87448" rtlCol="0" anchor="ctr" anchorCtr="0">
            <a:noAutofit/>
          </a:bodyPr>
          <a:lstStyle/>
          <a:p>
            <a:pPr marL="0" lvl="1">
              <a:lnSpc>
                <a:spcPct val="90000"/>
              </a:lnSpc>
            </a:pPr>
            <a:r>
              <a:rPr lang="x-none" sz="1900" dirty="0">
                <a:solidFill>
                  <a:srgbClr val="E20074"/>
                </a:solidFill>
                <a:latin typeface="TeleGrotesk Headline Ultra" pitchFamily="2" charset="0"/>
              </a:rPr>
              <a:t>One </a:t>
            </a:r>
            <a:r>
              <a:rPr lang="x-none" sz="1900">
                <a:solidFill>
                  <a:srgbClr val="E20074"/>
                </a:solidFill>
                <a:latin typeface="TeleGrotesk Headline Ultra" pitchFamily="2" charset="0"/>
              </a:rPr>
              <a:t>of the</a:t>
            </a:r>
            <a:r>
              <a:rPr lang="de-DE" sz="1900" dirty="0">
                <a:solidFill>
                  <a:srgbClr val="E20074"/>
                </a:solidFill>
                <a:latin typeface="TeleGrotesk Headline Ultra" pitchFamily="2" charset="0"/>
              </a:rPr>
              <a:t> </a:t>
            </a:r>
            <a:r>
              <a:rPr lang="x-none" sz="1900">
                <a:solidFill>
                  <a:srgbClr val="E20074"/>
                </a:solidFill>
                <a:latin typeface="TeleGrotesk Headline Ultra" pitchFamily="2" charset="0"/>
              </a:rPr>
              <a:t>largest</a:t>
            </a:r>
            <a:r>
              <a:rPr lang="de-DE" sz="1900" dirty="0">
                <a:solidFill>
                  <a:srgbClr val="E20074"/>
                </a:solidFill>
                <a:latin typeface="TeleGrotesk Headline Ultra" pitchFamily="2" charset="0"/>
              </a:rPr>
              <a:t> </a:t>
            </a:r>
            <a:r>
              <a:rPr lang="x-none" sz="1900">
                <a:solidFill>
                  <a:srgbClr val="E20074"/>
                </a:solidFill>
                <a:latin typeface="TeleGrotesk Headline Ultra" pitchFamily="2" charset="0"/>
              </a:rPr>
              <a:t>German</a:t>
            </a:r>
            <a:r>
              <a:rPr lang="de-DE" sz="1900" dirty="0">
                <a:solidFill>
                  <a:srgbClr val="E20074"/>
                </a:solidFill>
                <a:latin typeface="TeleGrotesk Headline Ultra" pitchFamily="2" charset="0"/>
              </a:rPr>
              <a:t> </a:t>
            </a:r>
            <a:r>
              <a:rPr lang="x-none" sz="1900">
                <a:solidFill>
                  <a:srgbClr val="E20074"/>
                </a:solidFill>
                <a:latin typeface="TeleGrotesk Headline Ultra" pitchFamily="2" charset="0"/>
              </a:rPr>
              <a:t>public </a:t>
            </a:r>
            <a:r>
              <a:rPr lang="x-none" sz="1900" dirty="0">
                <a:solidFill>
                  <a:srgbClr val="E20074"/>
                </a:solidFill>
                <a:latin typeface="TeleGrotesk Headline Ultra" pitchFamily="2" charset="0"/>
              </a:rPr>
              <a:t>clouds</a:t>
            </a:r>
            <a:endParaRPr lang="x-none" sz="1900" dirty="0">
              <a:solidFill>
                <a:srgbClr val="000000"/>
              </a:solidFill>
              <a:latin typeface="TeleGrotesk Headline Ultra" pitchFamily="2" charset="0"/>
            </a:endParaRPr>
          </a:p>
        </p:txBody>
      </p:sp>
      <p:sp>
        <p:nvSpPr>
          <p:cNvPr id="25" name="Rechteck 24"/>
          <p:cNvSpPr/>
          <p:nvPr/>
        </p:nvSpPr>
        <p:spPr>
          <a:xfrm>
            <a:off x="6792481" y="1484923"/>
            <a:ext cx="2163678" cy="120038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74917" tIns="37019" rIns="74039" bIns="37019" rtlCol="0" anchor="ctr"/>
          <a:lstStyle/>
          <a:p>
            <a:pPr algn="l" rtl="0">
              <a:lnSpc>
                <a:spcPct val="90000"/>
              </a:lnSpc>
            </a:pPr>
            <a:r>
              <a:rPr lang="x-none" sz="1500">
                <a:solidFill>
                  <a:srgbClr val="000000"/>
                </a:solidFill>
                <a:latin typeface="Tele-GroteskFet" pitchFamily="2" charset="0"/>
              </a:rPr>
              <a:t>As </a:t>
            </a:r>
            <a:r>
              <a:rPr lang="x-none" sz="1500" dirty="0">
                <a:solidFill>
                  <a:srgbClr val="000000"/>
                </a:solidFill>
                <a:latin typeface="Tele-GroteskFet" pitchFamily="2" charset="0"/>
              </a:rPr>
              <a:t>a powerful partner, Deutsche Telekom offers infrastructure-as-a-service in enterprise</a:t>
            </a:r>
            <a:r>
              <a:rPr lang="de-DE" sz="1500" dirty="0">
                <a:solidFill>
                  <a:srgbClr val="000000"/>
                </a:solidFill>
                <a:latin typeface="Tele-GroteskFet" pitchFamily="2" charset="0"/>
              </a:rPr>
              <a:t> </a:t>
            </a:r>
            <a:r>
              <a:rPr lang="x-none" sz="1500" dirty="0">
                <a:solidFill>
                  <a:srgbClr val="000000"/>
                </a:solidFill>
                <a:latin typeface="Tele-GroteskFet" pitchFamily="2" charset="0"/>
              </a:rPr>
              <a:t>quality for </a:t>
            </a:r>
            <a:r>
              <a:rPr lang="x-none" sz="1500">
                <a:solidFill>
                  <a:srgbClr val="000000"/>
                </a:solidFill>
                <a:latin typeface="Tele-GroteskFet" pitchFamily="2" charset="0"/>
              </a:rPr>
              <a:t>European customers</a:t>
            </a:r>
            <a:endParaRPr lang="x-none" sz="1500" dirty="0">
              <a:solidFill>
                <a:srgbClr val="000000"/>
              </a:solidFill>
              <a:latin typeface="Tele-GroteskFet" pitchFamily="2" charset="0"/>
            </a:endParaRPr>
          </a:p>
        </p:txBody>
      </p:sp>
      <p:sp>
        <p:nvSpPr>
          <p:cNvPr id="30" name="Rechteck 29"/>
          <p:cNvSpPr/>
          <p:nvPr/>
        </p:nvSpPr>
        <p:spPr>
          <a:xfrm>
            <a:off x="6792481" y="2958286"/>
            <a:ext cx="2163679" cy="1123417"/>
          </a:xfrm>
          <a:prstGeom prst="rect">
            <a:avLst/>
          </a:prstGeom>
          <a:solidFill>
            <a:srgbClr val="FFFFFF">
              <a:alpha val="85098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74917" tIns="87448" rIns="87448" bIns="87448" rtlCol="0" anchor="ctr" anchorCtr="0">
            <a:noAutofit/>
          </a:bodyPr>
          <a:lstStyle/>
          <a:p>
            <a:pPr marL="0" lvl="1">
              <a:lnSpc>
                <a:spcPct val="90000"/>
              </a:lnSpc>
            </a:pPr>
            <a:r>
              <a:rPr lang="x-none" sz="1500" dirty="0">
                <a:solidFill>
                  <a:srgbClr val="000000"/>
                </a:solidFill>
              </a:rPr>
              <a:t>With additional customized services for strategic sourcing in times of digitization</a:t>
            </a:r>
          </a:p>
        </p:txBody>
      </p:sp>
      <p:cxnSp>
        <p:nvCxnSpPr>
          <p:cNvPr id="31" name="Gerade Verbindung 30"/>
          <p:cNvCxnSpPr/>
          <p:nvPr/>
        </p:nvCxnSpPr>
        <p:spPr>
          <a:xfrm>
            <a:off x="6965707" y="1417414"/>
            <a:ext cx="1990452" cy="0"/>
          </a:xfrm>
          <a:prstGeom prst="line">
            <a:avLst/>
          </a:prstGeom>
          <a:ln w="63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1"/>
          <p:cNvCxnSpPr/>
          <p:nvPr/>
        </p:nvCxnSpPr>
        <p:spPr>
          <a:xfrm>
            <a:off x="6965707" y="2770926"/>
            <a:ext cx="1990452" cy="0"/>
          </a:xfrm>
          <a:prstGeom prst="line">
            <a:avLst/>
          </a:prstGeom>
          <a:ln w="63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Textfeld 32"/>
          <p:cNvSpPr txBox="1"/>
          <p:nvPr/>
        </p:nvSpPr>
        <p:spPr>
          <a:xfrm rot="420000">
            <a:off x="7028625" y="4246486"/>
            <a:ext cx="1777512" cy="657899"/>
          </a:xfrm>
          <a:prstGeom prst="rect">
            <a:avLst/>
          </a:prstGeom>
          <a:solidFill>
            <a:schemeClr val="tx2"/>
          </a:solidFill>
        </p:spPr>
        <p:txBody>
          <a:bodyPr wrap="square" lIns="87458" tIns="58306" rIns="87458" bIns="58306" rtlCol="0">
            <a:spAutoFit/>
          </a:bodyPr>
          <a:lstStyle/>
          <a:p>
            <a:pPr algn="l" rtl="0">
              <a:lnSpc>
                <a:spcPct val="90000"/>
              </a:lnSpc>
              <a:buClr>
                <a:schemeClr val="tx2"/>
              </a:buClr>
            </a:pPr>
            <a:r>
              <a:rPr lang="x-none" sz="1300">
                <a:solidFill>
                  <a:schemeClr val="bg1"/>
                </a:solidFill>
                <a:latin typeface="TeleGrotesk Headline Ultra" pitchFamily="2" charset="0"/>
              </a:rPr>
              <a:t>Special Add-On:</a:t>
            </a:r>
            <a:r>
              <a:rPr lang="x-none" sz="1300">
                <a:solidFill>
                  <a:schemeClr val="bg1"/>
                </a:solidFill>
              </a:rPr>
              <a:t/>
            </a:r>
            <a:br>
              <a:rPr lang="x-none" sz="1300">
                <a:solidFill>
                  <a:schemeClr val="bg1"/>
                </a:solidFill>
              </a:rPr>
            </a:br>
            <a:r>
              <a:rPr lang="x-none" sz="1300">
                <a:solidFill>
                  <a:schemeClr val="bg1"/>
                </a:solidFill>
                <a:latin typeface="TeleGrotesk Headline Ultra" pitchFamily="2" charset="0"/>
              </a:rPr>
              <a:t>Transformation &amp; </a:t>
            </a:r>
            <a:br>
              <a:rPr lang="x-none" sz="1300">
                <a:solidFill>
                  <a:schemeClr val="bg1"/>
                </a:solidFill>
                <a:latin typeface="TeleGrotesk Headline Ultra" pitchFamily="2" charset="0"/>
              </a:rPr>
            </a:br>
            <a:r>
              <a:rPr lang="x-none" sz="1300">
                <a:solidFill>
                  <a:schemeClr val="bg1"/>
                </a:solidFill>
                <a:latin typeface="TeleGrotesk Headline Ultra" pitchFamily="2" charset="0"/>
              </a:rPr>
              <a:t>Integration</a:t>
            </a:r>
          </a:p>
        </p:txBody>
      </p:sp>
      <p:sp>
        <p:nvSpPr>
          <p:cNvPr id="29" name="Titel 2"/>
          <p:cNvSpPr txBox="1">
            <a:spLocks/>
          </p:cNvSpPr>
          <p:nvPr/>
        </p:nvSpPr>
        <p:spPr bwMode="gray">
          <a:xfrm>
            <a:off x="326557" y="200021"/>
            <a:ext cx="8244323" cy="6088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456028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defRPr lang="de-DE" sz="3200" kern="1200">
                <a:solidFill>
                  <a:schemeClr val="tx2"/>
                </a:solidFill>
                <a:latin typeface="TeleGrotesk Headline Ultra" pitchFamily="2" charset="0"/>
                <a:ea typeface="+mj-ea"/>
                <a:cs typeface="TeleGrotesk Headline Ultra" pitchFamily="2" charset="0"/>
              </a:defRPr>
            </a:lvl1pPr>
            <a:lvl2pPr algn="l" defTabSz="57459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tx2"/>
                </a:solidFill>
                <a:latin typeface="Tele-GroteskUlt" pitchFamily="2" charset="0"/>
              </a:defRPr>
            </a:lvl2pPr>
            <a:lvl3pPr algn="l" defTabSz="57459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tx2"/>
                </a:solidFill>
                <a:latin typeface="Tele-GroteskUlt" pitchFamily="2" charset="0"/>
              </a:defRPr>
            </a:lvl3pPr>
            <a:lvl4pPr algn="l" defTabSz="57459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tx2"/>
                </a:solidFill>
                <a:latin typeface="Tele-GroteskUlt" pitchFamily="2" charset="0"/>
              </a:defRPr>
            </a:lvl4pPr>
            <a:lvl5pPr algn="l" defTabSz="57459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tx2"/>
                </a:solidFill>
                <a:latin typeface="Tele-GroteskUlt" pitchFamily="2" charset="0"/>
              </a:defRPr>
            </a:lvl5pPr>
            <a:lvl6pPr marL="455878" algn="l" defTabSz="57459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tx2"/>
                </a:solidFill>
                <a:latin typeface="Tele-GroteskUlt" pitchFamily="2" charset="0"/>
              </a:defRPr>
            </a:lvl6pPr>
            <a:lvl7pPr marL="911753" algn="l" defTabSz="57459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tx2"/>
                </a:solidFill>
                <a:latin typeface="Tele-GroteskUlt" pitchFamily="2" charset="0"/>
              </a:defRPr>
            </a:lvl7pPr>
            <a:lvl8pPr marL="1367633" algn="l" defTabSz="57459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tx2"/>
                </a:solidFill>
                <a:latin typeface="Tele-GroteskUlt" pitchFamily="2" charset="0"/>
              </a:defRPr>
            </a:lvl8pPr>
            <a:lvl9pPr marL="1823501" algn="l" defTabSz="574598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r>
              <a:rPr lang="x-none" cap="all" smtClean="0">
                <a:solidFill>
                  <a:schemeClr val="bg1"/>
                </a:solidFill>
              </a:rPr>
              <a:t>Open </a:t>
            </a:r>
            <a:r>
              <a:rPr lang="x-none" cap="all">
                <a:solidFill>
                  <a:schemeClr val="bg1"/>
                </a:solidFill>
              </a:rPr>
              <a:t>Telekom Cloud</a:t>
            </a:r>
            <a:endParaRPr lang="de-DE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3030154"/>
      </p:ext>
    </p:extLst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hteck 29"/>
          <p:cNvSpPr/>
          <p:nvPr/>
        </p:nvSpPr>
        <p:spPr bwMode="gray">
          <a:xfrm>
            <a:off x="2482559" y="2157039"/>
            <a:ext cx="32655" cy="384373"/>
          </a:xfrm>
          <a:prstGeom prst="rect">
            <a:avLst/>
          </a:prstGeom>
          <a:solidFill>
            <a:schemeClr val="tx2"/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square" lIns="87458" tIns="87458" rIns="87458" bIns="87458" rtlCol="0" anchor="ctr" anchorCtr="0">
            <a:spAutoFit/>
          </a:bodyPr>
          <a:lstStyle/>
          <a:p>
            <a:pPr algn="ctr" defTabSz="370316">
              <a:lnSpc>
                <a:spcPct val="90000"/>
              </a:lnSpc>
              <a:buClr>
                <a:srgbClr val="E20074"/>
              </a:buClr>
            </a:pPr>
            <a:endParaRPr lang="x-none" sz="1500" dirty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26556" y="200021"/>
            <a:ext cx="8490331" cy="830997"/>
          </a:xfrm>
        </p:spPr>
        <p:txBody>
          <a:bodyPr/>
          <a:lstStyle/>
          <a:p>
            <a:pPr defTabSz="407147"/>
            <a:r>
              <a:rPr lang="x-none" b="0" i="0" u="none" baseline="0" smtClean="0"/>
              <a:t>Open</a:t>
            </a:r>
            <a:r>
              <a:rPr lang="x-none"/>
              <a:t/>
            </a:r>
            <a:br>
              <a:rPr lang="x-none"/>
            </a:br>
            <a:r>
              <a:rPr lang="x-none" b="0" i="0" u="none" baseline="0">
                <a:latin typeface="TeleGrotesk Headline" pitchFamily="2" charset="0"/>
              </a:rPr>
              <a:t>Future-proof with OpenStack</a:t>
            </a:r>
            <a:endParaRPr lang="x-none" dirty="0"/>
          </a:p>
        </p:txBody>
      </p:sp>
      <p:sp>
        <p:nvSpPr>
          <p:cNvPr id="15" name="Rechteck 14"/>
          <p:cNvSpPr/>
          <p:nvPr/>
        </p:nvSpPr>
        <p:spPr>
          <a:xfrm>
            <a:off x="326556" y="3913136"/>
            <a:ext cx="8496471" cy="519799"/>
          </a:xfrm>
          <a:prstGeom prst="rect">
            <a:avLst/>
          </a:prstGeom>
          <a:solidFill>
            <a:srgbClr val="E2007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7448" tIns="87448" rIns="87448" bIns="87448" rtlCol="0" anchor="ctr" anchorCtr="0">
            <a:noAutofit/>
          </a:bodyPr>
          <a:lstStyle/>
          <a:p>
            <a:pPr marL="0" lvl="1">
              <a:lnSpc>
                <a:spcPct val="90000"/>
              </a:lnSpc>
            </a:pPr>
            <a:r>
              <a:rPr lang="x-none" sz="1600" dirty="0">
                <a:solidFill>
                  <a:schemeClr val="bg1"/>
                </a:solidFill>
                <a:latin typeface="TeleGrotesk Headline Ultra" pitchFamily="2" charset="0"/>
              </a:rPr>
              <a:t>Openness out of responsibility </a:t>
            </a:r>
            <a:r>
              <a:rPr lang="en-US" sz="1600" dirty="0">
                <a:solidFill>
                  <a:schemeClr val="bg1"/>
                </a:solidFill>
              </a:rPr>
              <a:t>FOR OUR CUSTOMERS’ AGILE </a:t>
            </a:r>
            <a:br>
              <a:rPr lang="en-US" sz="1600" dirty="0">
                <a:solidFill>
                  <a:schemeClr val="bg1"/>
                </a:solidFill>
              </a:rPr>
            </a:br>
            <a:r>
              <a:rPr lang="en-US" sz="1600" dirty="0">
                <a:solidFill>
                  <a:schemeClr val="bg1"/>
                </a:solidFill>
              </a:rPr>
              <a:t>BUSINESS 4. 0 IN TIMES OF DIGITIZATION</a:t>
            </a:r>
            <a:endParaRPr lang="x-none" sz="1600" dirty="0">
              <a:solidFill>
                <a:schemeClr val="bg1"/>
              </a:solidFill>
              <a:latin typeface="TeleGrotesk Headline" pitchFamily="2" charset="0"/>
            </a:endParaRPr>
          </a:p>
        </p:txBody>
      </p:sp>
      <p:pic>
        <p:nvPicPr>
          <p:cNvPr id="25" name="Grafik 2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160" y="1097046"/>
            <a:ext cx="2022640" cy="2816090"/>
          </a:xfrm>
          <a:prstGeom prst="rect">
            <a:avLst/>
          </a:prstGeom>
        </p:spPr>
      </p:pic>
      <p:sp>
        <p:nvSpPr>
          <p:cNvPr id="26" name="Textfeld 25"/>
          <p:cNvSpPr txBox="1"/>
          <p:nvPr/>
        </p:nvSpPr>
        <p:spPr>
          <a:xfrm>
            <a:off x="4168248" y="1822401"/>
            <a:ext cx="4648639" cy="3600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rtl="0">
              <a:lnSpc>
                <a:spcPct val="90000"/>
              </a:lnSpc>
              <a:buClr>
                <a:schemeClr val="tx2"/>
              </a:buClr>
            </a:pPr>
            <a:r>
              <a:rPr lang="x-none" sz="1300" dirty="0">
                <a:solidFill>
                  <a:srgbClr val="000000"/>
                </a:solidFill>
                <a:latin typeface="TeleGrotesk Headline Ultra" pitchFamily="2" charset="0"/>
              </a:rPr>
              <a:t>Ideal environment </a:t>
            </a:r>
            <a:br>
              <a:rPr lang="x-none" sz="1300" dirty="0">
                <a:solidFill>
                  <a:srgbClr val="000000"/>
                </a:solidFill>
                <a:latin typeface="TeleGrotesk Headline Ultra" pitchFamily="2" charset="0"/>
              </a:rPr>
            </a:br>
            <a:r>
              <a:rPr lang="x-none" sz="1300" dirty="0">
                <a:solidFill>
                  <a:srgbClr val="000000"/>
                </a:solidFill>
                <a:latin typeface="Tele-GroteskEENor" pitchFamily="2" charset="0"/>
              </a:rPr>
              <a:t>for native applications</a:t>
            </a:r>
          </a:p>
        </p:txBody>
      </p:sp>
      <p:sp>
        <p:nvSpPr>
          <p:cNvPr id="27" name="Textfeld 26"/>
          <p:cNvSpPr txBox="1"/>
          <p:nvPr/>
        </p:nvSpPr>
        <p:spPr>
          <a:xfrm>
            <a:off x="4168248" y="2194981"/>
            <a:ext cx="4975752" cy="54014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rtl="0">
              <a:lnSpc>
                <a:spcPct val="90000"/>
              </a:lnSpc>
              <a:buClr>
                <a:schemeClr val="tx2"/>
              </a:buClr>
            </a:pPr>
            <a:r>
              <a:rPr lang="x-none" sz="1300" dirty="0">
                <a:solidFill>
                  <a:srgbClr val="000000"/>
                </a:solidFill>
                <a:latin typeface="TeleGrotesk Headline Ultra" pitchFamily="2" charset="0"/>
              </a:rPr>
              <a:t>High degree of </a:t>
            </a:r>
            <a:r>
              <a:rPr lang="x-none" sz="1300">
                <a:solidFill>
                  <a:srgbClr val="000000"/>
                </a:solidFill>
                <a:latin typeface="TeleGrotesk Headline Ultra" pitchFamily="2" charset="0"/>
              </a:rPr>
              <a:t>maturity </a:t>
            </a:r>
            <a:r>
              <a:rPr lang="hu-HU" sz="1300" dirty="0">
                <a:solidFill>
                  <a:srgbClr val="000000"/>
                </a:solidFill>
                <a:latin typeface="TeleGrotesk Headline Ultra" pitchFamily="2" charset="0"/>
              </a:rPr>
              <a:t/>
            </a:r>
            <a:br>
              <a:rPr lang="hu-HU" sz="1300" dirty="0">
                <a:solidFill>
                  <a:srgbClr val="000000"/>
                </a:solidFill>
                <a:latin typeface="TeleGrotesk Headline Ultra" pitchFamily="2" charset="0"/>
              </a:rPr>
            </a:br>
            <a:r>
              <a:rPr lang="x-none" sz="1300" smtClean="0">
                <a:solidFill>
                  <a:srgbClr val="000000"/>
                </a:solidFill>
                <a:latin typeface="Tele-GroteskEENor" pitchFamily="2" charset="0"/>
              </a:rPr>
              <a:t>driven </a:t>
            </a:r>
            <a:r>
              <a:rPr lang="x-none" sz="1300" dirty="0">
                <a:solidFill>
                  <a:srgbClr val="000000"/>
                </a:solidFill>
                <a:latin typeface="Tele-GroteskEENor" pitchFamily="2" charset="0"/>
              </a:rPr>
              <a:t>by many large industrial companies and the community</a:t>
            </a:r>
            <a:r>
              <a:rPr lang="x-none" sz="1300" dirty="0">
                <a:solidFill>
                  <a:srgbClr val="000000"/>
                </a:solidFill>
                <a:latin typeface="TeleGrotesk Headline Ultra" pitchFamily="2" charset="0"/>
              </a:rPr>
              <a:t/>
            </a:r>
            <a:br>
              <a:rPr lang="x-none" sz="1300" dirty="0">
                <a:solidFill>
                  <a:srgbClr val="000000"/>
                </a:solidFill>
                <a:latin typeface="TeleGrotesk Headline Ultra" pitchFamily="2" charset="0"/>
              </a:rPr>
            </a:br>
            <a:endParaRPr lang="x-none" sz="1300" dirty="0">
              <a:solidFill>
                <a:srgbClr val="000000"/>
              </a:solidFill>
            </a:endParaRPr>
          </a:p>
        </p:txBody>
      </p:sp>
      <p:sp>
        <p:nvSpPr>
          <p:cNvPr id="28" name="Textfeld 27"/>
          <p:cNvSpPr txBox="1"/>
          <p:nvPr/>
        </p:nvSpPr>
        <p:spPr>
          <a:xfrm>
            <a:off x="4168249" y="1077241"/>
            <a:ext cx="4654778" cy="54014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l" rtl="0">
              <a:lnSpc>
                <a:spcPct val="90000"/>
              </a:lnSpc>
            </a:pPr>
            <a:r>
              <a:rPr lang="x-none" sz="1300" dirty="0">
                <a:solidFill>
                  <a:srgbClr val="000000"/>
                </a:solidFill>
                <a:latin typeface="TeleGrotesk Headline Ultra" pitchFamily="2" charset="0"/>
              </a:rPr>
              <a:t>Multi-cloud </a:t>
            </a:r>
            <a:r>
              <a:rPr lang="x-none" sz="1300">
                <a:solidFill>
                  <a:srgbClr val="000000"/>
                </a:solidFill>
                <a:latin typeface="TeleGrotesk Headline Ultra" pitchFamily="2" charset="0"/>
              </a:rPr>
              <a:t>management </a:t>
            </a:r>
            <a:r>
              <a:rPr lang="hu-HU" sz="1300" dirty="0">
                <a:solidFill>
                  <a:srgbClr val="000000"/>
                </a:solidFill>
                <a:latin typeface="TeleGrotesk Headline Ultra" pitchFamily="2" charset="0"/>
              </a:rPr>
              <a:t/>
            </a:r>
            <a:br>
              <a:rPr lang="hu-HU" sz="1300" dirty="0">
                <a:solidFill>
                  <a:srgbClr val="000000"/>
                </a:solidFill>
                <a:latin typeface="TeleGrotesk Headline Ultra" pitchFamily="2" charset="0"/>
              </a:rPr>
            </a:br>
            <a:r>
              <a:rPr lang="x-none" sz="1300" smtClean="0">
                <a:solidFill>
                  <a:srgbClr val="000000"/>
                </a:solidFill>
                <a:latin typeface="Tele-GroteskEENor" pitchFamily="2" charset="0"/>
              </a:rPr>
              <a:t>is </a:t>
            </a:r>
            <a:r>
              <a:rPr lang="x-none" sz="1300" dirty="0">
                <a:solidFill>
                  <a:srgbClr val="000000"/>
                </a:solidFill>
                <a:latin typeface="Tele-GroteskEENor" pitchFamily="2" charset="0"/>
              </a:rPr>
              <a:t>efficiently supported </a:t>
            </a:r>
            <a:r>
              <a:rPr lang="x-none" sz="1300" dirty="0">
                <a:solidFill>
                  <a:srgbClr val="000000"/>
                </a:solidFill>
                <a:latin typeface="TeleGrotesk Headline Ultra" pitchFamily="2" charset="0"/>
              </a:rPr>
              <a:t/>
            </a:r>
            <a:br>
              <a:rPr lang="x-none" sz="1300" dirty="0">
                <a:solidFill>
                  <a:srgbClr val="000000"/>
                </a:solidFill>
                <a:latin typeface="TeleGrotesk Headline Ultra" pitchFamily="2" charset="0"/>
              </a:rPr>
            </a:br>
            <a:endParaRPr lang="x-none" sz="1300" dirty="0">
              <a:solidFill>
                <a:srgbClr val="000000"/>
              </a:solidFill>
              <a:latin typeface="TeleGrotesk Headline Ultra" pitchFamily="2" charset="0"/>
            </a:endParaRPr>
          </a:p>
        </p:txBody>
      </p:sp>
      <p:sp>
        <p:nvSpPr>
          <p:cNvPr id="29" name="Textfeld 28"/>
          <p:cNvSpPr txBox="1"/>
          <p:nvPr/>
        </p:nvSpPr>
        <p:spPr>
          <a:xfrm>
            <a:off x="4168249" y="3312723"/>
            <a:ext cx="4654779" cy="3600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rtl="0">
              <a:lnSpc>
                <a:spcPct val="90000"/>
              </a:lnSpc>
              <a:buClr>
                <a:schemeClr val="tx2"/>
              </a:buClr>
            </a:pPr>
            <a:r>
              <a:rPr lang="x-none" sz="1300" dirty="0">
                <a:solidFill>
                  <a:srgbClr val="000000"/>
                </a:solidFill>
                <a:latin typeface="TeleGrotesk Headline Ultra" pitchFamily="2" charset="0"/>
              </a:rPr>
              <a:t>Already established </a:t>
            </a:r>
            <a:br>
              <a:rPr lang="x-none" sz="1300" dirty="0">
                <a:solidFill>
                  <a:srgbClr val="000000"/>
                </a:solidFill>
                <a:latin typeface="TeleGrotesk Headline Ultra" pitchFamily="2" charset="0"/>
              </a:rPr>
            </a:br>
            <a:r>
              <a:rPr lang="x-none" sz="1300" dirty="0">
                <a:solidFill>
                  <a:srgbClr val="000000"/>
                </a:solidFill>
                <a:latin typeface="Tele-GroteskEENor" pitchFamily="2" charset="0"/>
              </a:rPr>
              <a:t>in the </a:t>
            </a:r>
            <a:r>
              <a:rPr lang="de-DE" sz="1300" dirty="0">
                <a:solidFill>
                  <a:srgbClr val="000000"/>
                </a:solidFill>
                <a:latin typeface="Tele-GroteskEENor" pitchFamily="2" charset="0"/>
              </a:rPr>
              <a:t>c</a:t>
            </a:r>
            <a:r>
              <a:rPr lang="x-none" sz="1300" dirty="0">
                <a:solidFill>
                  <a:srgbClr val="000000"/>
                </a:solidFill>
                <a:latin typeface="Tele-GroteskEENor" pitchFamily="2" charset="0"/>
              </a:rPr>
              <a:t>loud environment</a:t>
            </a:r>
          </a:p>
        </p:txBody>
      </p:sp>
      <p:sp>
        <p:nvSpPr>
          <p:cNvPr id="34" name="Eingekerbter Richtungspfeil 33"/>
          <p:cNvSpPr/>
          <p:nvPr/>
        </p:nvSpPr>
        <p:spPr bwMode="gray">
          <a:xfrm>
            <a:off x="2274238" y="2175881"/>
            <a:ext cx="156821" cy="384373"/>
          </a:xfrm>
          <a:prstGeom prst="chevron">
            <a:avLst/>
          </a:prstGeom>
          <a:solidFill>
            <a:schemeClr val="tx2"/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square" lIns="87458" tIns="87458" rIns="87458" bIns="87458" rtlCol="0" anchor="ctr" anchorCtr="0">
            <a:spAutoFit/>
          </a:bodyPr>
          <a:lstStyle/>
          <a:p>
            <a:pPr algn="ctr" defTabSz="370316">
              <a:lnSpc>
                <a:spcPct val="90000"/>
              </a:lnSpc>
              <a:buClr>
                <a:srgbClr val="E20074"/>
              </a:buClr>
            </a:pPr>
            <a:endParaRPr lang="x-none" sz="1500" dirty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40" name="Textfeld 39"/>
          <p:cNvSpPr txBox="1"/>
          <p:nvPr/>
        </p:nvSpPr>
        <p:spPr>
          <a:xfrm>
            <a:off x="4168249" y="1449820"/>
            <a:ext cx="4648639" cy="3600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l" rtl="0">
              <a:lnSpc>
                <a:spcPct val="90000"/>
              </a:lnSpc>
            </a:pPr>
            <a:r>
              <a:rPr lang="x-none" sz="1300">
                <a:solidFill>
                  <a:srgbClr val="000000"/>
                </a:solidFill>
                <a:latin typeface="TeleGrotesk Headline Ultra" pitchFamily="2" charset="0"/>
              </a:rPr>
              <a:t>Docker Container Service </a:t>
            </a:r>
            <a:br>
              <a:rPr lang="x-none" sz="1300">
                <a:solidFill>
                  <a:srgbClr val="000000"/>
                </a:solidFill>
                <a:latin typeface="TeleGrotesk Headline Ultra" pitchFamily="2" charset="0"/>
              </a:rPr>
            </a:br>
            <a:r>
              <a:rPr lang="x-none" sz="1300">
                <a:solidFill>
                  <a:srgbClr val="000000"/>
                </a:solidFill>
                <a:latin typeface="Tele-GroteskEENor" pitchFamily="2" charset="0"/>
              </a:rPr>
              <a:t>for simple migration of data and workloads</a:t>
            </a:r>
            <a:endParaRPr lang="x-none" sz="1300" dirty="0">
              <a:solidFill>
                <a:srgbClr val="000000"/>
              </a:solidFill>
              <a:latin typeface="Tele-GroteskEENor" pitchFamily="2" charset="0"/>
            </a:endParaRPr>
          </a:p>
        </p:txBody>
      </p:sp>
      <p:sp>
        <p:nvSpPr>
          <p:cNvPr id="41" name="Textfeld 40"/>
          <p:cNvSpPr txBox="1"/>
          <p:nvPr/>
        </p:nvSpPr>
        <p:spPr>
          <a:xfrm>
            <a:off x="4168248" y="2567561"/>
            <a:ext cx="4648639" cy="3600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 algn="l" rtl="0">
              <a:lnSpc>
                <a:spcPct val="90000"/>
              </a:lnSpc>
            </a:pPr>
            <a:r>
              <a:rPr lang="x-none" sz="1300">
                <a:solidFill>
                  <a:srgbClr val="000000"/>
                </a:solidFill>
                <a:latin typeface="TeleGrotesk Headline Ultra" pitchFamily="2" charset="0"/>
              </a:rPr>
              <a:t>Independence</a:t>
            </a:r>
            <a:br>
              <a:rPr lang="x-none" sz="1300">
                <a:solidFill>
                  <a:srgbClr val="000000"/>
                </a:solidFill>
                <a:latin typeface="TeleGrotesk Headline Ultra" pitchFamily="2" charset="0"/>
              </a:rPr>
            </a:br>
            <a:r>
              <a:rPr lang="x-none" sz="1300">
                <a:solidFill>
                  <a:srgbClr val="000000"/>
                </a:solidFill>
                <a:latin typeface="Tele-GroteskEENor" pitchFamily="2" charset="0"/>
              </a:rPr>
              <a:t>Reduction of technical dependencies, open standard API</a:t>
            </a:r>
          </a:p>
        </p:txBody>
      </p:sp>
      <p:sp>
        <p:nvSpPr>
          <p:cNvPr id="42" name="Textfeld 41"/>
          <p:cNvSpPr txBox="1"/>
          <p:nvPr/>
        </p:nvSpPr>
        <p:spPr>
          <a:xfrm>
            <a:off x="4168248" y="2940141"/>
            <a:ext cx="4648639" cy="3600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rtl="0">
              <a:lnSpc>
                <a:spcPct val="90000"/>
              </a:lnSpc>
              <a:buClr>
                <a:schemeClr val="tx2"/>
              </a:buClr>
            </a:pPr>
            <a:r>
              <a:rPr lang="x-none" sz="1300">
                <a:solidFill>
                  <a:srgbClr val="000000"/>
                </a:solidFill>
                <a:latin typeface="TeleGrotesk Headline Ultra" pitchFamily="2" charset="0"/>
              </a:rPr>
              <a:t>No vendor lock-in </a:t>
            </a:r>
            <a:br>
              <a:rPr lang="x-none" sz="1300">
                <a:solidFill>
                  <a:srgbClr val="000000"/>
                </a:solidFill>
                <a:latin typeface="TeleGrotesk Headline Ultra" pitchFamily="2" charset="0"/>
              </a:rPr>
            </a:br>
            <a:r>
              <a:rPr lang="x-none" sz="1300">
                <a:solidFill>
                  <a:srgbClr val="000000"/>
                </a:solidFill>
                <a:latin typeface="Tele-GroteskEENor" pitchFamily="2" charset="0"/>
              </a:rPr>
              <a:t>Freedom of choice with simple service exit</a:t>
            </a:r>
          </a:p>
        </p:txBody>
      </p:sp>
      <p:cxnSp>
        <p:nvCxnSpPr>
          <p:cNvPr id="46" name="Gerade Verbindung 45"/>
          <p:cNvCxnSpPr/>
          <p:nvPr/>
        </p:nvCxnSpPr>
        <p:spPr>
          <a:xfrm>
            <a:off x="3998861" y="1102261"/>
            <a:ext cx="0" cy="2493032"/>
          </a:xfrm>
          <a:prstGeom prst="line">
            <a:avLst/>
          </a:prstGeom>
          <a:ln w="635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8" name="Textfeld 47"/>
          <p:cNvSpPr txBox="1"/>
          <p:nvPr/>
        </p:nvSpPr>
        <p:spPr>
          <a:xfrm>
            <a:off x="2610680" y="2047742"/>
            <a:ext cx="1267513" cy="54014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rtl="0">
              <a:lnSpc>
                <a:spcPct val="90000"/>
              </a:lnSpc>
              <a:buClr>
                <a:schemeClr val="tx2"/>
              </a:buClr>
            </a:pPr>
            <a:r>
              <a:rPr lang="x-none" sz="1300" smtClean="0">
                <a:solidFill>
                  <a:srgbClr val="000000"/>
                </a:solidFill>
                <a:latin typeface="+mn-lt"/>
              </a:rPr>
              <a:t>Potential </a:t>
            </a:r>
            <a:r>
              <a:rPr lang="x-none" sz="1300" dirty="0">
                <a:solidFill>
                  <a:srgbClr val="000000"/>
                </a:solidFill>
                <a:latin typeface="+mn-lt"/>
              </a:rPr>
              <a:t>for </a:t>
            </a:r>
            <a:br>
              <a:rPr lang="x-none" sz="1300" dirty="0">
                <a:solidFill>
                  <a:srgbClr val="000000"/>
                </a:solidFill>
                <a:latin typeface="+mn-lt"/>
              </a:rPr>
            </a:br>
            <a:r>
              <a:rPr lang="x-none" sz="1300" dirty="0">
                <a:solidFill>
                  <a:srgbClr val="000000"/>
                </a:solidFill>
                <a:latin typeface="+mn-lt"/>
              </a:rPr>
              <a:t>the </a:t>
            </a:r>
            <a:r>
              <a:rPr lang="x-none" sz="130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desired</a:t>
            </a:r>
            <a:r>
              <a:rPr lang="x-none" sz="1300" dirty="0">
                <a:solidFill>
                  <a:srgbClr val="000000"/>
                </a:solidFill>
                <a:latin typeface="+mn-lt"/>
              </a:rPr>
              <a:t/>
            </a:r>
            <a:br>
              <a:rPr lang="x-none" sz="1300" dirty="0">
                <a:solidFill>
                  <a:srgbClr val="000000"/>
                </a:solidFill>
                <a:latin typeface="+mn-lt"/>
              </a:rPr>
            </a:br>
            <a:r>
              <a:rPr lang="de-DE" sz="1300" dirty="0">
                <a:solidFill>
                  <a:srgbClr val="000000"/>
                </a:solidFill>
                <a:latin typeface="+mn-lt"/>
              </a:rPr>
              <a:t>c</a:t>
            </a:r>
            <a:r>
              <a:rPr lang="x-none" sz="1300" dirty="0">
                <a:solidFill>
                  <a:srgbClr val="000000"/>
                </a:solidFill>
                <a:latin typeface="+mn-lt"/>
              </a:rPr>
              <a:t>loud standard</a:t>
            </a:r>
          </a:p>
        </p:txBody>
      </p:sp>
      <p:grpSp>
        <p:nvGrpSpPr>
          <p:cNvPr id="55" name="Gruppieren 54"/>
          <p:cNvGrpSpPr/>
          <p:nvPr/>
        </p:nvGrpSpPr>
        <p:grpSpPr>
          <a:xfrm>
            <a:off x="7017263" y="3437673"/>
            <a:ext cx="2188756" cy="1275772"/>
            <a:chOff x="7736045" y="5053591"/>
            <a:chExt cx="2412952" cy="1875464"/>
          </a:xfrm>
        </p:grpSpPr>
        <p:sp>
          <p:nvSpPr>
            <p:cNvPr id="56" name="Freihandform 55"/>
            <p:cNvSpPr/>
            <p:nvPr/>
          </p:nvSpPr>
          <p:spPr bwMode="gray">
            <a:xfrm>
              <a:off x="8068961" y="5778861"/>
              <a:ext cx="2038865" cy="626039"/>
            </a:xfrm>
            <a:custGeom>
              <a:avLst/>
              <a:gdLst>
                <a:gd name="connsiteX0" fmla="*/ 333633 w 2038865"/>
                <a:gd name="connsiteY0" fmla="*/ 259492 h 1482810"/>
                <a:gd name="connsiteX1" fmla="*/ 333633 w 2038865"/>
                <a:gd name="connsiteY1" fmla="*/ 432486 h 1482810"/>
                <a:gd name="connsiteX2" fmla="*/ 24714 w 2038865"/>
                <a:gd name="connsiteY2" fmla="*/ 617838 h 1482810"/>
                <a:gd name="connsiteX3" fmla="*/ 0 w 2038865"/>
                <a:gd name="connsiteY3" fmla="*/ 852616 h 1482810"/>
                <a:gd name="connsiteX4" fmla="*/ 12357 w 2038865"/>
                <a:gd name="connsiteY4" fmla="*/ 988540 h 1482810"/>
                <a:gd name="connsiteX5" fmla="*/ 74141 w 2038865"/>
                <a:gd name="connsiteY5" fmla="*/ 1112108 h 1482810"/>
                <a:gd name="connsiteX6" fmla="*/ 444843 w 2038865"/>
                <a:gd name="connsiteY6" fmla="*/ 1309816 h 1482810"/>
                <a:gd name="connsiteX7" fmla="*/ 1495168 w 2038865"/>
                <a:gd name="connsiteY7" fmla="*/ 1482810 h 1482810"/>
                <a:gd name="connsiteX8" fmla="*/ 1618735 w 2038865"/>
                <a:gd name="connsiteY8" fmla="*/ 1458097 h 1482810"/>
                <a:gd name="connsiteX9" fmla="*/ 1754660 w 2038865"/>
                <a:gd name="connsiteY9" fmla="*/ 1445740 h 1482810"/>
                <a:gd name="connsiteX10" fmla="*/ 2038865 w 2038865"/>
                <a:gd name="connsiteY10" fmla="*/ 383059 h 1482810"/>
                <a:gd name="connsiteX11" fmla="*/ 1816443 w 2038865"/>
                <a:gd name="connsiteY11" fmla="*/ 0 h 1482810"/>
                <a:gd name="connsiteX12" fmla="*/ 1618735 w 2038865"/>
                <a:gd name="connsiteY12" fmla="*/ 12356 h 1482810"/>
                <a:gd name="connsiteX13" fmla="*/ 333633 w 2038865"/>
                <a:gd name="connsiteY13" fmla="*/ 259492 h 14828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38865" h="1482810">
                  <a:moveTo>
                    <a:pt x="333633" y="259492"/>
                  </a:moveTo>
                  <a:lnTo>
                    <a:pt x="333633" y="432486"/>
                  </a:lnTo>
                  <a:lnTo>
                    <a:pt x="24714" y="617838"/>
                  </a:lnTo>
                  <a:lnTo>
                    <a:pt x="0" y="852616"/>
                  </a:lnTo>
                  <a:lnTo>
                    <a:pt x="12357" y="988540"/>
                  </a:lnTo>
                  <a:lnTo>
                    <a:pt x="74141" y="1112108"/>
                  </a:lnTo>
                  <a:lnTo>
                    <a:pt x="444843" y="1309816"/>
                  </a:lnTo>
                  <a:lnTo>
                    <a:pt x="1495168" y="1482810"/>
                  </a:lnTo>
                  <a:cubicBezTo>
                    <a:pt x="1536357" y="1474572"/>
                    <a:pt x="1577152" y="1464037"/>
                    <a:pt x="1618735" y="1458097"/>
                  </a:cubicBezTo>
                  <a:cubicBezTo>
                    <a:pt x="1663773" y="1451663"/>
                    <a:pt x="1754660" y="1445740"/>
                    <a:pt x="1754660" y="1445740"/>
                  </a:cubicBezTo>
                  <a:lnTo>
                    <a:pt x="2038865" y="383059"/>
                  </a:lnTo>
                  <a:lnTo>
                    <a:pt x="1816443" y="0"/>
                  </a:lnTo>
                  <a:lnTo>
                    <a:pt x="1618735" y="12356"/>
                  </a:lnTo>
                  <a:lnTo>
                    <a:pt x="333633" y="259492"/>
                  </a:lnTo>
                  <a:close/>
                </a:path>
              </a:pathLst>
            </a:cu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wrap="square" lIns="108000" tIns="108000" rIns="108000" bIns="108000" rtlCol="0" anchor="ctr" anchorCtr="0">
              <a:spAutoFit/>
            </a:bodyPr>
            <a:lstStyle/>
            <a:p>
              <a:pPr algn="ctr" defTabSz="370316">
                <a:lnSpc>
                  <a:spcPct val="90000"/>
                </a:lnSpc>
                <a:buClr>
                  <a:srgbClr val="E20074"/>
                </a:buClr>
              </a:pPr>
              <a:endParaRPr lang="x-none" sz="1500" dirty="0">
                <a:latin typeface="Tele-GroteskNor" pitchFamily="2" charset="0"/>
                <a:cs typeface="Arial Unicode MS" panose="020B0604020202020204" pitchFamily="34" charset="-128"/>
              </a:endParaRPr>
            </a:p>
          </p:txBody>
        </p:sp>
        <p:sp>
          <p:nvSpPr>
            <p:cNvPr id="57" name="Freihandform 56"/>
            <p:cNvSpPr/>
            <p:nvPr/>
          </p:nvSpPr>
          <p:spPr bwMode="gray">
            <a:xfrm>
              <a:off x="8020050" y="5609149"/>
              <a:ext cx="1905000" cy="626039"/>
            </a:xfrm>
            <a:custGeom>
              <a:avLst/>
              <a:gdLst>
                <a:gd name="connsiteX0" fmla="*/ 1833563 w 1905000"/>
                <a:gd name="connsiteY0" fmla="*/ 590550 h 1433512"/>
                <a:gd name="connsiteX1" fmla="*/ 1709738 w 1905000"/>
                <a:gd name="connsiteY1" fmla="*/ 457200 h 1433512"/>
                <a:gd name="connsiteX2" fmla="*/ 1600200 w 1905000"/>
                <a:gd name="connsiteY2" fmla="*/ 176212 h 1433512"/>
                <a:gd name="connsiteX3" fmla="*/ 1352550 w 1905000"/>
                <a:gd name="connsiteY3" fmla="*/ 14287 h 1433512"/>
                <a:gd name="connsiteX4" fmla="*/ 1185863 w 1905000"/>
                <a:gd name="connsiteY4" fmla="*/ 0 h 1433512"/>
                <a:gd name="connsiteX5" fmla="*/ 1014413 w 1905000"/>
                <a:gd name="connsiteY5" fmla="*/ 61912 h 1433512"/>
                <a:gd name="connsiteX6" fmla="*/ 842963 w 1905000"/>
                <a:gd name="connsiteY6" fmla="*/ 242887 h 1433512"/>
                <a:gd name="connsiteX7" fmla="*/ 642938 w 1905000"/>
                <a:gd name="connsiteY7" fmla="*/ 219075 h 1433512"/>
                <a:gd name="connsiteX8" fmla="*/ 428625 w 1905000"/>
                <a:gd name="connsiteY8" fmla="*/ 342900 h 1433512"/>
                <a:gd name="connsiteX9" fmla="*/ 371475 w 1905000"/>
                <a:gd name="connsiteY9" fmla="*/ 433387 h 1433512"/>
                <a:gd name="connsiteX10" fmla="*/ 323850 w 1905000"/>
                <a:gd name="connsiteY10" fmla="*/ 566737 h 1433512"/>
                <a:gd name="connsiteX11" fmla="*/ 119063 w 1905000"/>
                <a:gd name="connsiteY11" fmla="*/ 690562 h 1433512"/>
                <a:gd name="connsiteX12" fmla="*/ 9525 w 1905000"/>
                <a:gd name="connsiteY12" fmla="*/ 842962 h 1433512"/>
                <a:gd name="connsiteX13" fmla="*/ 0 w 1905000"/>
                <a:gd name="connsiteY13" fmla="*/ 1028700 h 1433512"/>
                <a:gd name="connsiteX14" fmla="*/ 80963 w 1905000"/>
                <a:gd name="connsiteY14" fmla="*/ 1223962 h 1433512"/>
                <a:gd name="connsiteX15" fmla="*/ 233363 w 1905000"/>
                <a:gd name="connsiteY15" fmla="*/ 1328737 h 1433512"/>
                <a:gd name="connsiteX16" fmla="*/ 481013 w 1905000"/>
                <a:gd name="connsiteY16" fmla="*/ 1323975 h 1433512"/>
                <a:gd name="connsiteX17" fmla="*/ 528638 w 1905000"/>
                <a:gd name="connsiteY17" fmla="*/ 1309687 h 1433512"/>
                <a:gd name="connsiteX18" fmla="*/ 762000 w 1905000"/>
                <a:gd name="connsiteY18" fmla="*/ 1433512 h 1433512"/>
                <a:gd name="connsiteX19" fmla="*/ 1000125 w 1905000"/>
                <a:gd name="connsiteY19" fmla="*/ 1433512 h 1433512"/>
                <a:gd name="connsiteX20" fmla="*/ 1247775 w 1905000"/>
                <a:gd name="connsiteY20" fmla="*/ 1338262 h 1433512"/>
                <a:gd name="connsiteX21" fmla="*/ 1347788 w 1905000"/>
                <a:gd name="connsiteY21" fmla="*/ 1285875 h 1433512"/>
                <a:gd name="connsiteX22" fmla="*/ 1504950 w 1905000"/>
                <a:gd name="connsiteY22" fmla="*/ 1295400 h 1433512"/>
                <a:gd name="connsiteX23" fmla="*/ 1714500 w 1905000"/>
                <a:gd name="connsiteY23" fmla="*/ 1128712 h 1433512"/>
                <a:gd name="connsiteX24" fmla="*/ 1862138 w 1905000"/>
                <a:gd name="connsiteY24" fmla="*/ 995362 h 1433512"/>
                <a:gd name="connsiteX25" fmla="*/ 1905000 w 1905000"/>
                <a:gd name="connsiteY25" fmla="*/ 785812 h 1433512"/>
                <a:gd name="connsiteX26" fmla="*/ 1866900 w 1905000"/>
                <a:gd name="connsiteY26" fmla="*/ 652462 h 1433512"/>
                <a:gd name="connsiteX27" fmla="*/ 1833563 w 1905000"/>
                <a:gd name="connsiteY27" fmla="*/ 590550 h 14335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905000" h="1433512">
                  <a:moveTo>
                    <a:pt x="1833563" y="590550"/>
                  </a:moveTo>
                  <a:lnTo>
                    <a:pt x="1709738" y="457200"/>
                  </a:lnTo>
                  <a:lnTo>
                    <a:pt x="1600200" y="176212"/>
                  </a:lnTo>
                  <a:lnTo>
                    <a:pt x="1352550" y="14287"/>
                  </a:lnTo>
                  <a:lnTo>
                    <a:pt x="1185863" y="0"/>
                  </a:lnTo>
                  <a:lnTo>
                    <a:pt x="1014413" y="61912"/>
                  </a:lnTo>
                  <a:lnTo>
                    <a:pt x="842963" y="242887"/>
                  </a:lnTo>
                  <a:lnTo>
                    <a:pt x="642938" y="219075"/>
                  </a:lnTo>
                  <a:lnTo>
                    <a:pt x="428625" y="342900"/>
                  </a:lnTo>
                  <a:lnTo>
                    <a:pt x="371475" y="433387"/>
                  </a:lnTo>
                  <a:lnTo>
                    <a:pt x="323850" y="566737"/>
                  </a:lnTo>
                  <a:lnTo>
                    <a:pt x="119063" y="690562"/>
                  </a:lnTo>
                  <a:lnTo>
                    <a:pt x="9525" y="842962"/>
                  </a:lnTo>
                  <a:lnTo>
                    <a:pt x="0" y="1028700"/>
                  </a:lnTo>
                  <a:lnTo>
                    <a:pt x="80963" y="1223962"/>
                  </a:lnTo>
                  <a:lnTo>
                    <a:pt x="233363" y="1328737"/>
                  </a:lnTo>
                  <a:lnTo>
                    <a:pt x="481013" y="1323975"/>
                  </a:lnTo>
                  <a:lnTo>
                    <a:pt x="528638" y="1309687"/>
                  </a:lnTo>
                  <a:lnTo>
                    <a:pt x="762000" y="1433512"/>
                  </a:lnTo>
                  <a:lnTo>
                    <a:pt x="1000125" y="1433512"/>
                  </a:lnTo>
                  <a:lnTo>
                    <a:pt x="1247775" y="1338262"/>
                  </a:lnTo>
                  <a:lnTo>
                    <a:pt x="1347788" y="1285875"/>
                  </a:lnTo>
                  <a:lnTo>
                    <a:pt x="1504950" y="1295400"/>
                  </a:lnTo>
                  <a:lnTo>
                    <a:pt x="1714500" y="1128712"/>
                  </a:lnTo>
                  <a:lnTo>
                    <a:pt x="1862138" y="995362"/>
                  </a:lnTo>
                  <a:lnTo>
                    <a:pt x="1905000" y="785812"/>
                  </a:lnTo>
                  <a:lnTo>
                    <a:pt x="1866900" y="652462"/>
                  </a:lnTo>
                  <a:lnTo>
                    <a:pt x="1833563" y="590550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wrap="square" lIns="108000" tIns="108000" rIns="108000" bIns="108000" rtlCol="0" anchor="ctr" anchorCtr="0">
              <a:spAutoFit/>
            </a:bodyPr>
            <a:lstStyle/>
            <a:p>
              <a:pPr algn="ctr" defTabSz="370316">
                <a:lnSpc>
                  <a:spcPct val="90000"/>
                </a:lnSpc>
                <a:buClr>
                  <a:srgbClr val="E20074"/>
                </a:buClr>
              </a:pPr>
              <a:r>
                <a:rPr lang="x-none" sz="1500">
                  <a:latin typeface="Tele-GroteskNor" pitchFamily="2" charset="0"/>
                  <a:cs typeface="Arial Unicode MS" panose="020B0604020202020204" pitchFamily="34" charset="-128"/>
                </a:rPr>
                <a:t>b</a:t>
              </a:r>
            </a:p>
          </p:txBody>
        </p:sp>
        <p:sp>
          <p:nvSpPr>
            <p:cNvPr id="58" name="Freihandform 57"/>
            <p:cNvSpPr/>
            <p:nvPr/>
          </p:nvSpPr>
          <p:spPr bwMode="gray">
            <a:xfrm>
              <a:off x="8020050" y="5609149"/>
              <a:ext cx="1905000" cy="626039"/>
            </a:xfrm>
            <a:custGeom>
              <a:avLst/>
              <a:gdLst>
                <a:gd name="connsiteX0" fmla="*/ 1833563 w 1905000"/>
                <a:gd name="connsiteY0" fmla="*/ 590550 h 1433512"/>
                <a:gd name="connsiteX1" fmla="*/ 1709738 w 1905000"/>
                <a:gd name="connsiteY1" fmla="*/ 457200 h 1433512"/>
                <a:gd name="connsiteX2" fmla="*/ 1600200 w 1905000"/>
                <a:gd name="connsiteY2" fmla="*/ 176212 h 1433512"/>
                <a:gd name="connsiteX3" fmla="*/ 1352550 w 1905000"/>
                <a:gd name="connsiteY3" fmla="*/ 14287 h 1433512"/>
                <a:gd name="connsiteX4" fmla="*/ 1185863 w 1905000"/>
                <a:gd name="connsiteY4" fmla="*/ 0 h 1433512"/>
                <a:gd name="connsiteX5" fmla="*/ 1014413 w 1905000"/>
                <a:gd name="connsiteY5" fmla="*/ 61912 h 1433512"/>
                <a:gd name="connsiteX6" fmla="*/ 842963 w 1905000"/>
                <a:gd name="connsiteY6" fmla="*/ 242887 h 1433512"/>
                <a:gd name="connsiteX7" fmla="*/ 642938 w 1905000"/>
                <a:gd name="connsiteY7" fmla="*/ 219075 h 1433512"/>
                <a:gd name="connsiteX8" fmla="*/ 428625 w 1905000"/>
                <a:gd name="connsiteY8" fmla="*/ 342900 h 1433512"/>
                <a:gd name="connsiteX9" fmla="*/ 371475 w 1905000"/>
                <a:gd name="connsiteY9" fmla="*/ 433387 h 1433512"/>
                <a:gd name="connsiteX10" fmla="*/ 323850 w 1905000"/>
                <a:gd name="connsiteY10" fmla="*/ 566737 h 1433512"/>
                <a:gd name="connsiteX11" fmla="*/ 119063 w 1905000"/>
                <a:gd name="connsiteY11" fmla="*/ 690562 h 1433512"/>
                <a:gd name="connsiteX12" fmla="*/ 9525 w 1905000"/>
                <a:gd name="connsiteY12" fmla="*/ 842962 h 1433512"/>
                <a:gd name="connsiteX13" fmla="*/ 0 w 1905000"/>
                <a:gd name="connsiteY13" fmla="*/ 1028700 h 1433512"/>
                <a:gd name="connsiteX14" fmla="*/ 80963 w 1905000"/>
                <a:gd name="connsiteY14" fmla="*/ 1223962 h 1433512"/>
                <a:gd name="connsiteX15" fmla="*/ 233363 w 1905000"/>
                <a:gd name="connsiteY15" fmla="*/ 1328737 h 1433512"/>
                <a:gd name="connsiteX16" fmla="*/ 481013 w 1905000"/>
                <a:gd name="connsiteY16" fmla="*/ 1323975 h 1433512"/>
                <a:gd name="connsiteX17" fmla="*/ 528638 w 1905000"/>
                <a:gd name="connsiteY17" fmla="*/ 1309687 h 1433512"/>
                <a:gd name="connsiteX18" fmla="*/ 762000 w 1905000"/>
                <a:gd name="connsiteY18" fmla="*/ 1433512 h 1433512"/>
                <a:gd name="connsiteX19" fmla="*/ 1000125 w 1905000"/>
                <a:gd name="connsiteY19" fmla="*/ 1433512 h 1433512"/>
                <a:gd name="connsiteX20" fmla="*/ 1247775 w 1905000"/>
                <a:gd name="connsiteY20" fmla="*/ 1338262 h 1433512"/>
                <a:gd name="connsiteX21" fmla="*/ 1347788 w 1905000"/>
                <a:gd name="connsiteY21" fmla="*/ 1285875 h 1433512"/>
                <a:gd name="connsiteX22" fmla="*/ 1504950 w 1905000"/>
                <a:gd name="connsiteY22" fmla="*/ 1295400 h 1433512"/>
                <a:gd name="connsiteX23" fmla="*/ 1714500 w 1905000"/>
                <a:gd name="connsiteY23" fmla="*/ 1128712 h 1433512"/>
                <a:gd name="connsiteX24" fmla="*/ 1862138 w 1905000"/>
                <a:gd name="connsiteY24" fmla="*/ 995362 h 1433512"/>
                <a:gd name="connsiteX25" fmla="*/ 1905000 w 1905000"/>
                <a:gd name="connsiteY25" fmla="*/ 785812 h 1433512"/>
                <a:gd name="connsiteX26" fmla="*/ 1866900 w 1905000"/>
                <a:gd name="connsiteY26" fmla="*/ 652462 h 1433512"/>
                <a:gd name="connsiteX27" fmla="*/ 1833563 w 1905000"/>
                <a:gd name="connsiteY27" fmla="*/ 590550 h 14335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905000" h="1433512">
                  <a:moveTo>
                    <a:pt x="1833563" y="590550"/>
                  </a:moveTo>
                  <a:lnTo>
                    <a:pt x="1709738" y="457200"/>
                  </a:lnTo>
                  <a:lnTo>
                    <a:pt x="1600200" y="176212"/>
                  </a:lnTo>
                  <a:lnTo>
                    <a:pt x="1352550" y="14287"/>
                  </a:lnTo>
                  <a:lnTo>
                    <a:pt x="1185863" y="0"/>
                  </a:lnTo>
                  <a:lnTo>
                    <a:pt x="1014413" y="61912"/>
                  </a:lnTo>
                  <a:lnTo>
                    <a:pt x="842963" y="242887"/>
                  </a:lnTo>
                  <a:lnTo>
                    <a:pt x="642938" y="219075"/>
                  </a:lnTo>
                  <a:lnTo>
                    <a:pt x="428625" y="342900"/>
                  </a:lnTo>
                  <a:lnTo>
                    <a:pt x="371475" y="433387"/>
                  </a:lnTo>
                  <a:lnTo>
                    <a:pt x="323850" y="566737"/>
                  </a:lnTo>
                  <a:lnTo>
                    <a:pt x="119063" y="690562"/>
                  </a:lnTo>
                  <a:lnTo>
                    <a:pt x="9525" y="842962"/>
                  </a:lnTo>
                  <a:lnTo>
                    <a:pt x="0" y="1028700"/>
                  </a:lnTo>
                  <a:lnTo>
                    <a:pt x="80963" y="1223962"/>
                  </a:lnTo>
                  <a:lnTo>
                    <a:pt x="233363" y="1328737"/>
                  </a:lnTo>
                  <a:lnTo>
                    <a:pt x="481013" y="1323975"/>
                  </a:lnTo>
                  <a:lnTo>
                    <a:pt x="528638" y="1309687"/>
                  </a:lnTo>
                  <a:lnTo>
                    <a:pt x="762000" y="1433512"/>
                  </a:lnTo>
                  <a:lnTo>
                    <a:pt x="1000125" y="1433512"/>
                  </a:lnTo>
                  <a:lnTo>
                    <a:pt x="1247775" y="1338262"/>
                  </a:lnTo>
                  <a:lnTo>
                    <a:pt x="1347788" y="1285875"/>
                  </a:lnTo>
                  <a:lnTo>
                    <a:pt x="1504950" y="1295400"/>
                  </a:lnTo>
                  <a:lnTo>
                    <a:pt x="1714500" y="1128712"/>
                  </a:lnTo>
                  <a:lnTo>
                    <a:pt x="1862138" y="995362"/>
                  </a:lnTo>
                  <a:lnTo>
                    <a:pt x="1905000" y="785812"/>
                  </a:lnTo>
                  <a:lnTo>
                    <a:pt x="1866900" y="652462"/>
                  </a:lnTo>
                  <a:lnTo>
                    <a:pt x="1833563" y="590550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wrap="square" lIns="108000" tIns="108000" rIns="108000" bIns="108000" rtlCol="0" anchor="ctr" anchorCtr="0">
              <a:spAutoFit/>
            </a:bodyPr>
            <a:lstStyle/>
            <a:p>
              <a:pPr algn="ctr" defTabSz="370316">
                <a:lnSpc>
                  <a:spcPct val="90000"/>
                </a:lnSpc>
                <a:buClr>
                  <a:srgbClr val="E20074"/>
                </a:buClr>
              </a:pPr>
              <a:endParaRPr lang="x-none" sz="1500" dirty="0">
                <a:latin typeface="Tele-GroteskNor" pitchFamily="2" charset="0"/>
                <a:cs typeface="Arial Unicode MS" panose="020B0604020202020204" pitchFamily="34" charset="-128"/>
              </a:endParaRPr>
            </a:p>
          </p:txBody>
        </p:sp>
        <p:sp>
          <p:nvSpPr>
            <p:cNvPr id="59" name="Freihandform 58"/>
            <p:cNvSpPr/>
            <p:nvPr/>
          </p:nvSpPr>
          <p:spPr bwMode="gray">
            <a:xfrm>
              <a:off x="8032750" y="6081430"/>
              <a:ext cx="1028700" cy="626039"/>
            </a:xfrm>
            <a:custGeom>
              <a:avLst/>
              <a:gdLst>
                <a:gd name="connsiteX0" fmla="*/ 1003300 w 1028700"/>
                <a:gd name="connsiteY0" fmla="*/ 0 h 482600"/>
                <a:gd name="connsiteX1" fmla="*/ 0 w 1028700"/>
                <a:gd name="connsiteY1" fmla="*/ 76200 h 482600"/>
                <a:gd name="connsiteX2" fmla="*/ 50800 w 1028700"/>
                <a:gd name="connsiteY2" fmla="*/ 266700 h 482600"/>
                <a:gd name="connsiteX3" fmla="*/ 215900 w 1028700"/>
                <a:gd name="connsiteY3" fmla="*/ 381000 h 482600"/>
                <a:gd name="connsiteX4" fmla="*/ 520700 w 1028700"/>
                <a:gd name="connsiteY4" fmla="*/ 361950 h 482600"/>
                <a:gd name="connsiteX5" fmla="*/ 749300 w 1028700"/>
                <a:gd name="connsiteY5" fmla="*/ 476250 h 482600"/>
                <a:gd name="connsiteX6" fmla="*/ 1028700 w 1028700"/>
                <a:gd name="connsiteY6" fmla="*/ 482600 h 482600"/>
                <a:gd name="connsiteX7" fmla="*/ 1003300 w 1028700"/>
                <a:gd name="connsiteY7" fmla="*/ 0 h 482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28700" h="482600">
                  <a:moveTo>
                    <a:pt x="1003300" y="0"/>
                  </a:moveTo>
                  <a:lnTo>
                    <a:pt x="0" y="76200"/>
                  </a:lnTo>
                  <a:lnTo>
                    <a:pt x="50800" y="266700"/>
                  </a:lnTo>
                  <a:lnTo>
                    <a:pt x="215900" y="381000"/>
                  </a:lnTo>
                  <a:lnTo>
                    <a:pt x="520700" y="361950"/>
                  </a:lnTo>
                  <a:lnTo>
                    <a:pt x="749300" y="476250"/>
                  </a:lnTo>
                  <a:lnTo>
                    <a:pt x="1028700" y="482600"/>
                  </a:lnTo>
                  <a:lnTo>
                    <a:pt x="1003300" y="0"/>
                  </a:lnTo>
                  <a:close/>
                </a:path>
              </a:pathLst>
            </a:custGeom>
            <a:solidFill>
              <a:schemeClr val="tx2">
                <a:lumMod val="50000"/>
              </a:schemeClr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wrap="square" lIns="108000" tIns="108000" rIns="108000" bIns="108000" rtlCol="0" anchor="ctr" anchorCtr="0">
              <a:spAutoFit/>
            </a:bodyPr>
            <a:lstStyle/>
            <a:p>
              <a:pPr algn="ctr" defTabSz="370316">
                <a:lnSpc>
                  <a:spcPct val="90000"/>
                </a:lnSpc>
                <a:buClr>
                  <a:srgbClr val="E20074"/>
                </a:buClr>
              </a:pPr>
              <a:endParaRPr lang="x-none" sz="1500" dirty="0">
                <a:latin typeface="Tele-GroteskNor" pitchFamily="2" charset="0"/>
                <a:cs typeface="Arial Unicode MS" panose="020B0604020202020204" pitchFamily="34" charset="-128"/>
              </a:endParaRPr>
            </a:p>
          </p:txBody>
        </p:sp>
        <p:pic>
          <p:nvPicPr>
            <p:cNvPr id="60" name="Grafik 59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736045" y="5053591"/>
              <a:ext cx="2412952" cy="187546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2833624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" name="CustomShape 4"/>
          <p:cNvSpPr/>
          <p:nvPr/>
        </p:nvSpPr>
        <p:spPr>
          <a:xfrm>
            <a:off x="326556" y="1102564"/>
            <a:ext cx="8490331" cy="563242"/>
          </a:xfrm>
          <a:prstGeom prst="rect">
            <a:avLst/>
          </a:prstGeom>
          <a:solidFill>
            <a:schemeClr val="bg1">
              <a:lumMod val="75000"/>
            </a:schemeClr>
          </a:solidFill>
          <a:ln w="126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145764" tIns="96229" rIns="96229" bIns="96229" anchor="b"/>
          <a:lstStyle/>
          <a:p>
            <a:pPr marL="1284" defTabSz="814698">
              <a:lnSpc>
                <a:spcPct val="90000"/>
              </a:lnSpc>
            </a:pPr>
            <a:r>
              <a:rPr lang="x-none" sz="1600" spc="-1">
                <a:solidFill>
                  <a:srgbClr val="E20074"/>
                </a:solidFill>
                <a:uFill>
                  <a:solidFill>
                    <a:srgbClr val="FFFFFF"/>
                  </a:solidFill>
                </a:uFill>
                <a:latin typeface="TeleGrotesk Headline Ultra"/>
                <a:ea typeface="Arial"/>
              </a:rPr>
              <a:t>Services</a:t>
            </a:r>
            <a:endParaRPr sz="1600" dirty="0">
              <a:solidFill>
                <a:srgbClr val="000000"/>
              </a:solidFill>
            </a:endParaRPr>
          </a:p>
        </p:txBody>
      </p:sp>
      <p:sp>
        <p:nvSpPr>
          <p:cNvPr id="62" name="Rechteck 61"/>
          <p:cNvSpPr/>
          <p:nvPr/>
        </p:nvSpPr>
        <p:spPr bwMode="gray">
          <a:xfrm>
            <a:off x="2138278" y="1139298"/>
            <a:ext cx="3290849" cy="489775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algn="ctr">
            <a:noFill/>
            <a:miter lim="800000"/>
            <a:headEnd/>
            <a:tailEnd/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txBody>
          <a:bodyPr wrap="square" lIns="87458" tIns="87458" rIns="87458" bIns="87458" rtlCol="0" anchor="ctr" anchorCtr="0">
            <a:noAutofit/>
          </a:bodyPr>
          <a:lstStyle/>
          <a:p>
            <a:pPr algn="ctr" defTabSz="814698">
              <a:lnSpc>
                <a:spcPct val="90000"/>
              </a:lnSpc>
            </a:pPr>
            <a:r>
              <a:rPr lang="x-none" sz="1300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ea typeface="Arial"/>
              </a:rPr>
              <a:t>Container Service</a:t>
            </a:r>
            <a:endParaRPr lang="x-none" sz="1300" spc="-1" dirty="0">
              <a:solidFill>
                <a:srgbClr val="000000"/>
              </a:solidFill>
              <a:uFill>
                <a:solidFill>
                  <a:srgbClr val="FFFFFF"/>
                </a:solidFill>
              </a:uFill>
              <a:ea typeface="Arial"/>
            </a:endParaRPr>
          </a:p>
        </p:txBody>
      </p:sp>
      <p:sp>
        <p:nvSpPr>
          <p:cNvPr id="63" name="Rechteck 62"/>
          <p:cNvSpPr/>
          <p:nvPr/>
        </p:nvSpPr>
        <p:spPr bwMode="gray">
          <a:xfrm>
            <a:off x="5489677" y="1139298"/>
            <a:ext cx="3281839" cy="489775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 algn="ctr">
            <a:noFill/>
            <a:miter lim="800000"/>
            <a:headEnd/>
            <a:tailEnd/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txBody>
          <a:bodyPr wrap="square" lIns="87458" tIns="87458" rIns="87458" bIns="87458" rtlCol="0" anchor="ctr" anchorCtr="0">
            <a:noAutofit/>
          </a:bodyPr>
          <a:lstStyle/>
          <a:p>
            <a:pPr algn="ctr" defTabSz="814698">
              <a:lnSpc>
                <a:spcPct val="90000"/>
              </a:lnSpc>
            </a:pPr>
            <a:r>
              <a:rPr lang="x-none" sz="1300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ea typeface="Arial"/>
              </a:rPr>
              <a:t>Relational Database Service </a:t>
            </a:r>
          </a:p>
        </p:txBody>
      </p:sp>
      <p:sp>
        <p:nvSpPr>
          <p:cNvPr id="474" name="CustomShape 4"/>
          <p:cNvSpPr/>
          <p:nvPr/>
        </p:nvSpPr>
        <p:spPr>
          <a:xfrm>
            <a:off x="326556" y="1738512"/>
            <a:ext cx="8490331" cy="563242"/>
          </a:xfrm>
          <a:prstGeom prst="rect">
            <a:avLst/>
          </a:prstGeom>
          <a:solidFill>
            <a:schemeClr val="bg1">
              <a:lumMod val="75000"/>
            </a:schemeClr>
          </a:solidFill>
          <a:ln w="126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145764" tIns="96229" rIns="96229" bIns="96229" anchor="b"/>
          <a:lstStyle/>
          <a:p>
            <a:pPr marL="1284" defTabSz="814698">
              <a:lnSpc>
                <a:spcPct val="90000"/>
              </a:lnSpc>
            </a:pPr>
            <a:r>
              <a:rPr lang="x-none" sz="1600" spc="-1">
                <a:solidFill>
                  <a:srgbClr val="E20074"/>
                </a:solidFill>
                <a:uFill>
                  <a:solidFill>
                    <a:srgbClr val="FFFFFF"/>
                  </a:solidFill>
                </a:uFill>
                <a:latin typeface="TeleGrotesk Headline Ultra"/>
                <a:ea typeface="Arial"/>
              </a:rPr>
              <a:t>Management</a:t>
            </a:r>
            <a:endParaRPr lang="x-none" sz="1600" dirty="0">
              <a:solidFill>
                <a:srgbClr val="000000"/>
              </a:solidFill>
            </a:endParaRPr>
          </a:p>
        </p:txBody>
      </p:sp>
      <p:sp>
        <p:nvSpPr>
          <p:cNvPr id="61" name="Rechteck 60"/>
          <p:cNvSpPr/>
          <p:nvPr/>
        </p:nvSpPr>
        <p:spPr bwMode="gray">
          <a:xfrm>
            <a:off x="2138279" y="1775246"/>
            <a:ext cx="6633238" cy="489775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txBody>
          <a:bodyPr wrap="square" lIns="87458" tIns="87458" rIns="87458" bIns="87458" rtlCol="0" anchor="ctr" anchorCtr="0">
            <a:noAutofit/>
          </a:bodyPr>
          <a:lstStyle/>
          <a:p>
            <a:pPr algn="ctr" defTabSz="814698">
              <a:lnSpc>
                <a:spcPct val="90000"/>
              </a:lnSpc>
            </a:pPr>
            <a:r>
              <a:rPr lang="x-none" sz="1300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ea typeface="Arial"/>
              </a:rPr>
              <a:t>Cloud Eye</a:t>
            </a:r>
            <a:endParaRPr lang="x-none" sz="1300" spc="-1" dirty="0">
              <a:solidFill>
                <a:srgbClr val="000000"/>
              </a:solidFill>
              <a:uFill>
                <a:solidFill>
                  <a:srgbClr val="FFFFFF"/>
                </a:solidFill>
              </a:uFill>
              <a:ea typeface="Arial"/>
            </a:endParaRPr>
          </a:p>
        </p:txBody>
      </p:sp>
      <p:sp>
        <p:nvSpPr>
          <p:cNvPr id="475" name="CustomShape 5"/>
          <p:cNvSpPr/>
          <p:nvPr/>
        </p:nvSpPr>
        <p:spPr>
          <a:xfrm>
            <a:off x="326557" y="2381360"/>
            <a:ext cx="1665411" cy="2051575"/>
          </a:xfrm>
          <a:prstGeom prst="rect">
            <a:avLst/>
          </a:prstGeom>
          <a:solidFill>
            <a:schemeClr val="bg1">
              <a:lumMod val="75000"/>
            </a:schemeClr>
          </a:solidFill>
          <a:ln w="126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vert="horz" lIns="87458" tIns="96229" rIns="87458" bIns="96229" anchor="b"/>
          <a:lstStyle/>
          <a:p>
            <a:pPr marL="1284" defTabSz="814698">
              <a:lnSpc>
                <a:spcPct val="90000"/>
              </a:lnSpc>
            </a:pPr>
            <a:r>
              <a:rPr lang="x-none" sz="1600" spc="-1">
                <a:solidFill>
                  <a:srgbClr val="E20074"/>
                </a:solidFill>
                <a:uFill>
                  <a:solidFill>
                    <a:srgbClr val="FFFFFF"/>
                  </a:solidFill>
                </a:uFill>
                <a:latin typeface="TeleGrotesk Headline Ultra"/>
                <a:ea typeface="Arial"/>
              </a:rPr>
              <a:t>Security</a:t>
            </a:r>
            <a:endParaRPr sz="1600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6556" y="200021"/>
            <a:ext cx="8490331" cy="830997"/>
          </a:xfrm>
        </p:spPr>
        <p:txBody>
          <a:bodyPr/>
          <a:lstStyle/>
          <a:p>
            <a:pPr algn="l" rtl="0"/>
            <a:r>
              <a:rPr lang="x-none" spc="-1" dirty="0">
                <a:uFill>
                  <a:solidFill>
                    <a:srgbClr val="FFFFFF"/>
                  </a:solidFill>
                </a:uFill>
                <a:latin typeface="+mn-lt"/>
                <a:ea typeface="Arial"/>
              </a:rPr>
              <a:t>Open Telekom Cloud
Service catalog from network </a:t>
            </a:r>
            <a:r>
              <a:rPr lang="x-none" spc="-1">
                <a:uFill>
                  <a:solidFill>
                    <a:srgbClr val="FFFFFF"/>
                  </a:solidFill>
                </a:uFill>
                <a:latin typeface="+mn-lt"/>
                <a:ea typeface="Arial"/>
              </a:rPr>
              <a:t>to </a:t>
            </a:r>
            <a:r>
              <a:rPr lang="x-none" spc="-1" smtClean="0">
                <a:uFill>
                  <a:solidFill>
                    <a:srgbClr val="FFFFFF"/>
                  </a:solidFill>
                </a:uFill>
                <a:latin typeface="+mn-lt"/>
                <a:ea typeface="Arial"/>
              </a:rPr>
              <a:t>se</a:t>
            </a:r>
            <a:r>
              <a:rPr lang="hu-HU" spc="-1" dirty="0" err="1" smtClean="0">
                <a:uFill>
                  <a:solidFill>
                    <a:srgbClr val="FFFFFF"/>
                  </a:solidFill>
                </a:uFill>
                <a:latin typeface="+mn-lt"/>
                <a:ea typeface="Arial"/>
              </a:rPr>
              <a:t>rvices</a:t>
            </a:r>
            <a:r>
              <a:rPr lang="x-none" spc="-1" smtClean="0">
                <a:uFill>
                  <a:solidFill>
                    <a:srgbClr val="FFFFFF"/>
                  </a:solidFill>
                </a:uFill>
                <a:latin typeface="+mn-lt"/>
                <a:ea typeface="Arial"/>
              </a:rPr>
              <a:t> </a:t>
            </a:r>
            <a:endParaRPr lang="x-none" dirty="0">
              <a:latin typeface="+mn-lt"/>
            </a:endParaRPr>
          </a:p>
        </p:txBody>
      </p:sp>
      <p:cxnSp>
        <p:nvCxnSpPr>
          <p:cNvPr id="162" name="Gerade Verbindung 161"/>
          <p:cNvCxnSpPr/>
          <p:nvPr/>
        </p:nvCxnSpPr>
        <p:spPr>
          <a:xfrm>
            <a:off x="2058436" y="1151442"/>
            <a:ext cx="0" cy="465489"/>
          </a:xfrm>
          <a:prstGeom prst="line">
            <a:avLst/>
          </a:prstGeom>
          <a:ln w="6350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4" name="Rechteck 183"/>
          <p:cNvSpPr/>
          <p:nvPr/>
        </p:nvSpPr>
        <p:spPr bwMode="gray">
          <a:xfrm>
            <a:off x="326557" y="1191998"/>
            <a:ext cx="32655" cy="384373"/>
          </a:xfrm>
          <a:prstGeom prst="rect">
            <a:avLst/>
          </a:prstGeom>
          <a:solidFill>
            <a:schemeClr val="tx2"/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square" lIns="87458" tIns="87458" rIns="87458" bIns="87458" rtlCol="0" anchor="ctr" anchorCtr="0">
            <a:spAutoFit/>
          </a:bodyPr>
          <a:lstStyle/>
          <a:p>
            <a:pPr algn="ctr" defTabSz="370316">
              <a:lnSpc>
                <a:spcPct val="90000"/>
              </a:lnSpc>
              <a:buClr>
                <a:srgbClr val="E20074"/>
              </a:buClr>
            </a:pPr>
            <a:endParaRPr lang="x-none" sz="1500" dirty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cxnSp>
        <p:nvCxnSpPr>
          <p:cNvPr id="163" name="Gerade Verbindung 162"/>
          <p:cNvCxnSpPr/>
          <p:nvPr/>
        </p:nvCxnSpPr>
        <p:spPr>
          <a:xfrm>
            <a:off x="2058436" y="1787390"/>
            <a:ext cx="0" cy="465489"/>
          </a:xfrm>
          <a:prstGeom prst="line">
            <a:avLst/>
          </a:prstGeom>
          <a:ln w="6350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5" name="Rechteck 184"/>
          <p:cNvSpPr/>
          <p:nvPr/>
        </p:nvSpPr>
        <p:spPr bwMode="gray">
          <a:xfrm>
            <a:off x="326557" y="1827946"/>
            <a:ext cx="32655" cy="384373"/>
          </a:xfrm>
          <a:prstGeom prst="rect">
            <a:avLst/>
          </a:prstGeom>
          <a:solidFill>
            <a:schemeClr val="tx2"/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square" lIns="87458" tIns="87458" rIns="87458" bIns="87458" rtlCol="0" anchor="ctr" anchorCtr="0">
            <a:spAutoFit/>
          </a:bodyPr>
          <a:lstStyle/>
          <a:p>
            <a:pPr algn="ctr" defTabSz="370316">
              <a:lnSpc>
                <a:spcPct val="90000"/>
              </a:lnSpc>
              <a:buClr>
                <a:srgbClr val="E20074"/>
              </a:buClr>
            </a:pPr>
            <a:endParaRPr lang="x-none" sz="1500" dirty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cxnSp>
        <p:nvCxnSpPr>
          <p:cNvPr id="180" name="Gerade Verbindung 179"/>
          <p:cNvCxnSpPr/>
          <p:nvPr/>
        </p:nvCxnSpPr>
        <p:spPr>
          <a:xfrm rot="16200000">
            <a:off x="1159262" y="3348965"/>
            <a:ext cx="0" cy="1514010"/>
          </a:xfrm>
          <a:prstGeom prst="line">
            <a:avLst/>
          </a:prstGeom>
          <a:ln w="6350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6" name="Rechteck 185"/>
          <p:cNvSpPr/>
          <p:nvPr/>
        </p:nvSpPr>
        <p:spPr bwMode="gray">
          <a:xfrm rot="16200000">
            <a:off x="1147019" y="4228504"/>
            <a:ext cx="24489" cy="384373"/>
          </a:xfrm>
          <a:prstGeom prst="rect">
            <a:avLst/>
          </a:prstGeom>
          <a:solidFill>
            <a:schemeClr val="tx2"/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square" lIns="87458" tIns="87458" rIns="87458" bIns="87458" rtlCol="0" anchor="ctr" anchorCtr="0">
            <a:spAutoFit/>
          </a:bodyPr>
          <a:lstStyle/>
          <a:p>
            <a:pPr algn="ctr" defTabSz="370316">
              <a:lnSpc>
                <a:spcPct val="90000"/>
              </a:lnSpc>
              <a:buClr>
                <a:srgbClr val="E20074"/>
              </a:buClr>
            </a:pPr>
            <a:endParaRPr lang="x-none" sz="1500" dirty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476" name="CustomShape 6"/>
          <p:cNvSpPr/>
          <p:nvPr/>
        </p:nvSpPr>
        <p:spPr>
          <a:xfrm>
            <a:off x="2098475" y="3448979"/>
            <a:ext cx="6718645" cy="979551"/>
          </a:xfrm>
          <a:prstGeom prst="rect">
            <a:avLst/>
          </a:prstGeom>
          <a:solidFill>
            <a:schemeClr val="bg1">
              <a:lumMod val="75000"/>
            </a:schemeClr>
          </a:solidFill>
          <a:ln w="126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145764" tIns="96229" rIns="96229" bIns="96229" anchor="b"/>
          <a:lstStyle/>
          <a:p>
            <a:pPr marL="1284" defTabSz="814698">
              <a:lnSpc>
                <a:spcPct val="90000"/>
              </a:lnSpc>
            </a:pPr>
            <a:r>
              <a:rPr lang="x-none" sz="1500" spc="-1">
                <a:solidFill>
                  <a:srgbClr val="E20074"/>
                </a:solidFill>
                <a:uFill>
                  <a:solidFill>
                    <a:srgbClr val="FFFFFF"/>
                  </a:solidFill>
                </a:uFill>
                <a:latin typeface="TeleGrotesk Headline Ultra"/>
                <a:ea typeface="Arial"/>
              </a:rPr>
              <a:t>Network</a:t>
            </a:r>
            <a:endParaRPr sz="1500" dirty="0">
              <a:solidFill>
                <a:srgbClr val="000000"/>
              </a:solidFill>
            </a:endParaRPr>
          </a:p>
        </p:txBody>
      </p:sp>
      <p:sp>
        <p:nvSpPr>
          <p:cNvPr id="58" name="Rechteck 57"/>
          <p:cNvSpPr/>
          <p:nvPr/>
        </p:nvSpPr>
        <p:spPr bwMode="gray">
          <a:xfrm>
            <a:off x="2138279" y="3478805"/>
            <a:ext cx="2115571" cy="563242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txBody>
          <a:bodyPr wrap="square" lIns="87458" tIns="87458" rIns="87458" bIns="87458" rtlCol="0" anchor="ctr" anchorCtr="0">
            <a:noAutofit/>
          </a:bodyPr>
          <a:lstStyle/>
          <a:p>
            <a:pPr algn="ctr" defTabSz="814698">
              <a:lnSpc>
                <a:spcPct val="90000"/>
              </a:lnSpc>
            </a:pPr>
            <a:r>
              <a:rPr lang="x-none" sz="1300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ea typeface="Arial"/>
              </a:rPr>
              <a:t>Elastic IP</a:t>
            </a:r>
            <a:endParaRPr lang="x-none" sz="1300" spc="-1" dirty="0">
              <a:solidFill>
                <a:srgbClr val="000000"/>
              </a:solidFill>
              <a:uFill>
                <a:solidFill>
                  <a:srgbClr val="FFFFFF"/>
                </a:solidFill>
              </a:uFill>
              <a:ea typeface="Arial"/>
            </a:endParaRPr>
          </a:p>
        </p:txBody>
      </p:sp>
      <p:sp>
        <p:nvSpPr>
          <p:cNvPr id="59" name="Rechteck 58"/>
          <p:cNvSpPr/>
          <p:nvPr/>
        </p:nvSpPr>
        <p:spPr bwMode="gray">
          <a:xfrm>
            <a:off x="4319975" y="3478805"/>
            <a:ext cx="2272071" cy="563242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txBody>
          <a:bodyPr wrap="square" lIns="87458" tIns="87458" rIns="87458" bIns="87458" rtlCol="0" anchor="ctr" anchorCtr="0">
            <a:noAutofit/>
          </a:bodyPr>
          <a:lstStyle/>
          <a:p>
            <a:pPr algn="ctr" defTabSz="814698">
              <a:lnSpc>
                <a:spcPct val="90000"/>
              </a:lnSpc>
            </a:pPr>
            <a:r>
              <a:rPr lang="x-none" sz="1300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ea typeface="Arial"/>
              </a:rPr>
              <a:t>Virtual Private Cloud</a:t>
            </a:r>
            <a:endParaRPr lang="x-none" sz="1300" spc="-1" dirty="0">
              <a:solidFill>
                <a:srgbClr val="000000"/>
              </a:solidFill>
              <a:uFill>
                <a:solidFill>
                  <a:srgbClr val="FFFFFF"/>
                </a:solidFill>
              </a:uFill>
              <a:ea typeface="Arial"/>
            </a:endParaRPr>
          </a:p>
        </p:txBody>
      </p:sp>
      <p:sp>
        <p:nvSpPr>
          <p:cNvPr id="60" name="Rechteck 59"/>
          <p:cNvSpPr/>
          <p:nvPr/>
        </p:nvSpPr>
        <p:spPr bwMode="gray">
          <a:xfrm>
            <a:off x="6658172" y="3478805"/>
            <a:ext cx="2115571" cy="563242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txBody>
          <a:bodyPr wrap="square" lIns="87458" tIns="87458" rIns="87458" bIns="87458" rtlCol="0" anchor="ctr" anchorCtr="0">
            <a:noAutofit/>
          </a:bodyPr>
          <a:lstStyle/>
          <a:p>
            <a:pPr algn="ctr" defTabSz="814698">
              <a:lnSpc>
                <a:spcPct val="90000"/>
              </a:lnSpc>
            </a:pPr>
            <a:r>
              <a:rPr lang="x-none" sz="1300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ea typeface="Arial"/>
              </a:rPr>
              <a:t>Elastic Load Balance</a:t>
            </a:r>
            <a:endParaRPr lang="x-none" sz="1300" spc="-1" dirty="0">
              <a:solidFill>
                <a:srgbClr val="000000"/>
              </a:solidFill>
              <a:uFill>
                <a:solidFill>
                  <a:srgbClr val="FFFFFF"/>
                </a:solidFill>
              </a:uFill>
              <a:ea typeface="Arial"/>
            </a:endParaRPr>
          </a:p>
        </p:txBody>
      </p:sp>
      <p:sp>
        <p:nvSpPr>
          <p:cNvPr id="225" name="CustomShape 3"/>
          <p:cNvSpPr/>
          <p:nvPr/>
        </p:nvSpPr>
        <p:spPr>
          <a:xfrm>
            <a:off x="5525354" y="2380136"/>
            <a:ext cx="3291533" cy="979551"/>
          </a:xfrm>
          <a:prstGeom prst="rect">
            <a:avLst/>
          </a:prstGeom>
          <a:solidFill>
            <a:schemeClr val="bg1">
              <a:lumMod val="75000"/>
            </a:schemeClr>
          </a:solidFill>
          <a:ln w="126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87458" tIns="96229" rIns="87458" bIns="96229" anchor="b"/>
          <a:lstStyle/>
          <a:p>
            <a:pPr marL="1284" defTabSz="814698">
              <a:lnSpc>
                <a:spcPct val="90000"/>
              </a:lnSpc>
            </a:pPr>
            <a:r>
              <a:rPr lang="x-none" sz="1600" spc="-1">
                <a:solidFill>
                  <a:srgbClr val="E20074"/>
                </a:solidFill>
                <a:uFill>
                  <a:solidFill>
                    <a:srgbClr val="FFFFFF"/>
                  </a:solidFill>
                </a:uFill>
                <a:latin typeface="TeleGrotesk Headline Ultra"/>
                <a:ea typeface="Arial"/>
              </a:rPr>
              <a:t>Storage</a:t>
            </a:r>
            <a:endParaRPr sz="1600" dirty="0">
              <a:solidFill>
                <a:srgbClr val="000000"/>
              </a:solidFill>
            </a:endParaRPr>
          </a:p>
        </p:txBody>
      </p:sp>
      <p:sp>
        <p:nvSpPr>
          <p:cNvPr id="54" name="Rechteck 53"/>
          <p:cNvSpPr/>
          <p:nvPr/>
        </p:nvSpPr>
        <p:spPr bwMode="gray">
          <a:xfrm>
            <a:off x="5567324" y="2412647"/>
            <a:ext cx="1024723" cy="563242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txBody>
          <a:bodyPr wrap="square" lIns="87458" tIns="87458" rIns="87458" bIns="87458" rtlCol="0" anchor="ctr" anchorCtr="0">
            <a:noAutofit/>
          </a:bodyPr>
          <a:lstStyle/>
          <a:p>
            <a:pPr algn="ctr" defTabSz="814698">
              <a:lnSpc>
                <a:spcPct val="90000"/>
              </a:lnSpc>
            </a:pPr>
            <a:r>
              <a:rPr lang="x-none" sz="1300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ea typeface="Arial"/>
              </a:rPr>
              <a:t>Object </a:t>
            </a:r>
            <a:br>
              <a:rPr lang="x-none" sz="1300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ea typeface="Arial"/>
              </a:rPr>
            </a:br>
            <a:r>
              <a:rPr lang="x-none" sz="1300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ea typeface="Arial"/>
              </a:rPr>
              <a:t>Storage </a:t>
            </a:r>
            <a:br>
              <a:rPr lang="x-none" sz="1300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ea typeface="Arial"/>
              </a:rPr>
            </a:br>
            <a:r>
              <a:rPr lang="x-none" sz="1300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ea typeface="Arial"/>
              </a:rPr>
              <a:t>Service</a:t>
            </a:r>
            <a:endParaRPr lang="x-none" sz="1300" spc="-1" dirty="0">
              <a:solidFill>
                <a:srgbClr val="000000"/>
              </a:solidFill>
              <a:uFill>
                <a:solidFill>
                  <a:srgbClr val="FFFFFF"/>
                </a:solidFill>
              </a:uFill>
              <a:ea typeface="Arial"/>
            </a:endParaRPr>
          </a:p>
        </p:txBody>
      </p:sp>
      <p:sp>
        <p:nvSpPr>
          <p:cNvPr id="55" name="Rechteck 54"/>
          <p:cNvSpPr/>
          <p:nvPr/>
        </p:nvSpPr>
        <p:spPr bwMode="gray">
          <a:xfrm>
            <a:off x="6658172" y="2412647"/>
            <a:ext cx="1024723" cy="563242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txBody>
          <a:bodyPr wrap="square" lIns="87458" tIns="87458" rIns="87458" bIns="87458" rtlCol="0" anchor="ctr" anchorCtr="0">
            <a:noAutofit/>
          </a:bodyPr>
          <a:lstStyle/>
          <a:p>
            <a:pPr algn="ctr" defTabSz="814698">
              <a:lnSpc>
                <a:spcPct val="90000"/>
              </a:lnSpc>
            </a:pPr>
            <a:r>
              <a:rPr lang="x-none" sz="1300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ea typeface="Arial"/>
              </a:rPr>
              <a:t>Elastic </a:t>
            </a:r>
            <a:br>
              <a:rPr lang="x-none" sz="1300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ea typeface="Arial"/>
              </a:rPr>
            </a:br>
            <a:r>
              <a:rPr lang="x-none" sz="1300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ea typeface="Arial"/>
              </a:rPr>
              <a:t>Volume </a:t>
            </a:r>
            <a:br>
              <a:rPr lang="x-none" sz="1300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ea typeface="Arial"/>
              </a:rPr>
            </a:br>
            <a:r>
              <a:rPr lang="x-none" sz="1300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ea typeface="Arial"/>
              </a:rPr>
              <a:t>Service</a:t>
            </a:r>
            <a:endParaRPr lang="x-none" sz="1300" spc="-1" dirty="0">
              <a:solidFill>
                <a:srgbClr val="000000"/>
              </a:solidFill>
              <a:uFill>
                <a:solidFill>
                  <a:srgbClr val="FFFFFF"/>
                </a:solidFill>
              </a:uFill>
              <a:ea typeface="Arial"/>
            </a:endParaRPr>
          </a:p>
        </p:txBody>
      </p:sp>
      <p:sp>
        <p:nvSpPr>
          <p:cNvPr id="56" name="Rechteck 55"/>
          <p:cNvSpPr/>
          <p:nvPr/>
        </p:nvSpPr>
        <p:spPr bwMode="gray">
          <a:xfrm>
            <a:off x="7749021" y="2412647"/>
            <a:ext cx="1024723" cy="563242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txBody>
          <a:bodyPr wrap="square" lIns="87458" tIns="87458" rIns="87458" bIns="87458" rtlCol="0" anchor="ctr" anchorCtr="0">
            <a:noAutofit/>
          </a:bodyPr>
          <a:lstStyle/>
          <a:p>
            <a:pPr algn="ctr" defTabSz="814698">
              <a:lnSpc>
                <a:spcPct val="90000"/>
              </a:lnSpc>
            </a:pPr>
            <a:r>
              <a:rPr lang="x-none" sz="1300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ea typeface="Arial"/>
              </a:rPr>
              <a:t>Volume </a:t>
            </a:r>
            <a:br>
              <a:rPr lang="x-none" sz="1300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ea typeface="Arial"/>
              </a:rPr>
            </a:br>
            <a:r>
              <a:rPr lang="x-none" sz="1300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ea typeface="Arial"/>
              </a:rPr>
              <a:t>Backup </a:t>
            </a:r>
            <a:br>
              <a:rPr lang="x-none" sz="1300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ea typeface="Arial"/>
              </a:rPr>
            </a:br>
            <a:r>
              <a:rPr lang="x-none" sz="1300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ea typeface="Arial"/>
              </a:rPr>
              <a:t>Service</a:t>
            </a:r>
            <a:endParaRPr lang="x-none" sz="1300" spc="-1" dirty="0">
              <a:solidFill>
                <a:srgbClr val="000000"/>
              </a:solidFill>
              <a:uFill>
                <a:solidFill>
                  <a:srgbClr val="FFFFFF"/>
                </a:solidFill>
              </a:uFill>
              <a:ea typeface="Arial"/>
            </a:endParaRPr>
          </a:p>
        </p:txBody>
      </p:sp>
      <p:sp>
        <p:nvSpPr>
          <p:cNvPr id="224" name="CustomShape 2"/>
          <p:cNvSpPr/>
          <p:nvPr/>
        </p:nvSpPr>
        <p:spPr>
          <a:xfrm>
            <a:off x="2098477" y="2380136"/>
            <a:ext cx="3291533" cy="979551"/>
          </a:xfrm>
          <a:prstGeom prst="rect">
            <a:avLst/>
          </a:prstGeom>
          <a:solidFill>
            <a:schemeClr val="bg1">
              <a:lumMod val="75000"/>
            </a:schemeClr>
          </a:solidFill>
          <a:ln w="1260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87458" tIns="96229" rIns="87458" bIns="96229" anchor="b"/>
          <a:lstStyle/>
          <a:p>
            <a:pPr marL="1284" defTabSz="814698">
              <a:lnSpc>
                <a:spcPct val="90000"/>
              </a:lnSpc>
            </a:pPr>
            <a:r>
              <a:rPr lang="x-none" sz="1600" spc="-1">
                <a:solidFill>
                  <a:srgbClr val="E20074"/>
                </a:solidFill>
                <a:uFill>
                  <a:solidFill>
                    <a:srgbClr val="FFFFFF"/>
                  </a:solidFill>
                </a:uFill>
                <a:latin typeface="TeleGrotesk Headline Ultra"/>
                <a:ea typeface="Arial"/>
              </a:rPr>
              <a:t>Compute</a:t>
            </a:r>
            <a:endParaRPr sz="1600" dirty="0">
              <a:solidFill>
                <a:srgbClr val="000000"/>
              </a:solidFill>
            </a:endParaRPr>
          </a:p>
        </p:txBody>
      </p:sp>
      <p:sp>
        <p:nvSpPr>
          <p:cNvPr id="3" name="Rechteck 2"/>
          <p:cNvSpPr/>
          <p:nvPr/>
        </p:nvSpPr>
        <p:spPr bwMode="gray">
          <a:xfrm>
            <a:off x="2138279" y="2412647"/>
            <a:ext cx="1024723" cy="563242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txBody>
          <a:bodyPr wrap="square" lIns="87458" tIns="87458" rIns="87458" bIns="87458" rtlCol="0" anchor="ctr" anchorCtr="0">
            <a:noAutofit/>
          </a:bodyPr>
          <a:lstStyle/>
          <a:p>
            <a:pPr algn="ctr" defTabSz="814698">
              <a:lnSpc>
                <a:spcPct val="90000"/>
              </a:lnSpc>
            </a:pPr>
            <a:r>
              <a:rPr lang="x-none" sz="1300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ea typeface="Arial"/>
              </a:rPr>
              <a:t>Elastic </a:t>
            </a:r>
            <a:br>
              <a:rPr lang="x-none" sz="1300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ea typeface="Arial"/>
              </a:rPr>
            </a:br>
            <a:r>
              <a:rPr lang="x-none" sz="1300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ea typeface="Arial"/>
              </a:rPr>
              <a:t>Cloud </a:t>
            </a:r>
            <a:br>
              <a:rPr lang="x-none" sz="1300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ea typeface="Arial"/>
              </a:rPr>
            </a:br>
            <a:r>
              <a:rPr lang="x-none" sz="1300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ea typeface="Arial"/>
              </a:rPr>
              <a:t>Server</a:t>
            </a:r>
            <a:endParaRPr lang="x-none" sz="1300" spc="-1" dirty="0">
              <a:solidFill>
                <a:srgbClr val="000000"/>
              </a:solidFill>
              <a:uFill>
                <a:solidFill>
                  <a:srgbClr val="FFFFFF"/>
                </a:solidFill>
              </a:uFill>
              <a:ea typeface="Arial"/>
            </a:endParaRPr>
          </a:p>
        </p:txBody>
      </p:sp>
      <p:sp>
        <p:nvSpPr>
          <p:cNvPr id="50" name="Rechteck 49"/>
          <p:cNvSpPr/>
          <p:nvPr/>
        </p:nvSpPr>
        <p:spPr bwMode="gray">
          <a:xfrm>
            <a:off x="3229127" y="2412647"/>
            <a:ext cx="1024723" cy="563242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txBody>
          <a:bodyPr wrap="square" lIns="87458" tIns="87458" rIns="87458" bIns="87458" rtlCol="0" anchor="ctr" anchorCtr="0">
            <a:noAutofit/>
          </a:bodyPr>
          <a:lstStyle/>
          <a:p>
            <a:pPr algn="ctr" defTabSz="814698">
              <a:lnSpc>
                <a:spcPct val="90000"/>
              </a:lnSpc>
            </a:pPr>
            <a:r>
              <a:rPr lang="x-none" sz="1300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ea typeface="Arial"/>
              </a:rPr>
              <a:t>Auto-</a:t>
            </a:r>
            <a:br>
              <a:rPr lang="x-none" sz="1300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ea typeface="Arial"/>
              </a:rPr>
            </a:br>
            <a:r>
              <a:rPr lang="x-none" sz="1300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ea typeface="Arial"/>
              </a:rPr>
              <a:t>scaling</a:t>
            </a:r>
            <a:endParaRPr lang="x-none" sz="1300" spc="-1" dirty="0">
              <a:solidFill>
                <a:srgbClr val="000000"/>
              </a:solidFill>
              <a:uFill>
                <a:solidFill>
                  <a:srgbClr val="FFFFFF"/>
                </a:solidFill>
              </a:uFill>
              <a:ea typeface="Arial"/>
            </a:endParaRPr>
          </a:p>
        </p:txBody>
      </p:sp>
      <p:sp>
        <p:nvSpPr>
          <p:cNvPr id="51" name="Rechteck 50"/>
          <p:cNvSpPr/>
          <p:nvPr/>
        </p:nvSpPr>
        <p:spPr bwMode="gray">
          <a:xfrm>
            <a:off x="4319976" y="2412647"/>
            <a:ext cx="1024723" cy="563242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txBody>
          <a:bodyPr wrap="square" lIns="87458" tIns="87458" rIns="87458" bIns="87458" rtlCol="0" anchor="ctr" anchorCtr="0">
            <a:noAutofit/>
          </a:bodyPr>
          <a:lstStyle/>
          <a:p>
            <a:pPr algn="ctr" defTabSz="814698">
              <a:lnSpc>
                <a:spcPct val="90000"/>
              </a:lnSpc>
            </a:pPr>
            <a:r>
              <a:rPr lang="x-none" sz="1300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ea typeface="Arial"/>
              </a:rPr>
              <a:t>Image </a:t>
            </a:r>
            <a:br>
              <a:rPr lang="x-none" sz="1300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ea typeface="Arial"/>
              </a:rPr>
            </a:br>
            <a:r>
              <a:rPr lang="x-none" sz="1300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ea typeface="Arial"/>
              </a:rPr>
              <a:t>Mgmt. </a:t>
            </a:r>
            <a:br>
              <a:rPr lang="x-none" sz="1300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ea typeface="Arial"/>
              </a:rPr>
            </a:br>
            <a:r>
              <a:rPr lang="x-none" sz="1300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ea typeface="Arial"/>
              </a:rPr>
              <a:t>Service</a:t>
            </a:r>
            <a:endParaRPr lang="x-none" sz="1300" spc="-1" dirty="0">
              <a:solidFill>
                <a:srgbClr val="000000"/>
              </a:solidFill>
              <a:uFill>
                <a:solidFill>
                  <a:srgbClr val="FFFFFF"/>
                </a:solidFill>
              </a:uFill>
              <a:ea typeface="Arial"/>
            </a:endParaRPr>
          </a:p>
        </p:txBody>
      </p:sp>
      <p:cxnSp>
        <p:nvCxnSpPr>
          <p:cNvPr id="176" name="Gerade Verbindung 175"/>
          <p:cNvCxnSpPr/>
          <p:nvPr/>
        </p:nvCxnSpPr>
        <p:spPr>
          <a:xfrm>
            <a:off x="2153580" y="4105969"/>
            <a:ext cx="6597067" cy="0"/>
          </a:xfrm>
          <a:prstGeom prst="line">
            <a:avLst/>
          </a:prstGeom>
          <a:ln w="6350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7" name="Rechteck 186"/>
          <p:cNvSpPr/>
          <p:nvPr/>
        </p:nvSpPr>
        <p:spPr bwMode="gray">
          <a:xfrm rot="16200000">
            <a:off x="5439869" y="4228504"/>
            <a:ext cx="24489" cy="384373"/>
          </a:xfrm>
          <a:prstGeom prst="rect">
            <a:avLst/>
          </a:prstGeom>
          <a:solidFill>
            <a:schemeClr val="tx2"/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square" lIns="87458" tIns="87458" rIns="87458" bIns="87458" rtlCol="0" anchor="ctr" anchorCtr="0">
            <a:spAutoFit/>
          </a:bodyPr>
          <a:lstStyle/>
          <a:p>
            <a:pPr algn="ctr" defTabSz="370316">
              <a:lnSpc>
                <a:spcPct val="90000"/>
              </a:lnSpc>
              <a:buClr>
                <a:srgbClr val="E20074"/>
              </a:buClr>
            </a:pPr>
            <a:endParaRPr lang="x-none" sz="1500" dirty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cxnSp>
        <p:nvCxnSpPr>
          <p:cNvPr id="172" name="Gerade Verbindung 171"/>
          <p:cNvCxnSpPr/>
          <p:nvPr/>
        </p:nvCxnSpPr>
        <p:spPr>
          <a:xfrm>
            <a:off x="2138279" y="3035250"/>
            <a:ext cx="3206420" cy="0"/>
          </a:xfrm>
          <a:prstGeom prst="line">
            <a:avLst/>
          </a:prstGeom>
          <a:ln w="6350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8" name="Rechteck 187"/>
          <p:cNvSpPr/>
          <p:nvPr/>
        </p:nvSpPr>
        <p:spPr bwMode="gray">
          <a:xfrm rot="16200000">
            <a:off x="3731998" y="3155256"/>
            <a:ext cx="24489" cy="384373"/>
          </a:xfrm>
          <a:prstGeom prst="rect">
            <a:avLst/>
          </a:prstGeom>
          <a:solidFill>
            <a:schemeClr val="tx2"/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square" lIns="87458" tIns="87458" rIns="87458" bIns="87458" rtlCol="0" anchor="ctr" anchorCtr="0">
            <a:spAutoFit/>
          </a:bodyPr>
          <a:lstStyle/>
          <a:p>
            <a:pPr algn="ctr" defTabSz="370316">
              <a:lnSpc>
                <a:spcPct val="90000"/>
              </a:lnSpc>
              <a:buClr>
                <a:srgbClr val="E20074"/>
              </a:buClr>
            </a:pPr>
            <a:endParaRPr lang="x-none" sz="1500" dirty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89" name="Rechteck 188"/>
          <p:cNvSpPr/>
          <p:nvPr/>
        </p:nvSpPr>
        <p:spPr bwMode="gray">
          <a:xfrm rot="16200000">
            <a:off x="7158875" y="3155256"/>
            <a:ext cx="24489" cy="384373"/>
          </a:xfrm>
          <a:prstGeom prst="rect">
            <a:avLst/>
          </a:prstGeom>
          <a:solidFill>
            <a:schemeClr val="tx2"/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square" lIns="87458" tIns="87458" rIns="87458" bIns="87458" rtlCol="0" anchor="ctr" anchorCtr="0">
            <a:spAutoFit/>
          </a:bodyPr>
          <a:lstStyle/>
          <a:p>
            <a:pPr algn="ctr" defTabSz="370316">
              <a:lnSpc>
                <a:spcPct val="90000"/>
              </a:lnSpc>
              <a:buClr>
                <a:srgbClr val="E20074"/>
              </a:buClr>
            </a:pPr>
            <a:endParaRPr lang="x-none" sz="1500" dirty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65" name="Rechteck 64"/>
          <p:cNvSpPr/>
          <p:nvPr/>
        </p:nvSpPr>
        <p:spPr bwMode="gray">
          <a:xfrm>
            <a:off x="370681" y="2412647"/>
            <a:ext cx="1567446" cy="563242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txBody>
          <a:bodyPr wrap="square" lIns="87458" tIns="87458" rIns="87458" bIns="87458" rtlCol="0" anchor="ctr" anchorCtr="0">
            <a:noAutofit/>
          </a:bodyPr>
          <a:lstStyle/>
          <a:p>
            <a:pPr algn="ctr" defTabSz="814698">
              <a:lnSpc>
                <a:spcPct val="90000"/>
              </a:lnSpc>
            </a:pPr>
            <a:r>
              <a:rPr lang="x-none" sz="1300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ea typeface="Arial"/>
              </a:rPr>
              <a:t>Identity </a:t>
            </a:r>
            <a:br>
              <a:rPr lang="x-none" sz="1300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ea typeface="Arial"/>
              </a:rPr>
            </a:br>
            <a:r>
              <a:rPr lang="x-none" sz="1300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ea typeface="Arial"/>
              </a:rPr>
              <a:t>and Access </a:t>
            </a:r>
            <a:br>
              <a:rPr lang="x-none" sz="1300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ea typeface="Arial"/>
              </a:rPr>
            </a:br>
            <a:r>
              <a:rPr lang="x-none" sz="1300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ea typeface="Arial"/>
              </a:rPr>
              <a:t>Management</a:t>
            </a:r>
            <a:endParaRPr lang="x-none" sz="1300" spc="-1" dirty="0">
              <a:solidFill>
                <a:srgbClr val="000000"/>
              </a:solidFill>
              <a:uFill>
                <a:solidFill>
                  <a:srgbClr val="FFFFFF"/>
                </a:solidFill>
              </a:uFill>
              <a:ea typeface="Arial"/>
            </a:endParaRPr>
          </a:p>
        </p:txBody>
      </p:sp>
      <p:sp>
        <p:nvSpPr>
          <p:cNvPr id="67" name="Rechteck 66"/>
          <p:cNvSpPr/>
          <p:nvPr/>
        </p:nvSpPr>
        <p:spPr bwMode="gray">
          <a:xfrm>
            <a:off x="370681" y="3023416"/>
            <a:ext cx="1567446" cy="563242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>
            <a:outerShdw blurRad="38100" algn="ctr" rotWithShape="0">
              <a:prstClr val="black">
                <a:alpha val="40000"/>
              </a:prstClr>
            </a:outerShdw>
          </a:effectLst>
        </p:spPr>
        <p:txBody>
          <a:bodyPr wrap="square" lIns="87458" tIns="87458" rIns="87458" bIns="87458" rtlCol="0" anchor="ctr" anchorCtr="0">
            <a:noAutofit/>
          </a:bodyPr>
          <a:lstStyle/>
          <a:p>
            <a:pPr algn="ctr" defTabSz="814698">
              <a:lnSpc>
                <a:spcPct val="90000"/>
              </a:lnSpc>
            </a:pPr>
            <a:r>
              <a:rPr lang="x-none" sz="1300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ea typeface="Arial"/>
              </a:rPr>
              <a:t>Anti-DDoS</a:t>
            </a:r>
            <a:endParaRPr lang="x-none" sz="1300" spc="-1" dirty="0">
              <a:solidFill>
                <a:srgbClr val="000000"/>
              </a:solidFill>
              <a:uFill>
                <a:solidFill>
                  <a:srgbClr val="FFFFFF"/>
                </a:solidFill>
              </a:uFill>
              <a:ea typeface="Arial"/>
            </a:endParaRPr>
          </a:p>
        </p:txBody>
      </p:sp>
      <p:cxnSp>
        <p:nvCxnSpPr>
          <p:cNvPr id="69" name="Gerade Verbindung 68"/>
          <p:cNvCxnSpPr/>
          <p:nvPr/>
        </p:nvCxnSpPr>
        <p:spPr>
          <a:xfrm>
            <a:off x="5567910" y="3035250"/>
            <a:ext cx="3206420" cy="0"/>
          </a:xfrm>
          <a:prstGeom prst="line">
            <a:avLst/>
          </a:prstGeom>
          <a:ln w="6350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72" name="Group 12"/>
          <p:cNvGrpSpPr>
            <a:grpSpLocks noChangeAspect="1"/>
          </p:cNvGrpSpPr>
          <p:nvPr/>
        </p:nvGrpSpPr>
        <p:grpSpPr bwMode="auto">
          <a:xfrm>
            <a:off x="8496245" y="3090313"/>
            <a:ext cx="241362" cy="189843"/>
            <a:chOff x="1753" y="524"/>
            <a:chExt cx="737" cy="773"/>
          </a:xfrm>
          <a:solidFill>
            <a:schemeClr val="tx2"/>
          </a:solidFill>
        </p:grpSpPr>
        <p:sp>
          <p:nvSpPr>
            <p:cNvPr id="73" name="Freeform 14"/>
            <p:cNvSpPr>
              <a:spLocks/>
            </p:cNvSpPr>
            <p:nvPr/>
          </p:nvSpPr>
          <p:spPr bwMode="auto">
            <a:xfrm>
              <a:off x="2388" y="612"/>
              <a:ext cx="1" cy="1"/>
            </a:xfrm>
            <a:custGeom>
              <a:avLst/>
              <a:gdLst>
                <a:gd name="T0" fmla="*/ 3 w 3"/>
                <a:gd name="T1" fmla="*/ 0 h 2"/>
                <a:gd name="T2" fmla="*/ 3 w 3"/>
                <a:gd name="T3" fmla="*/ 0 h 2"/>
                <a:gd name="T4" fmla="*/ 3 w 3"/>
                <a:gd name="T5" fmla="*/ 0 h 2"/>
                <a:gd name="T6" fmla="*/ 2 w 3"/>
                <a:gd name="T7" fmla="*/ 1 h 2"/>
                <a:gd name="T8" fmla="*/ 1 w 3"/>
                <a:gd name="T9" fmla="*/ 1 h 2"/>
                <a:gd name="T10" fmla="*/ 0 w 3"/>
                <a:gd name="T11" fmla="*/ 2 h 2"/>
                <a:gd name="T12" fmla="*/ 0 w 3"/>
                <a:gd name="T13" fmla="*/ 2 h 2"/>
                <a:gd name="T14" fmla="*/ 0 w 3"/>
                <a:gd name="T15" fmla="*/ 2 h 2"/>
                <a:gd name="T16" fmla="*/ 0 w 3"/>
                <a:gd name="T17" fmla="*/ 2 h 2"/>
                <a:gd name="T18" fmla="*/ 1 w 3"/>
                <a:gd name="T19" fmla="*/ 1 h 2"/>
                <a:gd name="T20" fmla="*/ 3 w 3"/>
                <a:gd name="T21" fmla="*/ 0 h 2"/>
                <a:gd name="T22" fmla="*/ 3 w 3"/>
                <a:gd name="T23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" h="2">
                  <a:moveTo>
                    <a:pt x="3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2" y="1"/>
                  </a:lnTo>
                  <a:lnTo>
                    <a:pt x="1" y="1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1" y="1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x-none"/>
            </a:p>
          </p:txBody>
        </p:sp>
        <p:sp>
          <p:nvSpPr>
            <p:cNvPr id="74" name="Freeform 22"/>
            <p:cNvSpPr>
              <a:spLocks/>
            </p:cNvSpPr>
            <p:nvPr/>
          </p:nvSpPr>
          <p:spPr bwMode="auto">
            <a:xfrm>
              <a:off x="1753" y="864"/>
              <a:ext cx="737" cy="214"/>
            </a:xfrm>
            <a:custGeom>
              <a:avLst/>
              <a:gdLst>
                <a:gd name="T0" fmla="*/ 0 w 1472"/>
                <a:gd name="T1" fmla="*/ 0 h 429"/>
                <a:gd name="T2" fmla="*/ 17 w 1472"/>
                <a:gd name="T3" fmla="*/ 12 h 429"/>
                <a:gd name="T4" fmla="*/ 40 w 1472"/>
                <a:gd name="T5" fmla="*/ 26 h 429"/>
                <a:gd name="T6" fmla="*/ 69 w 1472"/>
                <a:gd name="T7" fmla="*/ 40 h 429"/>
                <a:gd name="T8" fmla="*/ 104 w 1472"/>
                <a:gd name="T9" fmla="*/ 54 h 429"/>
                <a:gd name="T10" fmla="*/ 144 w 1472"/>
                <a:gd name="T11" fmla="*/ 68 h 429"/>
                <a:gd name="T12" fmla="*/ 189 w 1472"/>
                <a:gd name="T13" fmla="*/ 82 h 429"/>
                <a:gd name="T14" fmla="*/ 241 w 1472"/>
                <a:gd name="T15" fmla="*/ 96 h 429"/>
                <a:gd name="T16" fmla="*/ 296 w 1472"/>
                <a:gd name="T17" fmla="*/ 109 h 429"/>
                <a:gd name="T18" fmla="*/ 358 w 1472"/>
                <a:gd name="T19" fmla="*/ 121 h 429"/>
                <a:gd name="T20" fmla="*/ 424 w 1472"/>
                <a:gd name="T21" fmla="*/ 131 h 429"/>
                <a:gd name="T22" fmla="*/ 495 w 1472"/>
                <a:gd name="T23" fmla="*/ 140 h 429"/>
                <a:gd name="T24" fmla="*/ 571 w 1472"/>
                <a:gd name="T25" fmla="*/ 147 h 429"/>
                <a:gd name="T26" fmla="*/ 651 w 1472"/>
                <a:gd name="T27" fmla="*/ 151 h 429"/>
                <a:gd name="T28" fmla="*/ 736 w 1472"/>
                <a:gd name="T29" fmla="*/ 152 h 429"/>
                <a:gd name="T30" fmla="*/ 821 w 1472"/>
                <a:gd name="T31" fmla="*/ 151 h 429"/>
                <a:gd name="T32" fmla="*/ 900 w 1472"/>
                <a:gd name="T33" fmla="*/ 148 h 429"/>
                <a:gd name="T34" fmla="*/ 974 w 1472"/>
                <a:gd name="T35" fmla="*/ 143 h 429"/>
                <a:gd name="T36" fmla="*/ 1042 w 1472"/>
                <a:gd name="T37" fmla="*/ 135 h 429"/>
                <a:gd name="T38" fmla="*/ 1107 w 1472"/>
                <a:gd name="T39" fmla="*/ 126 h 429"/>
                <a:gd name="T40" fmla="*/ 1166 w 1472"/>
                <a:gd name="T41" fmla="*/ 116 h 429"/>
                <a:gd name="T42" fmla="*/ 1220 w 1472"/>
                <a:gd name="T43" fmla="*/ 104 h 429"/>
                <a:gd name="T44" fmla="*/ 1269 w 1472"/>
                <a:gd name="T45" fmla="*/ 92 h 429"/>
                <a:gd name="T46" fmla="*/ 1315 w 1472"/>
                <a:gd name="T47" fmla="*/ 78 h 429"/>
                <a:gd name="T48" fmla="*/ 1355 w 1472"/>
                <a:gd name="T49" fmla="*/ 64 h 429"/>
                <a:gd name="T50" fmla="*/ 1390 w 1472"/>
                <a:gd name="T51" fmla="*/ 48 h 429"/>
                <a:gd name="T52" fmla="*/ 1423 w 1472"/>
                <a:gd name="T53" fmla="*/ 33 h 429"/>
                <a:gd name="T54" fmla="*/ 1450 w 1472"/>
                <a:gd name="T55" fmla="*/ 16 h 429"/>
                <a:gd name="T56" fmla="*/ 1472 w 1472"/>
                <a:gd name="T57" fmla="*/ 0 h 429"/>
                <a:gd name="T58" fmla="*/ 1472 w 1472"/>
                <a:gd name="T59" fmla="*/ 277 h 429"/>
                <a:gd name="T60" fmla="*/ 1451 w 1472"/>
                <a:gd name="T61" fmla="*/ 293 h 429"/>
                <a:gd name="T62" fmla="*/ 1425 w 1472"/>
                <a:gd name="T63" fmla="*/ 308 h 429"/>
                <a:gd name="T64" fmla="*/ 1394 w 1472"/>
                <a:gd name="T65" fmla="*/ 324 h 429"/>
                <a:gd name="T66" fmla="*/ 1359 w 1472"/>
                <a:gd name="T67" fmla="*/ 338 h 429"/>
                <a:gd name="T68" fmla="*/ 1319 w 1472"/>
                <a:gd name="T69" fmla="*/ 353 h 429"/>
                <a:gd name="T70" fmla="*/ 1273 w 1472"/>
                <a:gd name="T71" fmla="*/ 367 h 429"/>
                <a:gd name="T72" fmla="*/ 1224 w 1472"/>
                <a:gd name="T73" fmla="*/ 380 h 429"/>
                <a:gd name="T74" fmla="*/ 1169 w 1472"/>
                <a:gd name="T75" fmla="*/ 392 h 429"/>
                <a:gd name="T76" fmla="*/ 1109 w 1472"/>
                <a:gd name="T77" fmla="*/ 402 h 429"/>
                <a:gd name="T78" fmla="*/ 1044 w 1472"/>
                <a:gd name="T79" fmla="*/ 411 h 429"/>
                <a:gd name="T80" fmla="*/ 975 w 1472"/>
                <a:gd name="T81" fmla="*/ 419 h 429"/>
                <a:gd name="T82" fmla="*/ 900 w 1472"/>
                <a:gd name="T83" fmla="*/ 424 h 429"/>
                <a:gd name="T84" fmla="*/ 821 w 1472"/>
                <a:gd name="T85" fmla="*/ 428 h 429"/>
                <a:gd name="T86" fmla="*/ 736 w 1472"/>
                <a:gd name="T87" fmla="*/ 429 h 429"/>
                <a:gd name="T88" fmla="*/ 652 w 1472"/>
                <a:gd name="T89" fmla="*/ 428 h 429"/>
                <a:gd name="T90" fmla="*/ 573 w 1472"/>
                <a:gd name="T91" fmla="*/ 424 h 429"/>
                <a:gd name="T92" fmla="*/ 499 w 1472"/>
                <a:gd name="T93" fmla="*/ 419 h 429"/>
                <a:gd name="T94" fmla="*/ 430 w 1472"/>
                <a:gd name="T95" fmla="*/ 412 h 429"/>
                <a:gd name="T96" fmla="*/ 367 w 1472"/>
                <a:gd name="T97" fmla="*/ 404 h 429"/>
                <a:gd name="T98" fmla="*/ 308 w 1472"/>
                <a:gd name="T99" fmla="*/ 394 h 429"/>
                <a:gd name="T100" fmla="*/ 254 w 1472"/>
                <a:gd name="T101" fmla="*/ 382 h 429"/>
                <a:gd name="T102" fmla="*/ 204 w 1472"/>
                <a:gd name="T103" fmla="*/ 369 h 429"/>
                <a:gd name="T104" fmla="*/ 160 w 1472"/>
                <a:gd name="T105" fmla="*/ 355 h 429"/>
                <a:gd name="T106" fmla="*/ 120 w 1472"/>
                <a:gd name="T107" fmla="*/ 341 h 429"/>
                <a:gd name="T108" fmla="*/ 83 w 1472"/>
                <a:gd name="T109" fmla="*/ 326 h 429"/>
                <a:gd name="T110" fmla="*/ 52 w 1472"/>
                <a:gd name="T111" fmla="*/ 310 h 429"/>
                <a:gd name="T112" fmla="*/ 24 w 1472"/>
                <a:gd name="T113" fmla="*/ 294 h 429"/>
                <a:gd name="T114" fmla="*/ 0 w 1472"/>
                <a:gd name="T115" fmla="*/ 277 h 429"/>
                <a:gd name="T116" fmla="*/ 0 w 1472"/>
                <a:gd name="T117" fmla="*/ 0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472" h="429">
                  <a:moveTo>
                    <a:pt x="0" y="0"/>
                  </a:moveTo>
                  <a:lnTo>
                    <a:pt x="17" y="12"/>
                  </a:lnTo>
                  <a:lnTo>
                    <a:pt x="40" y="26"/>
                  </a:lnTo>
                  <a:lnTo>
                    <a:pt x="69" y="40"/>
                  </a:lnTo>
                  <a:lnTo>
                    <a:pt x="104" y="54"/>
                  </a:lnTo>
                  <a:lnTo>
                    <a:pt x="144" y="68"/>
                  </a:lnTo>
                  <a:lnTo>
                    <a:pt x="189" y="82"/>
                  </a:lnTo>
                  <a:lnTo>
                    <a:pt x="241" y="96"/>
                  </a:lnTo>
                  <a:lnTo>
                    <a:pt x="296" y="109"/>
                  </a:lnTo>
                  <a:lnTo>
                    <a:pt x="358" y="121"/>
                  </a:lnTo>
                  <a:lnTo>
                    <a:pt x="424" y="131"/>
                  </a:lnTo>
                  <a:lnTo>
                    <a:pt x="495" y="140"/>
                  </a:lnTo>
                  <a:lnTo>
                    <a:pt x="571" y="147"/>
                  </a:lnTo>
                  <a:lnTo>
                    <a:pt x="651" y="151"/>
                  </a:lnTo>
                  <a:lnTo>
                    <a:pt x="736" y="152"/>
                  </a:lnTo>
                  <a:lnTo>
                    <a:pt x="821" y="151"/>
                  </a:lnTo>
                  <a:lnTo>
                    <a:pt x="900" y="148"/>
                  </a:lnTo>
                  <a:lnTo>
                    <a:pt x="974" y="143"/>
                  </a:lnTo>
                  <a:lnTo>
                    <a:pt x="1042" y="135"/>
                  </a:lnTo>
                  <a:lnTo>
                    <a:pt x="1107" y="126"/>
                  </a:lnTo>
                  <a:lnTo>
                    <a:pt x="1166" y="116"/>
                  </a:lnTo>
                  <a:lnTo>
                    <a:pt x="1220" y="104"/>
                  </a:lnTo>
                  <a:lnTo>
                    <a:pt x="1269" y="92"/>
                  </a:lnTo>
                  <a:lnTo>
                    <a:pt x="1315" y="78"/>
                  </a:lnTo>
                  <a:lnTo>
                    <a:pt x="1355" y="64"/>
                  </a:lnTo>
                  <a:lnTo>
                    <a:pt x="1390" y="48"/>
                  </a:lnTo>
                  <a:lnTo>
                    <a:pt x="1423" y="33"/>
                  </a:lnTo>
                  <a:lnTo>
                    <a:pt x="1450" y="16"/>
                  </a:lnTo>
                  <a:lnTo>
                    <a:pt x="1472" y="0"/>
                  </a:lnTo>
                  <a:lnTo>
                    <a:pt x="1472" y="277"/>
                  </a:lnTo>
                  <a:lnTo>
                    <a:pt x="1451" y="293"/>
                  </a:lnTo>
                  <a:lnTo>
                    <a:pt x="1425" y="308"/>
                  </a:lnTo>
                  <a:lnTo>
                    <a:pt x="1394" y="324"/>
                  </a:lnTo>
                  <a:lnTo>
                    <a:pt x="1359" y="338"/>
                  </a:lnTo>
                  <a:lnTo>
                    <a:pt x="1319" y="353"/>
                  </a:lnTo>
                  <a:lnTo>
                    <a:pt x="1273" y="367"/>
                  </a:lnTo>
                  <a:lnTo>
                    <a:pt x="1224" y="380"/>
                  </a:lnTo>
                  <a:lnTo>
                    <a:pt x="1169" y="392"/>
                  </a:lnTo>
                  <a:lnTo>
                    <a:pt x="1109" y="402"/>
                  </a:lnTo>
                  <a:lnTo>
                    <a:pt x="1044" y="411"/>
                  </a:lnTo>
                  <a:lnTo>
                    <a:pt x="975" y="419"/>
                  </a:lnTo>
                  <a:lnTo>
                    <a:pt x="900" y="424"/>
                  </a:lnTo>
                  <a:lnTo>
                    <a:pt x="821" y="428"/>
                  </a:lnTo>
                  <a:lnTo>
                    <a:pt x="736" y="429"/>
                  </a:lnTo>
                  <a:lnTo>
                    <a:pt x="652" y="428"/>
                  </a:lnTo>
                  <a:lnTo>
                    <a:pt x="573" y="424"/>
                  </a:lnTo>
                  <a:lnTo>
                    <a:pt x="499" y="419"/>
                  </a:lnTo>
                  <a:lnTo>
                    <a:pt x="430" y="412"/>
                  </a:lnTo>
                  <a:lnTo>
                    <a:pt x="367" y="404"/>
                  </a:lnTo>
                  <a:lnTo>
                    <a:pt x="308" y="394"/>
                  </a:lnTo>
                  <a:lnTo>
                    <a:pt x="254" y="382"/>
                  </a:lnTo>
                  <a:lnTo>
                    <a:pt x="204" y="369"/>
                  </a:lnTo>
                  <a:lnTo>
                    <a:pt x="160" y="355"/>
                  </a:lnTo>
                  <a:lnTo>
                    <a:pt x="120" y="341"/>
                  </a:lnTo>
                  <a:lnTo>
                    <a:pt x="83" y="326"/>
                  </a:lnTo>
                  <a:lnTo>
                    <a:pt x="52" y="310"/>
                  </a:lnTo>
                  <a:lnTo>
                    <a:pt x="24" y="294"/>
                  </a:lnTo>
                  <a:lnTo>
                    <a:pt x="0" y="27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x-none"/>
            </a:p>
          </p:txBody>
        </p:sp>
        <p:sp>
          <p:nvSpPr>
            <p:cNvPr id="75" name="Freeform 24"/>
            <p:cNvSpPr>
              <a:spLocks/>
            </p:cNvSpPr>
            <p:nvPr/>
          </p:nvSpPr>
          <p:spPr bwMode="auto">
            <a:xfrm>
              <a:off x="1753" y="524"/>
              <a:ext cx="737" cy="332"/>
            </a:xfrm>
            <a:custGeom>
              <a:avLst/>
              <a:gdLst>
                <a:gd name="T0" fmla="*/ 815 w 1472"/>
                <a:gd name="T1" fmla="*/ 0 h 663"/>
                <a:gd name="T2" fmla="*/ 961 w 1472"/>
                <a:gd name="T3" fmla="*/ 7 h 663"/>
                <a:gd name="T4" fmla="*/ 1090 w 1472"/>
                <a:gd name="T5" fmla="*/ 19 h 663"/>
                <a:gd name="T6" fmla="*/ 1203 w 1472"/>
                <a:gd name="T7" fmla="*/ 37 h 663"/>
                <a:gd name="T8" fmla="*/ 1297 w 1472"/>
                <a:gd name="T9" fmla="*/ 61 h 663"/>
                <a:gd name="T10" fmla="*/ 1372 w 1472"/>
                <a:gd name="T11" fmla="*/ 93 h 663"/>
                <a:gd name="T12" fmla="*/ 1428 w 1472"/>
                <a:gd name="T13" fmla="*/ 133 h 663"/>
                <a:gd name="T14" fmla="*/ 1460 w 1472"/>
                <a:gd name="T15" fmla="*/ 180 h 663"/>
                <a:gd name="T16" fmla="*/ 1472 w 1472"/>
                <a:gd name="T17" fmla="*/ 236 h 663"/>
                <a:gd name="T18" fmla="*/ 1451 w 1472"/>
                <a:gd name="T19" fmla="*/ 527 h 663"/>
                <a:gd name="T20" fmla="*/ 1394 w 1472"/>
                <a:gd name="T21" fmla="*/ 558 h 663"/>
                <a:gd name="T22" fmla="*/ 1319 w 1472"/>
                <a:gd name="T23" fmla="*/ 588 h 663"/>
                <a:gd name="T24" fmla="*/ 1224 w 1472"/>
                <a:gd name="T25" fmla="*/ 615 h 663"/>
                <a:gd name="T26" fmla="*/ 1109 w 1472"/>
                <a:gd name="T27" fmla="*/ 637 h 663"/>
                <a:gd name="T28" fmla="*/ 975 w 1472"/>
                <a:gd name="T29" fmla="*/ 653 h 663"/>
                <a:gd name="T30" fmla="*/ 821 w 1472"/>
                <a:gd name="T31" fmla="*/ 662 h 663"/>
                <a:gd name="T32" fmla="*/ 652 w 1472"/>
                <a:gd name="T33" fmla="*/ 662 h 663"/>
                <a:gd name="T34" fmla="*/ 499 w 1472"/>
                <a:gd name="T35" fmla="*/ 654 h 663"/>
                <a:gd name="T36" fmla="*/ 367 w 1472"/>
                <a:gd name="T37" fmla="*/ 638 h 663"/>
                <a:gd name="T38" fmla="*/ 254 w 1472"/>
                <a:gd name="T39" fmla="*/ 617 h 663"/>
                <a:gd name="T40" fmla="*/ 160 w 1472"/>
                <a:gd name="T41" fmla="*/ 591 h 663"/>
                <a:gd name="T42" fmla="*/ 83 w 1472"/>
                <a:gd name="T43" fmla="*/ 560 h 663"/>
                <a:gd name="T44" fmla="*/ 24 w 1472"/>
                <a:gd name="T45" fmla="*/ 528 h 663"/>
                <a:gd name="T46" fmla="*/ 0 w 1472"/>
                <a:gd name="T47" fmla="*/ 236 h 663"/>
                <a:gd name="T48" fmla="*/ 12 w 1472"/>
                <a:gd name="T49" fmla="*/ 180 h 663"/>
                <a:gd name="T50" fmla="*/ 45 w 1472"/>
                <a:gd name="T51" fmla="*/ 133 h 663"/>
                <a:gd name="T52" fmla="*/ 101 w 1472"/>
                <a:gd name="T53" fmla="*/ 93 h 663"/>
                <a:gd name="T54" fmla="*/ 175 w 1472"/>
                <a:gd name="T55" fmla="*/ 61 h 663"/>
                <a:gd name="T56" fmla="*/ 270 w 1472"/>
                <a:gd name="T57" fmla="*/ 37 h 663"/>
                <a:gd name="T58" fmla="*/ 382 w 1472"/>
                <a:gd name="T59" fmla="*/ 19 h 663"/>
                <a:gd name="T60" fmla="*/ 512 w 1472"/>
                <a:gd name="T61" fmla="*/ 7 h 663"/>
                <a:gd name="T62" fmla="*/ 657 w 1472"/>
                <a:gd name="T63" fmla="*/ 0 h 6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72" h="663">
                  <a:moveTo>
                    <a:pt x="736" y="0"/>
                  </a:moveTo>
                  <a:lnTo>
                    <a:pt x="815" y="0"/>
                  </a:lnTo>
                  <a:lnTo>
                    <a:pt x="889" y="3"/>
                  </a:lnTo>
                  <a:lnTo>
                    <a:pt x="961" y="7"/>
                  </a:lnTo>
                  <a:lnTo>
                    <a:pt x="1027" y="12"/>
                  </a:lnTo>
                  <a:lnTo>
                    <a:pt x="1090" y="19"/>
                  </a:lnTo>
                  <a:lnTo>
                    <a:pt x="1148" y="27"/>
                  </a:lnTo>
                  <a:lnTo>
                    <a:pt x="1203" y="37"/>
                  </a:lnTo>
                  <a:lnTo>
                    <a:pt x="1252" y="48"/>
                  </a:lnTo>
                  <a:lnTo>
                    <a:pt x="1297" y="61"/>
                  </a:lnTo>
                  <a:lnTo>
                    <a:pt x="1337" y="76"/>
                  </a:lnTo>
                  <a:lnTo>
                    <a:pt x="1372" y="93"/>
                  </a:lnTo>
                  <a:lnTo>
                    <a:pt x="1403" y="111"/>
                  </a:lnTo>
                  <a:lnTo>
                    <a:pt x="1428" y="133"/>
                  </a:lnTo>
                  <a:lnTo>
                    <a:pt x="1447" y="155"/>
                  </a:lnTo>
                  <a:lnTo>
                    <a:pt x="1460" y="180"/>
                  </a:lnTo>
                  <a:lnTo>
                    <a:pt x="1470" y="206"/>
                  </a:lnTo>
                  <a:lnTo>
                    <a:pt x="1472" y="236"/>
                  </a:lnTo>
                  <a:lnTo>
                    <a:pt x="1472" y="512"/>
                  </a:lnTo>
                  <a:lnTo>
                    <a:pt x="1451" y="527"/>
                  </a:lnTo>
                  <a:lnTo>
                    <a:pt x="1426" y="543"/>
                  </a:lnTo>
                  <a:lnTo>
                    <a:pt x="1394" y="558"/>
                  </a:lnTo>
                  <a:lnTo>
                    <a:pt x="1359" y="573"/>
                  </a:lnTo>
                  <a:lnTo>
                    <a:pt x="1319" y="588"/>
                  </a:lnTo>
                  <a:lnTo>
                    <a:pt x="1273" y="602"/>
                  </a:lnTo>
                  <a:lnTo>
                    <a:pt x="1224" y="615"/>
                  </a:lnTo>
                  <a:lnTo>
                    <a:pt x="1169" y="627"/>
                  </a:lnTo>
                  <a:lnTo>
                    <a:pt x="1109" y="637"/>
                  </a:lnTo>
                  <a:lnTo>
                    <a:pt x="1044" y="646"/>
                  </a:lnTo>
                  <a:lnTo>
                    <a:pt x="975" y="653"/>
                  </a:lnTo>
                  <a:lnTo>
                    <a:pt x="900" y="659"/>
                  </a:lnTo>
                  <a:lnTo>
                    <a:pt x="821" y="662"/>
                  </a:lnTo>
                  <a:lnTo>
                    <a:pt x="736" y="663"/>
                  </a:lnTo>
                  <a:lnTo>
                    <a:pt x="652" y="662"/>
                  </a:lnTo>
                  <a:lnTo>
                    <a:pt x="573" y="659"/>
                  </a:lnTo>
                  <a:lnTo>
                    <a:pt x="499" y="654"/>
                  </a:lnTo>
                  <a:lnTo>
                    <a:pt x="430" y="647"/>
                  </a:lnTo>
                  <a:lnTo>
                    <a:pt x="367" y="638"/>
                  </a:lnTo>
                  <a:lnTo>
                    <a:pt x="308" y="628"/>
                  </a:lnTo>
                  <a:lnTo>
                    <a:pt x="254" y="617"/>
                  </a:lnTo>
                  <a:lnTo>
                    <a:pt x="204" y="604"/>
                  </a:lnTo>
                  <a:lnTo>
                    <a:pt x="160" y="591"/>
                  </a:lnTo>
                  <a:lnTo>
                    <a:pt x="120" y="575"/>
                  </a:lnTo>
                  <a:lnTo>
                    <a:pt x="83" y="560"/>
                  </a:lnTo>
                  <a:lnTo>
                    <a:pt x="52" y="544"/>
                  </a:lnTo>
                  <a:lnTo>
                    <a:pt x="24" y="528"/>
                  </a:lnTo>
                  <a:lnTo>
                    <a:pt x="0" y="512"/>
                  </a:lnTo>
                  <a:lnTo>
                    <a:pt x="0" y="236"/>
                  </a:lnTo>
                  <a:lnTo>
                    <a:pt x="3" y="206"/>
                  </a:lnTo>
                  <a:lnTo>
                    <a:pt x="12" y="180"/>
                  </a:lnTo>
                  <a:lnTo>
                    <a:pt x="26" y="155"/>
                  </a:lnTo>
                  <a:lnTo>
                    <a:pt x="45" y="133"/>
                  </a:lnTo>
                  <a:lnTo>
                    <a:pt x="70" y="111"/>
                  </a:lnTo>
                  <a:lnTo>
                    <a:pt x="101" y="93"/>
                  </a:lnTo>
                  <a:lnTo>
                    <a:pt x="135" y="76"/>
                  </a:lnTo>
                  <a:lnTo>
                    <a:pt x="175" y="61"/>
                  </a:lnTo>
                  <a:lnTo>
                    <a:pt x="221" y="48"/>
                  </a:lnTo>
                  <a:lnTo>
                    <a:pt x="270" y="37"/>
                  </a:lnTo>
                  <a:lnTo>
                    <a:pt x="323" y="27"/>
                  </a:lnTo>
                  <a:lnTo>
                    <a:pt x="382" y="19"/>
                  </a:lnTo>
                  <a:lnTo>
                    <a:pt x="444" y="12"/>
                  </a:lnTo>
                  <a:lnTo>
                    <a:pt x="512" y="7"/>
                  </a:lnTo>
                  <a:lnTo>
                    <a:pt x="583" y="3"/>
                  </a:lnTo>
                  <a:lnTo>
                    <a:pt x="657" y="0"/>
                  </a:lnTo>
                  <a:lnTo>
                    <a:pt x="73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x-none"/>
            </a:p>
          </p:txBody>
        </p:sp>
        <p:sp>
          <p:nvSpPr>
            <p:cNvPr id="76" name="Freeform 22"/>
            <p:cNvSpPr>
              <a:spLocks/>
            </p:cNvSpPr>
            <p:nvPr/>
          </p:nvSpPr>
          <p:spPr bwMode="auto">
            <a:xfrm>
              <a:off x="1753" y="1083"/>
              <a:ext cx="737" cy="214"/>
            </a:xfrm>
            <a:custGeom>
              <a:avLst/>
              <a:gdLst>
                <a:gd name="T0" fmla="*/ 0 w 1472"/>
                <a:gd name="T1" fmla="*/ 0 h 429"/>
                <a:gd name="T2" fmla="*/ 17 w 1472"/>
                <a:gd name="T3" fmla="*/ 12 h 429"/>
                <a:gd name="T4" fmla="*/ 40 w 1472"/>
                <a:gd name="T5" fmla="*/ 26 h 429"/>
                <a:gd name="T6" fmla="*/ 69 w 1472"/>
                <a:gd name="T7" fmla="*/ 40 h 429"/>
                <a:gd name="T8" fmla="*/ 104 w 1472"/>
                <a:gd name="T9" fmla="*/ 54 h 429"/>
                <a:gd name="T10" fmla="*/ 144 w 1472"/>
                <a:gd name="T11" fmla="*/ 68 h 429"/>
                <a:gd name="T12" fmla="*/ 189 w 1472"/>
                <a:gd name="T13" fmla="*/ 82 h 429"/>
                <a:gd name="T14" fmla="*/ 241 w 1472"/>
                <a:gd name="T15" fmla="*/ 96 h 429"/>
                <a:gd name="T16" fmla="*/ 296 w 1472"/>
                <a:gd name="T17" fmla="*/ 109 h 429"/>
                <a:gd name="T18" fmla="*/ 358 w 1472"/>
                <a:gd name="T19" fmla="*/ 121 h 429"/>
                <a:gd name="T20" fmla="*/ 424 w 1472"/>
                <a:gd name="T21" fmla="*/ 131 h 429"/>
                <a:gd name="T22" fmla="*/ 495 w 1472"/>
                <a:gd name="T23" fmla="*/ 140 h 429"/>
                <a:gd name="T24" fmla="*/ 571 w 1472"/>
                <a:gd name="T25" fmla="*/ 147 h 429"/>
                <a:gd name="T26" fmla="*/ 651 w 1472"/>
                <a:gd name="T27" fmla="*/ 151 h 429"/>
                <a:gd name="T28" fmla="*/ 736 w 1472"/>
                <a:gd name="T29" fmla="*/ 152 h 429"/>
                <a:gd name="T30" fmla="*/ 821 w 1472"/>
                <a:gd name="T31" fmla="*/ 151 h 429"/>
                <a:gd name="T32" fmla="*/ 900 w 1472"/>
                <a:gd name="T33" fmla="*/ 148 h 429"/>
                <a:gd name="T34" fmla="*/ 974 w 1472"/>
                <a:gd name="T35" fmla="*/ 143 h 429"/>
                <a:gd name="T36" fmla="*/ 1042 w 1472"/>
                <a:gd name="T37" fmla="*/ 135 h 429"/>
                <a:gd name="T38" fmla="*/ 1107 w 1472"/>
                <a:gd name="T39" fmla="*/ 126 h 429"/>
                <a:gd name="T40" fmla="*/ 1166 w 1472"/>
                <a:gd name="T41" fmla="*/ 116 h 429"/>
                <a:gd name="T42" fmla="*/ 1220 w 1472"/>
                <a:gd name="T43" fmla="*/ 104 h 429"/>
                <a:gd name="T44" fmla="*/ 1269 w 1472"/>
                <a:gd name="T45" fmla="*/ 92 h 429"/>
                <a:gd name="T46" fmla="*/ 1315 w 1472"/>
                <a:gd name="T47" fmla="*/ 78 h 429"/>
                <a:gd name="T48" fmla="*/ 1355 w 1472"/>
                <a:gd name="T49" fmla="*/ 64 h 429"/>
                <a:gd name="T50" fmla="*/ 1390 w 1472"/>
                <a:gd name="T51" fmla="*/ 48 h 429"/>
                <a:gd name="T52" fmla="*/ 1423 w 1472"/>
                <a:gd name="T53" fmla="*/ 33 h 429"/>
                <a:gd name="T54" fmla="*/ 1450 w 1472"/>
                <a:gd name="T55" fmla="*/ 16 h 429"/>
                <a:gd name="T56" fmla="*/ 1472 w 1472"/>
                <a:gd name="T57" fmla="*/ 0 h 429"/>
                <a:gd name="T58" fmla="*/ 1472 w 1472"/>
                <a:gd name="T59" fmla="*/ 277 h 429"/>
                <a:gd name="T60" fmla="*/ 1451 w 1472"/>
                <a:gd name="T61" fmla="*/ 293 h 429"/>
                <a:gd name="T62" fmla="*/ 1425 w 1472"/>
                <a:gd name="T63" fmla="*/ 308 h 429"/>
                <a:gd name="T64" fmla="*/ 1394 w 1472"/>
                <a:gd name="T65" fmla="*/ 324 h 429"/>
                <a:gd name="T66" fmla="*/ 1359 w 1472"/>
                <a:gd name="T67" fmla="*/ 338 h 429"/>
                <a:gd name="T68" fmla="*/ 1319 w 1472"/>
                <a:gd name="T69" fmla="*/ 353 h 429"/>
                <a:gd name="T70" fmla="*/ 1273 w 1472"/>
                <a:gd name="T71" fmla="*/ 367 h 429"/>
                <a:gd name="T72" fmla="*/ 1224 w 1472"/>
                <a:gd name="T73" fmla="*/ 380 h 429"/>
                <a:gd name="T74" fmla="*/ 1169 w 1472"/>
                <a:gd name="T75" fmla="*/ 392 h 429"/>
                <a:gd name="T76" fmla="*/ 1109 w 1472"/>
                <a:gd name="T77" fmla="*/ 402 h 429"/>
                <a:gd name="T78" fmla="*/ 1044 w 1472"/>
                <a:gd name="T79" fmla="*/ 411 h 429"/>
                <a:gd name="T80" fmla="*/ 975 w 1472"/>
                <a:gd name="T81" fmla="*/ 419 h 429"/>
                <a:gd name="T82" fmla="*/ 900 w 1472"/>
                <a:gd name="T83" fmla="*/ 424 h 429"/>
                <a:gd name="T84" fmla="*/ 821 w 1472"/>
                <a:gd name="T85" fmla="*/ 428 h 429"/>
                <a:gd name="T86" fmla="*/ 736 w 1472"/>
                <a:gd name="T87" fmla="*/ 429 h 429"/>
                <a:gd name="T88" fmla="*/ 652 w 1472"/>
                <a:gd name="T89" fmla="*/ 428 h 429"/>
                <a:gd name="T90" fmla="*/ 573 w 1472"/>
                <a:gd name="T91" fmla="*/ 424 h 429"/>
                <a:gd name="T92" fmla="*/ 499 w 1472"/>
                <a:gd name="T93" fmla="*/ 419 h 429"/>
                <a:gd name="T94" fmla="*/ 430 w 1472"/>
                <a:gd name="T95" fmla="*/ 412 h 429"/>
                <a:gd name="T96" fmla="*/ 367 w 1472"/>
                <a:gd name="T97" fmla="*/ 404 h 429"/>
                <a:gd name="T98" fmla="*/ 308 w 1472"/>
                <a:gd name="T99" fmla="*/ 394 h 429"/>
                <a:gd name="T100" fmla="*/ 254 w 1472"/>
                <a:gd name="T101" fmla="*/ 382 h 429"/>
                <a:gd name="T102" fmla="*/ 204 w 1472"/>
                <a:gd name="T103" fmla="*/ 369 h 429"/>
                <a:gd name="T104" fmla="*/ 160 w 1472"/>
                <a:gd name="T105" fmla="*/ 355 h 429"/>
                <a:gd name="T106" fmla="*/ 120 w 1472"/>
                <a:gd name="T107" fmla="*/ 341 h 429"/>
                <a:gd name="T108" fmla="*/ 83 w 1472"/>
                <a:gd name="T109" fmla="*/ 326 h 429"/>
                <a:gd name="T110" fmla="*/ 52 w 1472"/>
                <a:gd name="T111" fmla="*/ 310 h 429"/>
                <a:gd name="T112" fmla="*/ 24 w 1472"/>
                <a:gd name="T113" fmla="*/ 294 h 429"/>
                <a:gd name="T114" fmla="*/ 0 w 1472"/>
                <a:gd name="T115" fmla="*/ 277 h 429"/>
                <a:gd name="T116" fmla="*/ 0 w 1472"/>
                <a:gd name="T117" fmla="*/ 0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472" h="429">
                  <a:moveTo>
                    <a:pt x="0" y="0"/>
                  </a:moveTo>
                  <a:lnTo>
                    <a:pt x="17" y="12"/>
                  </a:lnTo>
                  <a:lnTo>
                    <a:pt x="40" y="26"/>
                  </a:lnTo>
                  <a:lnTo>
                    <a:pt x="69" y="40"/>
                  </a:lnTo>
                  <a:lnTo>
                    <a:pt x="104" y="54"/>
                  </a:lnTo>
                  <a:lnTo>
                    <a:pt x="144" y="68"/>
                  </a:lnTo>
                  <a:lnTo>
                    <a:pt x="189" y="82"/>
                  </a:lnTo>
                  <a:lnTo>
                    <a:pt x="241" y="96"/>
                  </a:lnTo>
                  <a:lnTo>
                    <a:pt x="296" y="109"/>
                  </a:lnTo>
                  <a:lnTo>
                    <a:pt x="358" y="121"/>
                  </a:lnTo>
                  <a:lnTo>
                    <a:pt x="424" y="131"/>
                  </a:lnTo>
                  <a:lnTo>
                    <a:pt x="495" y="140"/>
                  </a:lnTo>
                  <a:lnTo>
                    <a:pt x="571" y="147"/>
                  </a:lnTo>
                  <a:lnTo>
                    <a:pt x="651" y="151"/>
                  </a:lnTo>
                  <a:lnTo>
                    <a:pt x="736" y="152"/>
                  </a:lnTo>
                  <a:lnTo>
                    <a:pt x="821" y="151"/>
                  </a:lnTo>
                  <a:lnTo>
                    <a:pt x="900" y="148"/>
                  </a:lnTo>
                  <a:lnTo>
                    <a:pt x="974" y="143"/>
                  </a:lnTo>
                  <a:lnTo>
                    <a:pt x="1042" y="135"/>
                  </a:lnTo>
                  <a:lnTo>
                    <a:pt x="1107" y="126"/>
                  </a:lnTo>
                  <a:lnTo>
                    <a:pt x="1166" y="116"/>
                  </a:lnTo>
                  <a:lnTo>
                    <a:pt x="1220" y="104"/>
                  </a:lnTo>
                  <a:lnTo>
                    <a:pt x="1269" y="92"/>
                  </a:lnTo>
                  <a:lnTo>
                    <a:pt x="1315" y="78"/>
                  </a:lnTo>
                  <a:lnTo>
                    <a:pt x="1355" y="64"/>
                  </a:lnTo>
                  <a:lnTo>
                    <a:pt x="1390" y="48"/>
                  </a:lnTo>
                  <a:lnTo>
                    <a:pt x="1423" y="33"/>
                  </a:lnTo>
                  <a:lnTo>
                    <a:pt x="1450" y="16"/>
                  </a:lnTo>
                  <a:lnTo>
                    <a:pt x="1472" y="0"/>
                  </a:lnTo>
                  <a:lnTo>
                    <a:pt x="1472" y="277"/>
                  </a:lnTo>
                  <a:lnTo>
                    <a:pt x="1451" y="293"/>
                  </a:lnTo>
                  <a:lnTo>
                    <a:pt x="1425" y="308"/>
                  </a:lnTo>
                  <a:lnTo>
                    <a:pt x="1394" y="324"/>
                  </a:lnTo>
                  <a:lnTo>
                    <a:pt x="1359" y="338"/>
                  </a:lnTo>
                  <a:lnTo>
                    <a:pt x="1319" y="353"/>
                  </a:lnTo>
                  <a:lnTo>
                    <a:pt x="1273" y="367"/>
                  </a:lnTo>
                  <a:lnTo>
                    <a:pt x="1224" y="380"/>
                  </a:lnTo>
                  <a:lnTo>
                    <a:pt x="1169" y="392"/>
                  </a:lnTo>
                  <a:lnTo>
                    <a:pt x="1109" y="402"/>
                  </a:lnTo>
                  <a:lnTo>
                    <a:pt x="1044" y="411"/>
                  </a:lnTo>
                  <a:lnTo>
                    <a:pt x="975" y="419"/>
                  </a:lnTo>
                  <a:lnTo>
                    <a:pt x="900" y="424"/>
                  </a:lnTo>
                  <a:lnTo>
                    <a:pt x="821" y="428"/>
                  </a:lnTo>
                  <a:lnTo>
                    <a:pt x="736" y="429"/>
                  </a:lnTo>
                  <a:lnTo>
                    <a:pt x="652" y="428"/>
                  </a:lnTo>
                  <a:lnTo>
                    <a:pt x="573" y="424"/>
                  </a:lnTo>
                  <a:lnTo>
                    <a:pt x="499" y="419"/>
                  </a:lnTo>
                  <a:lnTo>
                    <a:pt x="430" y="412"/>
                  </a:lnTo>
                  <a:lnTo>
                    <a:pt x="367" y="404"/>
                  </a:lnTo>
                  <a:lnTo>
                    <a:pt x="308" y="394"/>
                  </a:lnTo>
                  <a:lnTo>
                    <a:pt x="254" y="382"/>
                  </a:lnTo>
                  <a:lnTo>
                    <a:pt x="204" y="369"/>
                  </a:lnTo>
                  <a:lnTo>
                    <a:pt x="160" y="355"/>
                  </a:lnTo>
                  <a:lnTo>
                    <a:pt x="120" y="341"/>
                  </a:lnTo>
                  <a:lnTo>
                    <a:pt x="83" y="326"/>
                  </a:lnTo>
                  <a:lnTo>
                    <a:pt x="52" y="310"/>
                  </a:lnTo>
                  <a:lnTo>
                    <a:pt x="24" y="294"/>
                  </a:lnTo>
                  <a:lnTo>
                    <a:pt x="0" y="27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x-none"/>
            </a:p>
          </p:txBody>
        </p:sp>
      </p:grpSp>
      <p:grpSp>
        <p:nvGrpSpPr>
          <p:cNvPr id="77" name="Group 35"/>
          <p:cNvGrpSpPr>
            <a:grpSpLocks noChangeAspect="1"/>
          </p:cNvGrpSpPr>
          <p:nvPr/>
        </p:nvGrpSpPr>
        <p:grpSpPr bwMode="auto">
          <a:xfrm>
            <a:off x="5057912" y="3091111"/>
            <a:ext cx="206474" cy="194063"/>
            <a:chOff x="3090" y="689"/>
            <a:chExt cx="450" cy="564"/>
          </a:xfrm>
          <a:solidFill>
            <a:schemeClr val="tx2"/>
          </a:solidFill>
        </p:grpSpPr>
        <p:sp>
          <p:nvSpPr>
            <p:cNvPr id="78" name="Rectangle 37"/>
            <p:cNvSpPr>
              <a:spLocks noChangeArrowheads="1"/>
            </p:cNvSpPr>
            <p:nvPr/>
          </p:nvSpPr>
          <p:spPr bwMode="auto">
            <a:xfrm>
              <a:off x="3305" y="1137"/>
              <a:ext cx="20" cy="60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x-none">
                <a:solidFill>
                  <a:srgbClr val="646464"/>
                </a:solidFill>
              </a:endParaRPr>
            </a:p>
          </p:txBody>
        </p:sp>
        <p:sp>
          <p:nvSpPr>
            <p:cNvPr id="79" name="Freeform 38"/>
            <p:cNvSpPr>
              <a:spLocks/>
            </p:cNvSpPr>
            <p:nvPr/>
          </p:nvSpPr>
          <p:spPr bwMode="auto">
            <a:xfrm>
              <a:off x="3286" y="1196"/>
              <a:ext cx="57" cy="57"/>
            </a:xfrm>
            <a:custGeom>
              <a:avLst/>
              <a:gdLst>
                <a:gd name="T0" fmla="*/ 172 w 343"/>
                <a:gd name="T1" fmla="*/ 0 h 343"/>
                <a:gd name="T2" fmla="*/ 203 w 343"/>
                <a:gd name="T3" fmla="*/ 3 h 343"/>
                <a:gd name="T4" fmla="*/ 231 w 343"/>
                <a:gd name="T5" fmla="*/ 11 h 343"/>
                <a:gd name="T6" fmla="*/ 258 w 343"/>
                <a:gd name="T7" fmla="*/ 23 h 343"/>
                <a:gd name="T8" fmla="*/ 282 w 343"/>
                <a:gd name="T9" fmla="*/ 40 h 343"/>
                <a:gd name="T10" fmla="*/ 303 w 343"/>
                <a:gd name="T11" fmla="*/ 61 h 343"/>
                <a:gd name="T12" fmla="*/ 320 w 343"/>
                <a:gd name="T13" fmla="*/ 85 h 343"/>
                <a:gd name="T14" fmla="*/ 332 w 343"/>
                <a:gd name="T15" fmla="*/ 112 h 343"/>
                <a:gd name="T16" fmla="*/ 341 w 343"/>
                <a:gd name="T17" fmla="*/ 141 h 343"/>
                <a:gd name="T18" fmla="*/ 343 w 343"/>
                <a:gd name="T19" fmla="*/ 172 h 343"/>
                <a:gd name="T20" fmla="*/ 341 w 343"/>
                <a:gd name="T21" fmla="*/ 203 h 343"/>
                <a:gd name="T22" fmla="*/ 332 w 343"/>
                <a:gd name="T23" fmla="*/ 232 h 343"/>
                <a:gd name="T24" fmla="*/ 320 w 343"/>
                <a:gd name="T25" fmla="*/ 258 h 343"/>
                <a:gd name="T26" fmla="*/ 303 w 343"/>
                <a:gd name="T27" fmla="*/ 282 h 343"/>
                <a:gd name="T28" fmla="*/ 282 w 343"/>
                <a:gd name="T29" fmla="*/ 303 h 343"/>
                <a:gd name="T30" fmla="*/ 258 w 343"/>
                <a:gd name="T31" fmla="*/ 319 h 343"/>
                <a:gd name="T32" fmla="*/ 231 w 343"/>
                <a:gd name="T33" fmla="*/ 333 h 343"/>
                <a:gd name="T34" fmla="*/ 203 w 343"/>
                <a:gd name="T35" fmla="*/ 340 h 343"/>
                <a:gd name="T36" fmla="*/ 172 w 343"/>
                <a:gd name="T37" fmla="*/ 343 h 343"/>
                <a:gd name="T38" fmla="*/ 141 w 343"/>
                <a:gd name="T39" fmla="*/ 340 h 343"/>
                <a:gd name="T40" fmla="*/ 112 w 343"/>
                <a:gd name="T41" fmla="*/ 333 h 343"/>
                <a:gd name="T42" fmla="*/ 85 w 343"/>
                <a:gd name="T43" fmla="*/ 319 h 343"/>
                <a:gd name="T44" fmla="*/ 61 w 343"/>
                <a:gd name="T45" fmla="*/ 303 h 343"/>
                <a:gd name="T46" fmla="*/ 41 w 343"/>
                <a:gd name="T47" fmla="*/ 282 h 343"/>
                <a:gd name="T48" fmla="*/ 23 w 343"/>
                <a:gd name="T49" fmla="*/ 258 h 343"/>
                <a:gd name="T50" fmla="*/ 11 w 343"/>
                <a:gd name="T51" fmla="*/ 232 h 343"/>
                <a:gd name="T52" fmla="*/ 3 w 343"/>
                <a:gd name="T53" fmla="*/ 203 h 343"/>
                <a:gd name="T54" fmla="*/ 0 w 343"/>
                <a:gd name="T55" fmla="*/ 172 h 343"/>
                <a:gd name="T56" fmla="*/ 3 w 343"/>
                <a:gd name="T57" fmla="*/ 141 h 343"/>
                <a:gd name="T58" fmla="*/ 11 w 343"/>
                <a:gd name="T59" fmla="*/ 112 h 343"/>
                <a:gd name="T60" fmla="*/ 23 w 343"/>
                <a:gd name="T61" fmla="*/ 85 h 343"/>
                <a:gd name="T62" fmla="*/ 41 w 343"/>
                <a:gd name="T63" fmla="*/ 61 h 343"/>
                <a:gd name="T64" fmla="*/ 61 w 343"/>
                <a:gd name="T65" fmla="*/ 40 h 343"/>
                <a:gd name="T66" fmla="*/ 85 w 343"/>
                <a:gd name="T67" fmla="*/ 23 h 343"/>
                <a:gd name="T68" fmla="*/ 112 w 343"/>
                <a:gd name="T69" fmla="*/ 11 h 343"/>
                <a:gd name="T70" fmla="*/ 141 w 343"/>
                <a:gd name="T71" fmla="*/ 3 h 343"/>
                <a:gd name="T72" fmla="*/ 172 w 343"/>
                <a:gd name="T73" fmla="*/ 0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43" h="343">
                  <a:moveTo>
                    <a:pt x="172" y="0"/>
                  </a:moveTo>
                  <a:lnTo>
                    <a:pt x="203" y="3"/>
                  </a:lnTo>
                  <a:lnTo>
                    <a:pt x="231" y="11"/>
                  </a:lnTo>
                  <a:lnTo>
                    <a:pt x="258" y="23"/>
                  </a:lnTo>
                  <a:lnTo>
                    <a:pt x="282" y="40"/>
                  </a:lnTo>
                  <a:lnTo>
                    <a:pt x="303" y="61"/>
                  </a:lnTo>
                  <a:lnTo>
                    <a:pt x="320" y="85"/>
                  </a:lnTo>
                  <a:lnTo>
                    <a:pt x="332" y="112"/>
                  </a:lnTo>
                  <a:lnTo>
                    <a:pt x="341" y="141"/>
                  </a:lnTo>
                  <a:lnTo>
                    <a:pt x="343" y="172"/>
                  </a:lnTo>
                  <a:lnTo>
                    <a:pt x="341" y="203"/>
                  </a:lnTo>
                  <a:lnTo>
                    <a:pt x="332" y="232"/>
                  </a:lnTo>
                  <a:lnTo>
                    <a:pt x="320" y="258"/>
                  </a:lnTo>
                  <a:lnTo>
                    <a:pt x="303" y="282"/>
                  </a:lnTo>
                  <a:lnTo>
                    <a:pt x="282" y="303"/>
                  </a:lnTo>
                  <a:lnTo>
                    <a:pt x="258" y="319"/>
                  </a:lnTo>
                  <a:lnTo>
                    <a:pt x="231" y="333"/>
                  </a:lnTo>
                  <a:lnTo>
                    <a:pt x="203" y="340"/>
                  </a:lnTo>
                  <a:lnTo>
                    <a:pt x="172" y="343"/>
                  </a:lnTo>
                  <a:lnTo>
                    <a:pt x="141" y="340"/>
                  </a:lnTo>
                  <a:lnTo>
                    <a:pt x="112" y="333"/>
                  </a:lnTo>
                  <a:lnTo>
                    <a:pt x="85" y="319"/>
                  </a:lnTo>
                  <a:lnTo>
                    <a:pt x="61" y="303"/>
                  </a:lnTo>
                  <a:lnTo>
                    <a:pt x="41" y="282"/>
                  </a:lnTo>
                  <a:lnTo>
                    <a:pt x="23" y="258"/>
                  </a:lnTo>
                  <a:lnTo>
                    <a:pt x="11" y="232"/>
                  </a:lnTo>
                  <a:lnTo>
                    <a:pt x="3" y="203"/>
                  </a:lnTo>
                  <a:lnTo>
                    <a:pt x="0" y="172"/>
                  </a:lnTo>
                  <a:lnTo>
                    <a:pt x="3" y="141"/>
                  </a:lnTo>
                  <a:lnTo>
                    <a:pt x="11" y="112"/>
                  </a:lnTo>
                  <a:lnTo>
                    <a:pt x="23" y="85"/>
                  </a:lnTo>
                  <a:lnTo>
                    <a:pt x="41" y="61"/>
                  </a:lnTo>
                  <a:lnTo>
                    <a:pt x="61" y="40"/>
                  </a:lnTo>
                  <a:lnTo>
                    <a:pt x="85" y="23"/>
                  </a:lnTo>
                  <a:lnTo>
                    <a:pt x="112" y="11"/>
                  </a:lnTo>
                  <a:lnTo>
                    <a:pt x="141" y="3"/>
                  </a:lnTo>
                  <a:lnTo>
                    <a:pt x="17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x-none">
                <a:solidFill>
                  <a:srgbClr val="646464"/>
                </a:solidFill>
              </a:endParaRPr>
            </a:p>
          </p:txBody>
        </p:sp>
        <p:sp>
          <p:nvSpPr>
            <p:cNvPr id="80" name="Freeform 39"/>
            <p:cNvSpPr>
              <a:spLocks noEditPoints="1"/>
            </p:cNvSpPr>
            <p:nvPr/>
          </p:nvSpPr>
          <p:spPr bwMode="auto">
            <a:xfrm>
              <a:off x="3090" y="1209"/>
              <a:ext cx="450" cy="35"/>
            </a:xfrm>
            <a:custGeom>
              <a:avLst/>
              <a:gdLst>
                <a:gd name="T0" fmla="*/ 1620 w 2700"/>
                <a:gd name="T1" fmla="*/ 0 h 211"/>
                <a:gd name="T2" fmla="*/ 2700 w 2700"/>
                <a:gd name="T3" fmla="*/ 0 h 211"/>
                <a:gd name="T4" fmla="*/ 2700 w 2700"/>
                <a:gd name="T5" fmla="*/ 211 h 211"/>
                <a:gd name="T6" fmla="*/ 1609 w 2700"/>
                <a:gd name="T7" fmla="*/ 211 h 211"/>
                <a:gd name="T8" fmla="*/ 1623 w 2700"/>
                <a:gd name="T9" fmla="*/ 174 h 211"/>
                <a:gd name="T10" fmla="*/ 1632 w 2700"/>
                <a:gd name="T11" fmla="*/ 134 h 211"/>
                <a:gd name="T12" fmla="*/ 1635 w 2700"/>
                <a:gd name="T13" fmla="*/ 92 h 211"/>
                <a:gd name="T14" fmla="*/ 1633 w 2700"/>
                <a:gd name="T15" fmla="*/ 60 h 211"/>
                <a:gd name="T16" fmla="*/ 1628 w 2700"/>
                <a:gd name="T17" fmla="*/ 30 h 211"/>
                <a:gd name="T18" fmla="*/ 1620 w 2700"/>
                <a:gd name="T19" fmla="*/ 0 h 211"/>
                <a:gd name="T20" fmla="*/ 0 w 2700"/>
                <a:gd name="T21" fmla="*/ 0 h 211"/>
                <a:gd name="T22" fmla="*/ 1073 w 2700"/>
                <a:gd name="T23" fmla="*/ 0 h 211"/>
                <a:gd name="T24" fmla="*/ 1065 w 2700"/>
                <a:gd name="T25" fmla="*/ 30 h 211"/>
                <a:gd name="T26" fmla="*/ 1060 w 2700"/>
                <a:gd name="T27" fmla="*/ 60 h 211"/>
                <a:gd name="T28" fmla="*/ 1058 w 2700"/>
                <a:gd name="T29" fmla="*/ 92 h 211"/>
                <a:gd name="T30" fmla="*/ 1061 w 2700"/>
                <a:gd name="T31" fmla="*/ 134 h 211"/>
                <a:gd name="T32" fmla="*/ 1070 w 2700"/>
                <a:gd name="T33" fmla="*/ 174 h 211"/>
                <a:gd name="T34" fmla="*/ 1085 w 2700"/>
                <a:gd name="T35" fmla="*/ 211 h 211"/>
                <a:gd name="T36" fmla="*/ 0 w 2700"/>
                <a:gd name="T37" fmla="*/ 211 h 211"/>
                <a:gd name="T38" fmla="*/ 0 w 2700"/>
                <a:gd name="T39" fmla="*/ 0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700" h="211">
                  <a:moveTo>
                    <a:pt x="1620" y="0"/>
                  </a:moveTo>
                  <a:lnTo>
                    <a:pt x="2700" y="0"/>
                  </a:lnTo>
                  <a:lnTo>
                    <a:pt x="2700" y="211"/>
                  </a:lnTo>
                  <a:lnTo>
                    <a:pt x="1609" y="211"/>
                  </a:lnTo>
                  <a:lnTo>
                    <a:pt x="1623" y="174"/>
                  </a:lnTo>
                  <a:lnTo>
                    <a:pt x="1632" y="134"/>
                  </a:lnTo>
                  <a:lnTo>
                    <a:pt x="1635" y="92"/>
                  </a:lnTo>
                  <a:lnTo>
                    <a:pt x="1633" y="60"/>
                  </a:lnTo>
                  <a:lnTo>
                    <a:pt x="1628" y="30"/>
                  </a:lnTo>
                  <a:lnTo>
                    <a:pt x="1620" y="0"/>
                  </a:lnTo>
                  <a:close/>
                  <a:moveTo>
                    <a:pt x="0" y="0"/>
                  </a:moveTo>
                  <a:lnTo>
                    <a:pt x="1073" y="0"/>
                  </a:lnTo>
                  <a:lnTo>
                    <a:pt x="1065" y="30"/>
                  </a:lnTo>
                  <a:lnTo>
                    <a:pt x="1060" y="60"/>
                  </a:lnTo>
                  <a:lnTo>
                    <a:pt x="1058" y="92"/>
                  </a:lnTo>
                  <a:lnTo>
                    <a:pt x="1061" y="134"/>
                  </a:lnTo>
                  <a:lnTo>
                    <a:pt x="1070" y="174"/>
                  </a:lnTo>
                  <a:lnTo>
                    <a:pt x="1085" y="211"/>
                  </a:lnTo>
                  <a:lnTo>
                    <a:pt x="0" y="21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x-none">
                <a:solidFill>
                  <a:srgbClr val="646464"/>
                </a:solidFill>
              </a:endParaRPr>
            </a:p>
          </p:txBody>
        </p:sp>
        <p:sp>
          <p:nvSpPr>
            <p:cNvPr id="81" name="Freeform 40"/>
            <p:cNvSpPr>
              <a:spLocks noEditPoints="1"/>
            </p:cNvSpPr>
            <p:nvPr/>
          </p:nvSpPr>
          <p:spPr bwMode="auto">
            <a:xfrm>
              <a:off x="3090" y="689"/>
              <a:ext cx="450" cy="125"/>
            </a:xfrm>
            <a:custGeom>
              <a:avLst/>
              <a:gdLst>
                <a:gd name="T0" fmla="*/ 2263 w 2700"/>
                <a:gd name="T1" fmla="*/ 251 h 752"/>
                <a:gd name="T2" fmla="*/ 2263 w 2700"/>
                <a:gd name="T3" fmla="*/ 463 h 752"/>
                <a:gd name="T4" fmla="*/ 2489 w 2700"/>
                <a:gd name="T5" fmla="*/ 463 h 752"/>
                <a:gd name="T6" fmla="*/ 2489 w 2700"/>
                <a:gd name="T7" fmla="*/ 251 h 752"/>
                <a:gd name="T8" fmla="*/ 2263 w 2700"/>
                <a:gd name="T9" fmla="*/ 251 h 752"/>
                <a:gd name="T10" fmla="*/ 134 w 2700"/>
                <a:gd name="T11" fmla="*/ 0 h 752"/>
                <a:gd name="T12" fmla="*/ 2566 w 2700"/>
                <a:gd name="T13" fmla="*/ 0 h 752"/>
                <a:gd name="T14" fmla="*/ 2593 w 2700"/>
                <a:gd name="T15" fmla="*/ 4 h 752"/>
                <a:gd name="T16" fmla="*/ 2619 w 2700"/>
                <a:gd name="T17" fmla="*/ 11 h 752"/>
                <a:gd name="T18" fmla="*/ 2642 w 2700"/>
                <a:gd name="T19" fmla="*/ 23 h 752"/>
                <a:gd name="T20" fmla="*/ 2661 w 2700"/>
                <a:gd name="T21" fmla="*/ 40 h 752"/>
                <a:gd name="T22" fmla="*/ 2678 w 2700"/>
                <a:gd name="T23" fmla="*/ 60 h 752"/>
                <a:gd name="T24" fmla="*/ 2690 w 2700"/>
                <a:gd name="T25" fmla="*/ 83 h 752"/>
                <a:gd name="T26" fmla="*/ 2698 w 2700"/>
                <a:gd name="T27" fmla="*/ 108 h 752"/>
                <a:gd name="T28" fmla="*/ 2700 w 2700"/>
                <a:gd name="T29" fmla="*/ 136 h 752"/>
                <a:gd name="T30" fmla="*/ 2700 w 2700"/>
                <a:gd name="T31" fmla="*/ 617 h 752"/>
                <a:gd name="T32" fmla="*/ 2698 w 2700"/>
                <a:gd name="T33" fmla="*/ 645 h 752"/>
                <a:gd name="T34" fmla="*/ 2690 w 2700"/>
                <a:gd name="T35" fmla="*/ 670 h 752"/>
                <a:gd name="T36" fmla="*/ 2678 w 2700"/>
                <a:gd name="T37" fmla="*/ 692 h 752"/>
                <a:gd name="T38" fmla="*/ 2661 w 2700"/>
                <a:gd name="T39" fmla="*/ 713 h 752"/>
                <a:gd name="T40" fmla="*/ 2642 w 2700"/>
                <a:gd name="T41" fmla="*/ 729 h 752"/>
                <a:gd name="T42" fmla="*/ 2619 w 2700"/>
                <a:gd name="T43" fmla="*/ 742 h 752"/>
                <a:gd name="T44" fmla="*/ 2593 w 2700"/>
                <a:gd name="T45" fmla="*/ 749 h 752"/>
                <a:gd name="T46" fmla="*/ 2566 w 2700"/>
                <a:gd name="T47" fmla="*/ 752 h 752"/>
                <a:gd name="T48" fmla="*/ 134 w 2700"/>
                <a:gd name="T49" fmla="*/ 752 h 752"/>
                <a:gd name="T50" fmla="*/ 107 w 2700"/>
                <a:gd name="T51" fmla="*/ 749 h 752"/>
                <a:gd name="T52" fmla="*/ 82 w 2700"/>
                <a:gd name="T53" fmla="*/ 742 h 752"/>
                <a:gd name="T54" fmla="*/ 60 w 2700"/>
                <a:gd name="T55" fmla="*/ 729 h 752"/>
                <a:gd name="T56" fmla="*/ 39 w 2700"/>
                <a:gd name="T57" fmla="*/ 713 h 752"/>
                <a:gd name="T58" fmla="*/ 23 w 2700"/>
                <a:gd name="T59" fmla="*/ 692 h 752"/>
                <a:gd name="T60" fmla="*/ 10 w 2700"/>
                <a:gd name="T61" fmla="*/ 670 h 752"/>
                <a:gd name="T62" fmla="*/ 3 w 2700"/>
                <a:gd name="T63" fmla="*/ 645 h 752"/>
                <a:gd name="T64" fmla="*/ 0 w 2700"/>
                <a:gd name="T65" fmla="*/ 617 h 752"/>
                <a:gd name="T66" fmla="*/ 0 w 2700"/>
                <a:gd name="T67" fmla="*/ 136 h 752"/>
                <a:gd name="T68" fmla="*/ 3 w 2700"/>
                <a:gd name="T69" fmla="*/ 108 h 752"/>
                <a:gd name="T70" fmla="*/ 10 w 2700"/>
                <a:gd name="T71" fmla="*/ 83 h 752"/>
                <a:gd name="T72" fmla="*/ 23 w 2700"/>
                <a:gd name="T73" fmla="*/ 60 h 752"/>
                <a:gd name="T74" fmla="*/ 39 w 2700"/>
                <a:gd name="T75" fmla="*/ 40 h 752"/>
                <a:gd name="T76" fmla="*/ 60 w 2700"/>
                <a:gd name="T77" fmla="*/ 23 h 752"/>
                <a:gd name="T78" fmla="*/ 82 w 2700"/>
                <a:gd name="T79" fmla="*/ 11 h 752"/>
                <a:gd name="T80" fmla="*/ 107 w 2700"/>
                <a:gd name="T81" fmla="*/ 4 h 752"/>
                <a:gd name="T82" fmla="*/ 134 w 2700"/>
                <a:gd name="T83" fmla="*/ 0 h 7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700" h="752">
                  <a:moveTo>
                    <a:pt x="2263" y="251"/>
                  </a:moveTo>
                  <a:lnTo>
                    <a:pt x="2263" y="463"/>
                  </a:lnTo>
                  <a:lnTo>
                    <a:pt x="2489" y="463"/>
                  </a:lnTo>
                  <a:lnTo>
                    <a:pt x="2489" y="251"/>
                  </a:lnTo>
                  <a:lnTo>
                    <a:pt x="2263" y="251"/>
                  </a:lnTo>
                  <a:close/>
                  <a:moveTo>
                    <a:pt x="134" y="0"/>
                  </a:moveTo>
                  <a:lnTo>
                    <a:pt x="2566" y="0"/>
                  </a:lnTo>
                  <a:lnTo>
                    <a:pt x="2593" y="4"/>
                  </a:lnTo>
                  <a:lnTo>
                    <a:pt x="2619" y="11"/>
                  </a:lnTo>
                  <a:lnTo>
                    <a:pt x="2642" y="23"/>
                  </a:lnTo>
                  <a:lnTo>
                    <a:pt x="2661" y="40"/>
                  </a:lnTo>
                  <a:lnTo>
                    <a:pt x="2678" y="60"/>
                  </a:lnTo>
                  <a:lnTo>
                    <a:pt x="2690" y="83"/>
                  </a:lnTo>
                  <a:lnTo>
                    <a:pt x="2698" y="108"/>
                  </a:lnTo>
                  <a:lnTo>
                    <a:pt x="2700" y="136"/>
                  </a:lnTo>
                  <a:lnTo>
                    <a:pt x="2700" y="617"/>
                  </a:lnTo>
                  <a:lnTo>
                    <a:pt x="2698" y="645"/>
                  </a:lnTo>
                  <a:lnTo>
                    <a:pt x="2690" y="670"/>
                  </a:lnTo>
                  <a:lnTo>
                    <a:pt x="2678" y="692"/>
                  </a:lnTo>
                  <a:lnTo>
                    <a:pt x="2661" y="713"/>
                  </a:lnTo>
                  <a:lnTo>
                    <a:pt x="2642" y="729"/>
                  </a:lnTo>
                  <a:lnTo>
                    <a:pt x="2619" y="742"/>
                  </a:lnTo>
                  <a:lnTo>
                    <a:pt x="2593" y="749"/>
                  </a:lnTo>
                  <a:lnTo>
                    <a:pt x="2566" y="752"/>
                  </a:lnTo>
                  <a:lnTo>
                    <a:pt x="134" y="752"/>
                  </a:lnTo>
                  <a:lnTo>
                    <a:pt x="107" y="749"/>
                  </a:lnTo>
                  <a:lnTo>
                    <a:pt x="82" y="742"/>
                  </a:lnTo>
                  <a:lnTo>
                    <a:pt x="60" y="729"/>
                  </a:lnTo>
                  <a:lnTo>
                    <a:pt x="39" y="713"/>
                  </a:lnTo>
                  <a:lnTo>
                    <a:pt x="23" y="692"/>
                  </a:lnTo>
                  <a:lnTo>
                    <a:pt x="10" y="670"/>
                  </a:lnTo>
                  <a:lnTo>
                    <a:pt x="3" y="645"/>
                  </a:lnTo>
                  <a:lnTo>
                    <a:pt x="0" y="617"/>
                  </a:lnTo>
                  <a:lnTo>
                    <a:pt x="0" y="136"/>
                  </a:lnTo>
                  <a:lnTo>
                    <a:pt x="3" y="108"/>
                  </a:lnTo>
                  <a:lnTo>
                    <a:pt x="10" y="83"/>
                  </a:lnTo>
                  <a:lnTo>
                    <a:pt x="23" y="60"/>
                  </a:lnTo>
                  <a:lnTo>
                    <a:pt x="39" y="40"/>
                  </a:lnTo>
                  <a:lnTo>
                    <a:pt x="60" y="23"/>
                  </a:lnTo>
                  <a:lnTo>
                    <a:pt x="82" y="11"/>
                  </a:lnTo>
                  <a:lnTo>
                    <a:pt x="107" y="4"/>
                  </a:lnTo>
                  <a:lnTo>
                    <a:pt x="13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x-none">
                <a:solidFill>
                  <a:srgbClr val="646464"/>
                </a:solidFill>
              </a:endParaRPr>
            </a:p>
          </p:txBody>
        </p:sp>
        <p:sp>
          <p:nvSpPr>
            <p:cNvPr id="82" name="Freeform 41"/>
            <p:cNvSpPr>
              <a:spLocks noEditPoints="1"/>
            </p:cNvSpPr>
            <p:nvPr/>
          </p:nvSpPr>
          <p:spPr bwMode="auto">
            <a:xfrm>
              <a:off x="3090" y="852"/>
              <a:ext cx="450" cy="125"/>
            </a:xfrm>
            <a:custGeom>
              <a:avLst/>
              <a:gdLst>
                <a:gd name="T0" fmla="*/ 2263 w 2700"/>
                <a:gd name="T1" fmla="*/ 265 h 751"/>
                <a:gd name="T2" fmla="*/ 2263 w 2700"/>
                <a:gd name="T3" fmla="*/ 477 h 751"/>
                <a:gd name="T4" fmla="*/ 2489 w 2700"/>
                <a:gd name="T5" fmla="*/ 477 h 751"/>
                <a:gd name="T6" fmla="*/ 2489 w 2700"/>
                <a:gd name="T7" fmla="*/ 265 h 751"/>
                <a:gd name="T8" fmla="*/ 2263 w 2700"/>
                <a:gd name="T9" fmla="*/ 265 h 751"/>
                <a:gd name="T10" fmla="*/ 134 w 2700"/>
                <a:gd name="T11" fmla="*/ 0 h 751"/>
                <a:gd name="T12" fmla="*/ 2566 w 2700"/>
                <a:gd name="T13" fmla="*/ 0 h 751"/>
                <a:gd name="T14" fmla="*/ 2593 w 2700"/>
                <a:gd name="T15" fmla="*/ 2 h 751"/>
                <a:gd name="T16" fmla="*/ 2619 w 2700"/>
                <a:gd name="T17" fmla="*/ 10 h 751"/>
                <a:gd name="T18" fmla="*/ 2642 w 2700"/>
                <a:gd name="T19" fmla="*/ 22 h 751"/>
                <a:gd name="T20" fmla="*/ 2661 w 2700"/>
                <a:gd name="T21" fmla="*/ 39 h 751"/>
                <a:gd name="T22" fmla="*/ 2678 w 2700"/>
                <a:gd name="T23" fmla="*/ 59 h 751"/>
                <a:gd name="T24" fmla="*/ 2690 w 2700"/>
                <a:gd name="T25" fmla="*/ 82 h 751"/>
                <a:gd name="T26" fmla="*/ 2698 w 2700"/>
                <a:gd name="T27" fmla="*/ 107 h 751"/>
                <a:gd name="T28" fmla="*/ 2700 w 2700"/>
                <a:gd name="T29" fmla="*/ 134 h 751"/>
                <a:gd name="T30" fmla="*/ 2700 w 2700"/>
                <a:gd name="T31" fmla="*/ 616 h 751"/>
                <a:gd name="T32" fmla="*/ 2698 w 2700"/>
                <a:gd name="T33" fmla="*/ 643 h 751"/>
                <a:gd name="T34" fmla="*/ 2690 w 2700"/>
                <a:gd name="T35" fmla="*/ 669 h 751"/>
                <a:gd name="T36" fmla="*/ 2678 w 2700"/>
                <a:gd name="T37" fmla="*/ 692 h 751"/>
                <a:gd name="T38" fmla="*/ 2661 w 2700"/>
                <a:gd name="T39" fmla="*/ 711 h 751"/>
                <a:gd name="T40" fmla="*/ 2642 w 2700"/>
                <a:gd name="T41" fmla="*/ 728 h 751"/>
                <a:gd name="T42" fmla="*/ 2619 w 2700"/>
                <a:gd name="T43" fmla="*/ 741 h 751"/>
                <a:gd name="T44" fmla="*/ 2593 w 2700"/>
                <a:gd name="T45" fmla="*/ 748 h 751"/>
                <a:gd name="T46" fmla="*/ 2566 w 2700"/>
                <a:gd name="T47" fmla="*/ 751 h 751"/>
                <a:gd name="T48" fmla="*/ 134 w 2700"/>
                <a:gd name="T49" fmla="*/ 751 h 751"/>
                <a:gd name="T50" fmla="*/ 107 w 2700"/>
                <a:gd name="T51" fmla="*/ 748 h 751"/>
                <a:gd name="T52" fmla="*/ 82 w 2700"/>
                <a:gd name="T53" fmla="*/ 741 h 751"/>
                <a:gd name="T54" fmla="*/ 60 w 2700"/>
                <a:gd name="T55" fmla="*/ 728 h 751"/>
                <a:gd name="T56" fmla="*/ 39 w 2700"/>
                <a:gd name="T57" fmla="*/ 711 h 751"/>
                <a:gd name="T58" fmla="*/ 23 w 2700"/>
                <a:gd name="T59" fmla="*/ 692 h 751"/>
                <a:gd name="T60" fmla="*/ 10 w 2700"/>
                <a:gd name="T61" fmla="*/ 669 h 751"/>
                <a:gd name="T62" fmla="*/ 3 w 2700"/>
                <a:gd name="T63" fmla="*/ 643 h 751"/>
                <a:gd name="T64" fmla="*/ 0 w 2700"/>
                <a:gd name="T65" fmla="*/ 616 h 751"/>
                <a:gd name="T66" fmla="*/ 0 w 2700"/>
                <a:gd name="T67" fmla="*/ 134 h 751"/>
                <a:gd name="T68" fmla="*/ 3 w 2700"/>
                <a:gd name="T69" fmla="*/ 107 h 751"/>
                <a:gd name="T70" fmla="*/ 10 w 2700"/>
                <a:gd name="T71" fmla="*/ 82 h 751"/>
                <a:gd name="T72" fmla="*/ 23 w 2700"/>
                <a:gd name="T73" fmla="*/ 59 h 751"/>
                <a:gd name="T74" fmla="*/ 39 w 2700"/>
                <a:gd name="T75" fmla="*/ 39 h 751"/>
                <a:gd name="T76" fmla="*/ 60 w 2700"/>
                <a:gd name="T77" fmla="*/ 22 h 751"/>
                <a:gd name="T78" fmla="*/ 82 w 2700"/>
                <a:gd name="T79" fmla="*/ 10 h 751"/>
                <a:gd name="T80" fmla="*/ 107 w 2700"/>
                <a:gd name="T81" fmla="*/ 2 h 751"/>
                <a:gd name="T82" fmla="*/ 134 w 2700"/>
                <a:gd name="T83" fmla="*/ 0 h 7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700" h="751">
                  <a:moveTo>
                    <a:pt x="2263" y="265"/>
                  </a:moveTo>
                  <a:lnTo>
                    <a:pt x="2263" y="477"/>
                  </a:lnTo>
                  <a:lnTo>
                    <a:pt x="2489" y="477"/>
                  </a:lnTo>
                  <a:lnTo>
                    <a:pt x="2489" y="265"/>
                  </a:lnTo>
                  <a:lnTo>
                    <a:pt x="2263" y="265"/>
                  </a:lnTo>
                  <a:close/>
                  <a:moveTo>
                    <a:pt x="134" y="0"/>
                  </a:moveTo>
                  <a:lnTo>
                    <a:pt x="2566" y="0"/>
                  </a:lnTo>
                  <a:lnTo>
                    <a:pt x="2593" y="2"/>
                  </a:lnTo>
                  <a:lnTo>
                    <a:pt x="2619" y="10"/>
                  </a:lnTo>
                  <a:lnTo>
                    <a:pt x="2642" y="22"/>
                  </a:lnTo>
                  <a:lnTo>
                    <a:pt x="2661" y="39"/>
                  </a:lnTo>
                  <a:lnTo>
                    <a:pt x="2678" y="59"/>
                  </a:lnTo>
                  <a:lnTo>
                    <a:pt x="2690" y="82"/>
                  </a:lnTo>
                  <a:lnTo>
                    <a:pt x="2698" y="107"/>
                  </a:lnTo>
                  <a:lnTo>
                    <a:pt x="2700" y="134"/>
                  </a:lnTo>
                  <a:lnTo>
                    <a:pt x="2700" y="616"/>
                  </a:lnTo>
                  <a:lnTo>
                    <a:pt x="2698" y="643"/>
                  </a:lnTo>
                  <a:lnTo>
                    <a:pt x="2690" y="669"/>
                  </a:lnTo>
                  <a:lnTo>
                    <a:pt x="2678" y="692"/>
                  </a:lnTo>
                  <a:lnTo>
                    <a:pt x="2661" y="711"/>
                  </a:lnTo>
                  <a:lnTo>
                    <a:pt x="2642" y="728"/>
                  </a:lnTo>
                  <a:lnTo>
                    <a:pt x="2619" y="741"/>
                  </a:lnTo>
                  <a:lnTo>
                    <a:pt x="2593" y="748"/>
                  </a:lnTo>
                  <a:lnTo>
                    <a:pt x="2566" y="751"/>
                  </a:lnTo>
                  <a:lnTo>
                    <a:pt x="134" y="751"/>
                  </a:lnTo>
                  <a:lnTo>
                    <a:pt x="107" y="748"/>
                  </a:lnTo>
                  <a:lnTo>
                    <a:pt x="82" y="741"/>
                  </a:lnTo>
                  <a:lnTo>
                    <a:pt x="60" y="728"/>
                  </a:lnTo>
                  <a:lnTo>
                    <a:pt x="39" y="711"/>
                  </a:lnTo>
                  <a:lnTo>
                    <a:pt x="23" y="692"/>
                  </a:lnTo>
                  <a:lnTo>
                    <a:pt x="10" y="669"/>
                  </a:lnTo>
                  <a:lnTo>
                    <a:pt x="3" y="643"/>
                  </a:lnTo>
                  <a:lnTo>
                    <a:pt x="0" y="616"/>
                  </a:lnTo>
                  <a:lnTo>
                    <a:pt x="0" y="134"/>
                  </a:lnTo>
                  <a:lnTo>
                    <a:pt x="3" y="107"/>
                  </a:lnTo>
                  <a:lnTo>
                    <a:pt x="10" y="82"/>
                  </a:lnTo>
                  <a:lnTo>
                    <a:pt x="23" y="59"/>
                  </a:lnTo>
                  <a:lnTo>
                    <a:pt x="39" y="39"/>
                  </a:lnTo>
                  <a:lnTo>
                    <a:pt x="60" y="22"/>
                  </a:lnTo>
                  <a:lnTo>
                    <a:pt x="82" y="10"/>
                  </a:lnTo>
                  <a:lnTo>
                    <a:pt x="107" y="2"/>
                  </a:lnTo>
                  <a:lnTo>
                    <a:pt x="13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x-none">
                <a:solidFill>
                  <a:srgbClr val="646464"/>
                </a:solidFill>
              </a:endParaRPr>
            </a:p>
          </p:txBody>
        </p:sp>
        <p:sp>
          <p:nvSpPr>
            <p:cNvPr id="83" name="Freeform 42"/>
            <p:cNvSpPr>
              <a:spLocks noEditPoints="1"/>
            </p:cNvSpPr>
            <p:nvPr/>
          </p:nvSpPr>
          <p:spPr bwMode="auto">
            <a:xfrm>
              <a:off x="3090" y="1013"/>
              <a:ext cx="450" cy="126"/>
            </a:xfrm>
            <a:custGeom>
              <a:avLst/>
              <a:gdLst>
                <a:gd name="T0" fmla="*/ 2263 w 2700"/>
                <a:gd name="T1" fmla="*/ 273 h 751"/>
                <a:gd name="T2" fmla="*/ 2263 w 2700"/>
                <a:gd name="T3" fmla="*/ 484 h 751"/>
                <a:gd name="T4" fmla="*/ 2489 w 2700"/>
                <a:gd name="T5" fmla="*/ 484 h 751"/>
                <a:gd name="T6" fmla="*/ 2489 w 2700"/>
                <a:gd name="T7" fmla="*/ 273 h 751"/>
                <a:gd name="T8" fmla="*/ 2263 w 2700"/>
                <a:gd name="T9" fmla="*/ 273 h 751"/>
                <a:gd name="T10" fmla="*/ 134 w 2700"/>
                <a:gd name="T11" fmla="*/ 0 h 751"/>
                <a:gd name="T12" fmla="*/ 2566 w 2700"/>
                <a:gd name="T13" fmla="*/ 0 h 751"/>
                <a:gd name="T14" fmla="*/ 2593 w 2700"/>
                <a:gd name="T15" fmla="*/ 3 h 751"/>
                <a:gd name="T16" fmla="*/ 2619 w 2700"/>
                <a:gd name="T17" fmla="*/ 11 h 751"/>
                <a:gd name="T18" fmla="*/ 2642 w 2700"/>
                <a:gd name="T19" fmla="*/ 24 h 751"/>
                <a:gd name="T20" fmla="*/ 2661 w 2700"/>
                <a:gd name="T21" fmla="*/ 40 h 751"/>
                <a:gd name="T22" fmla="*/ 2678 w 2700"/>
                <a:gd name="T23" fmla="*/ 60 h 751"/>
                <a:gd name="T24" fmla="*/ 2690 w 2700"/>
                <a:gd name="T25" fmla="*/ 82 h 751"/>
                <a:gd name="T26" fmla="*/ 2698 w 2700"/>
                <a:gd name="T27" fmla="*/ 108 h 751"/>
                <a:gd name="T28" fmla="*/ 2700 w 2700"/>
                <a:gd name="T29" fmla="*/ 135 h 751"/>
                <a:gd name="T30" fmla="*/ 2700 w 2700"/>
                <a:gd name="T31" fmla="*/ 617 h 751"/>
                <a:gd name="T32" fmla="*/ 2698 w 2700"/>
                <a:gd name="T33" fmla="*/ 644 h 751"/>
                <a:gd name="T34" fmla="*/ 2690 w 2700"/>
                <a:gd name="T35" fmla="*/ 670 h 751"/>
                <a:gd name="T36" fmla="*/ 2678 w 2700"/>
                <a:gd name="T37" fmla="*/ 693 h 751"/>
                <a:gd name="T38" fmla="*/ 2661 w 2700"/>
                <a:gd name="T39" fmla="*/ 712 h 751"/>
                <a:gd name="T40" fmla="*/ 2642 w 2700"/>
                <a:gd name="T41" fmla="*/ 729 h 751"/>
                <a:gd name="T42" fmla="*/ 2619 w 2700"/>
                <a:gd name="T43" fmla="*/ 741 h 751"/>
                <a:gd name="T44" fmla="*/ 2593 w 2700"/>
                <a:gd name="T45" fmla="*/ 749 h 751"/>
                <a:gd name="T46" fmla="*/ 2566 w 2700"/>
                <a:gd name="T47" fmla="*/ 751 h 751"/>
                <a:gd name="T48" fmla="*/ 134 w 2700"/>
                <a:gd name="T49" fmla="*/ 751 h 751"/>
                <a:gd name="T50" fmla="*/ 107 w 2700"/>
                <a:gd name="T51" fmla="*/ 749 h 751"/>
                <a:gd name="T52" fmla="*/ 82 w 2700"/>
                <a:gd name="T53" fmla="*/ 741 h 751"/>
                <a:gd name="T54" fmla="*/ 60 w 2700"/>
                <a:gd name="T55" fmla="*/ 729 h 751"/>
                <a:gd name="T56" fmla="*/ 39 w 2700"/>
                <a:gd name="T57" fmla="*/ 712 h 751"/>
                <a:gd name="T58" fmla="*/ 23 w 2700"/>
                <a:gd name="T59" fmla="*/ 693 h 751"/>
                <a:gd name="T60" fmla="*/ 10 w 2700"/>
                <a:gd name="T61" fmla="*/ 670 h 751"/>
                <a:gd name="T62" fmla="*/ 3 w 2700"/>
                <a:gd name="T63" fmla="*/ 644 h 751"/>
                <a:gd name="T64" fmla="*/ 0 w 2700"/>
                <a:gd name="T65" fmla="*/ 617 h 751"/>
                <a:gd name="T66" fmla="*/ 0 w 2700"/>
                <a:gd name="T67" fmla="*/ 135 h 751"/>
                <a:gd name="T68" fmla="*/ 3 w 2700"/>
                <a:gd name="T69" fmla="*/ 108 h 751"/>
                <a:gd name="T70" fmla="*/ 10 w 2700"/>
                <a:gd name="T71" fmla="*/ 82 h 751"/>
                <a:gd name="T72" fmla="*/ 23 w 2700"/>
                <a:gd name="T73" fmla="*/ 60 h 751"/>
                <a:gd name="T74" fmla="*/ 39 w 2700"/>
                <a:gd name="T75" fmla="*/ 40 h 751"/>
                <a:gd name="T76" fmla="*/ 60 w 2700"/>
                <a:gd name="T77" fmla="*/ 24 h 751"/>
                <a:gd name="T78" fmla="*/ 82 w 2700"/>
                <a:gd name="T79" fmla="*/ 11 h 751"/>
                <a:gd name="T80" fmla="*/ 107 w 2700"/>
                <a:gd name="T81" fmla="*/ 3 h 751"/>
                <a:gd name="T82" fmla="*/ 134 w 2700"/>
                <a:gd name="T83" fmla="*/ 0 h 7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700" h="751">
                  <a:moveTo>
                    <a:pt x="2263" y="273"/>
                  </a:moveTo>
                  <a:lnTo>
                    <a:pt x="2263" y="484"/>
                  </a:lnTo>
                  <a:lnTo>
                    <a:pt x="2489" y="484"/>
                  </a:lnTo>
                  <a:lnTo>
                    <a:pt x="2489" y="273"/>
                  </a:lnTo>
                  <a:lnTo>
                    <a:pt x="2263" y="273"/>
                  </a:lnTo>
                  <a:close/>
                  <a:moveTo>
                    <a:pt x="134" y="0"/>
                  </a:moveTo>
                  <a:lnTo>
                    <a:pt x="2566" y="0"/>
                  </a:lnTo>
                  <a:lnTo>
                    <a:pt x="2593" y="3"/>
                  </a:lnTo>
                  <a:lnTo>
                    <a:pt x="2619" y="11"/>
                  </a:lnTo>
                  <a:lnTo>
                    <a:pt x="2642" y="24"/>
                  </a:lnTo>
                  <a:lnTo>
                    <a:pt x="2661" y="40"/>
                  </a:lnTo>
                  <a:lnTo>
                    <a:pt x="2678" y="60"/>
                  </a:lnTo>
                  <a:lnTo>
                    <a:pt x="2690" y="82"/>
                  </a:lnTo>
                  <a:lnTo>
                    <a:pt x="2698" y="108"/>
                  </a:lnTo>
                  <a:lnTo>
                    <a:pt x="2700" y="135"/>
                  </a:lnTo>
                  <a:lnTo>
                    <a:pt x="2700" y="617"/>
                  </a:lnTo>
                  <a:lnTo>
                    <a:pt x="2698" y="644"/>
                  </a:lnTo>
                  <a:lnTo>
                    <a:pt x="2690" y="670"/>
                  </a:lnTo>
                  <a:lnTo>
                    <a:pt x="2678" y="693"/>
                  </a:lnTo>
                  <a:lnTo>
                    <a:pt x="2661" y="712"/>
                  </a:lnTo>
                  <a:lnTo>
                    <a:pt x="2642" y="729"/>
                  </a:lnTo>
                  <a:lnTo>
                    <a:pt x="2619" y="741"/>
                  </a:lnTo>
                  <a:lnTo>
                    <a:pt x="2593" y="749"/>
                  </a:lnTo>
                  <a:lnTo>
                    <a:pt x="2566" y="751"/>
                  </a:lnTo>
                  <a:lnTo>
                    <a:pt x="134" y="751"/>
                  </a:lnTo>
                  <a:lnTo>
                    <a:pt x="107" y="749"/>
                  </a:lnTo>
                  <a:lnTo>
                    <a:pt x="82" y="741"/>
                  </a:lnTo>
                  <a:lnTo>
                    <a:pt x="60" y="729"/>
                  </a:lnTo>
                  <a:lnTo>
                    <a:pt x="39" y="712"/>
                  </a:lnTo>
                  <a:lnTo>
                    <a:pt x="23" y="693"/>
                  </a:lnTo>
                  <a:lnTo>
                    <a:pt x="10" y="670"/>
                  </a:lnTo>
                  <a:lnTo>
                    <a:pt x="3" y="644"/>
                  </a:lnTo>
                  <a:lnTo>
                    <a:pt x="0" y="617"/>
                  </a:lnTo>
                  <a:lnTo>
                    <a:pt x="0" y="135"/>
                  </a:lnTo>
                  <a:lnTo>
                    <a:pt x="3" y="108"/>
                  </a:lnTo>
                  <a:lnTo>
                    <a:pt x="10" y="82"/>
                  </a:lnTo>
                  <a:lnTo>
                    <a:pt x="23" y="60"/>
                  </a:lnTo>
                  <a:lnTo>
                    <a:pt x="39" y="40"/>
                  </a:lnTo>
                  <a:lnTo>
                    <a:pt x="60" y="24"/>
                  </a:lnTo>
                  <a:lnTo>
                    <a:pt x="82" y="11"/>
                  </a:lnTo>
                  <a:lnTo>
                    <a:pt x="107" y="3"/>
                  </a:lnTo>
                  <a:lnTo>
                    <a:pt x="13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x-none">
                <a:solidFill>
                  <a:srgbClr val="646464"/>
                </a:solidFill>
              </a:endParaRPr>
            </a:p>
          </p:txBody>
        </p:sp>
      </p:grpSp>
      <p:grpSp>
        <p:nvGrpSpPr>
          <p:cNvPr id="84" name="Group 67"/>
          <p:cNvGrpSpPr>
            <a:grpSpLocks noChangeAspect="1"/>
          </p:cNvGrpSpPr>
          <p:nvPr/>
        </p:nvGrpSpPr>
        <p:grpSpPr bwMode="auto">
          <a:xfrm>
            <a:off x="8453636" y="4147343"/>
            <a:ext cx="300815" cy="216927"/>
            <a:chOff x="6010" y="2367"/>
            <a:chExt cx="1094" cy="1052"/>
          </a:xfrm>
          <a:solidFill>
            <a:schemeClr val="tx2"/>
          </a:solidFill>
        </p:grpSpPr>
        <p:sp>
          <p:nvSpPr>
            <p:cNvPr id="85" name="Freeform 69"/>
            <p:cNvSpPr>
              <a:spLocks/>
            </p:cNvSpPr>
            <p:nvPr/>
          </p:nvSpPr>
          <p:spPr bwMode="auto">
            <a:xfrm>
              <a:off x="6167" y="2508"/>
              <a:ext cx="252" cy="245"/>
            </a:xfrm>
            <a:custGeom>
              <a:avLst/>
              <a:gdLst>
                <a:gd name="T0" fmla="*/ 297 w 755"/>
                <a:gd name="T1" fmla="*/ 0 h 735"/>
                <a:gd name="T2" fmla="*/ 337 w 755"/>
                <a:gd name="T3" fmla="*/ 3 h 735"/>
                <a:gd name="T4" fmla="*/ 375 w 755"/>
                <a:gd name="T5" fmla="*/ 11 h 735"/>
                <a:gd name="T6" fmla="*/ 411 w 755"/>
                <a:gd name="T7" fmla="*/ 24 h 735"/>
                <a:gd name="T8" fmla="*/ 445 w 755"/>
                <a:gd name="T9" fmla="*/ 41 h 735"/>
                <a:gd name="T10" fmla="*/ 478 w 755"/>
                <a:gd name="T11" fmla="*/ 62 h 735"/>
                <a:gd name="T12" fmla="*/ 506 w 755"/>
                <a:gd name="T13" fmla="*/ 87 h 735"/>
                <a:gd name="T14" fmla="*/ 531 w 755"/>
                <a:gd name="T15" fmla="*/ 116 h 735"/>
                <a:gd name="T16" fmla="*/ 552 w 755"/>
                <a:gd name="T17" fmla="*/ 147 h 735"/>
                <a:gd name="T18" fmla="*/ 569 w 755"/>
                <a:gd name="T19" fmla="*/ 181 h 735"/>
                <a:gd name="T20" fmla="*/ 582 w 755"/>
                <a:gd name="T21" fmla="*/ 217 h 735"/>
                <a:gd name="T22" fmla="*/ 590 w 755"/>
                <a:gd name="T23" fmla="*/ 257 h 735"/>
                <a:gd name="T24" fmla="*/ 592 w 755"/>
                <a:gd name="T25" fmla="*/ 297 h 735"/>
                <a:gd name="T26" fmla="*/ 590 w 755"/>
                <a:gd name="T27" fmla="*/ 335 h 735"/>
                <a:gd name="T28" fmla="*/ 582 w 755"/>
                <a:gd name="T29" fmla="*/ 371 h 735"/>
                <a:gd name="T30" fmla="*/ 570 w 755"/>
                <a:gd name="T31" fmla="*/ 405 h 735"/>
                <a:gd name="T32" fmla="*/ 555 w 755"/>
                <a:gd name="T33" fmla="*/ 439 h 735"/>
                <a:gd name="T34" fmla="*/ 755 w 755"/>
                <a:gd name="T35" fmla="*/ 627 h 735"/>
                <a:gd name="T36" fmla="*/ 718 w 755"/>
                <a:gd name="T37" fmla="*/ 661 h 735"/>
                <a:gd name="T38" fmla="*/ 684 w 755"/>
                <a:gd name="T39" fmla="*/ 697 h 735"/>
                <a:gd name="T40" fmla="*/ 652 w 755"/>
                <a:gd name="T41" fmla="*/ 735 h 735"/>
                <a:gd name="T42" fmla="*/ 452 w 755"/>
                <a:gd name="T43" fmla="*/ 547 h 735"/>
                <a:gd name="T44" fmla="*/ 417 w 755"/>
                <a:gd name="T45" fmla="*/ 566 h 735"/>
                <a:gd name="T46" fmla="*/ 379 w 755"/>
                <a:gd name="T47" fmla="*/ 580 h 735"/>
                <a:gd name="T48" fmla="*/ 339 w 755"/>
                <a:gd name="T49" fmla="*/ 589 h 735"/>
                <a:gd name="T50" fmla="*/ 297 w 755"/>
                <a:gd name="T51" fmla="*/ 592 h 735"/>
                <a:gd name="T52" fmla="*/ 257 w 755"/>
                <a:gd name="T53" fmla="*/ 590 h 735"/>
                <a:gd name="T54" fmla="*/ 217 w 755"/>
                <a:gd name="T55" fmla="*/ 582 h 735"/>
                <a:gd name="T56" fmla="*/ 181 w 755"/>
                <a:gd name="T57" fmla="*/ 569 h 735"/>
                <a:gd name="T58" fmla="*/ 147 w 755"/>
                <a:gd name="T59" fmla="*/ 552 h 735"/>
                <a:gd name="T60" fmla="*/ 115 w 755"/>
                <a:gd name="T61" fmla="*/ 531 h 735"/>
                <a:gd name="T62" fmla="*/ 87 w 755"/>
                <a:gd name="T63" fmla="*/ 506 h 735"/>
                <a:gd name="T64" fmla="*/ 62 w 755"/>
                <a:gd name="T65" fmla="*/ 478 h 735"/>
                <a:gd name="T66" fmla="*/ 40 w 755"/>
                <a:gd name="T67" fmla="*/ 446 h 735"/>
                <a:gd name="T68" fmla="*/ 23 w 755"/>
                <a:gd name="T69" fmla="*/ 411 h 735"/>
                <a:gd name="T70" fmla="*/ 10 w 755"/>
                <a:gd name="T71" fmla="*/ 375 h 735"/>
                <a:gd name="T72" fmla="*/ 3 w 755"/>
                <a:gd name="T73" fmla="*/ 337 h 735"/>
                <a:gd name="T74" fmla="*/ 0 w 755"/>
                <a:gd name="T75" fmla="*/ 297 h 735"/>
                <a:gd name="T76" fmla="*/ 3 w 755"/>
                <a:gd name="T77" fmla="*/ 257 h 735"/>
                <a:gd name="T78" fmla="*/ 10 w 755"/>
                <a:gd name="T79" fmla="*/ 217 h 735"/>
                <a:gd name="T80" fmla="*/ 23 w 755"/>
                <a:gd name="T81" fmla="*/ 181 h 735"/>
                <a:gd name="T82" fmla="*/ 40 w 755"/>
                <a:gd name="T83" fmla="*/ 147 h 735"/>
                <a:gd name="T84" fmla="*/ 62 w 755"/>
                <a:gd name="T85" fmla="*/ 116 h 735"/>
                <a:gd name="T86" fmla="*/ 87 w 755"/>
                <a:gd name="T87" fmla="*/ 87 h 735"/>
                <a:gd name="T88" fmla="*/ 115 w 755"/>
                <a:gd name="T89" fmla="*/ 62 h 735"/>
                <a:gd name="T90" fmla="*/ 147 w 755"/>
                <a:gd name="T91" fmla="*/ 41 h 735"/>
                <a:gd name="T92" fmla="*/ 181 w 755"/>
                <a:gd name="T93" fmla="*/ 24 h 735"/>
                <a:gd name="T94" fmla="*/ 217 w 755"/>
                <a:gd name="T95" fmla="*/ 11 h 735"/>
                <a:gd name="T96" fmla="*/ 257 w 755"/>
                <a:gd name="T97" fmla="*/ 3 h 735"/>
                <a:gd name="T98" fmla="*/ 297 w 755"/>
                <a:gd name="T99" fmla="*/ 0 h 7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755" h="735">
                  <a:moveTo>
                    <a:pt x="297" y="0"/>
                  </a:moveTo>
                  <a:lnTo>
                    <a:pt x="337" y="3"/>
                  </a:lnTo>
                  <a:lnTo>
                    <a:pt x="375" y="11"/>
                  </a:lnTo>
                  <a:lnTo>
                    <a:pt x="411" y="24"/>
                  </a:lnTo>
                  <a:lnTo>
                    <a:pt x="445" y="41"/>
                  </a:lnTo>
                  <a:lnTo>
                    <a:pt x="478" y="62"/>
                  </a:lnTo>
                  <a:lnTo>
                    <a:pt x="506" y="87"/>
                  </a:lnTo>
                  <a:lnTo>
                    <a:pt x="531" y="116"/>
                  </a:lnTo>
                  <a:lnTo>
                    <a:pt x="552" y="147"/>
                  </a:lnTo>
                  <a:lnTo>
                    <a:pt x="569" y="181"/>
                  </a:lnTo>
                  <a:lnTo>
                    <a:pt x="582" y="217"/>
                  </a:lnTo>
                  <a:lnTo>
                    <a:pt x="590" y="257"/>
                  </a:lnTo>
                  <a:lnTo>
                    <a:pt x="592" y="297"/>
                  </a:lnTo>
                  <a:lnTo>
                    <a:pt x="590" y="335"/>
                  </a:lnTo>
                  <a:lnTo>
                    <a:pt x="582" y="371"/>
                  </a:lnTo>
                  <a:lnTo>
                    <a:pt x="570" y="405"/>
                  </a:lnTo>
                  <a:lnTo>
                    <a:pt x="555" y="439"/>
                  </a:lnTo>
                  <a:lnTo>
                    <a:pt x="755" y="627"/>
                  </a:lnTo>
                  <a:lnTo>
                    <a:pt x="718" y="661"/>
                  </a:lnTo>
                  <a:lnTo>
                    <a:pt x="684" y="697"/>
                  </a:lnTo>
                  <a:lnTo>
                    <a:pt x="652" y="735"/>
                  </a:lnTo>
                  <a:lnTo>
                    <a:pt x="452" y="547"/>
                  </a:lnTo>
                  <a:lnTo>
                    <a:pt x="417" y="566"/>
                  </a:lnTo>
                  <a:lnTo>
                    <a:pt x="379" y="580"/>
                  </a:lnTo>
                  <a:lnTo>
                    <a:pt x="339" y="589"/>
                  </a:lnTo>
                  <a:lnTo>
                    <a:pt x="297" y="592"/>
                  </a:lnTo>
                  <a:lnTo>
                    <a:pt x="257" y="590"/>
                  </a:lnTo>
                  <a:lnTo>
                    <a:pt x="217" y="582"/>
                  </a:lnTo>
                  <a:lnTo>
                    <a:pt x="181" y="569"/>
                  </a:lnTo>
                  <a:lnTo>
                    <a:pt x="147" y="552"/>
                  </a:lnTo>
                  <a:lnTo>
                    <a:pt x="115" y="531"/>
                  </a:lnTo>
                  <a:lnTo>
                    <a:pt x="87" y="506"/>
                  </a:lnTo>
                  <a:lnTo>
                    <a:pt x="62" y="478"/>
                  </a:lnTo>
                  <a:lnTo>
                    <a:pt x="40" y="446"/>
                  </a:lnTo>
                  <a:lnTo>
                    <a:pt x="23" y="411"/>
                  </a:lnTo>
                  <a:lnTo>
                    <a:pt x="10" y="375"/>
                  </a:lnTo>
                  <a:lnTo>
                    <a:pt x="3" y="337"/>
                  </a:lnTo>
                  <a:lnTo>
                    <a:pt x="0" y="297"/>
                  </a:lnTo>
                  <a:lnTo>
                    <a:pt x="3" y="257"/>
                  </a:lnTo>
                  <a:lnTo>
                    <a:pt x="10" y="217"/>
                  </a:lnTo>
                  <a:lnTo>
                    <a:pt x="23" y="181"/>
                  </a:lnTo>
                  <a:lnTo>
                    <a:pt x="40" y="147"/>
                  </a:lnTo>
                  <a:lnTo>
                    <a:pt x="62" y="116"/>
                  </a:lnTo>
                  <a:lnTo>
                    <a:pt x="87" y="87"/>
                  </a:lnTo>
                  <a:lnTo>
                    <a:pt x="115" y="62"/>
                  </a:lnTo>
                  <a:lnTo>
                    <a:pt x="147" y="41"/>
                  </a:lnTo>
                  <a:lnTo>
                    <a:pt x="181" y="24"/>
                  </a:lnTo>
                  <a:lnTo>
                    <a:pt x="217" y="11"/>
                  </a:lnTo>
                  <a:lnTo>
                    <a:pt x="257" y="3"/>
                  </a:lnTo>
                  <a:lnTo>
                    <a:pt x="29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x-none"/>
            </a:p>
          </p:txBody>
        </p:sp>
        <p:sp>
          <p:nvSpPr>
            <p:cNvPr id="86" name="Freeform 70"/>
            <p:cNvSpPr>
              <a:spLocks/>
            </p:cNvSpPr>
            <p:nvPr/>
          </p:nvSpPr>
          <p:spPr bwMode="auto">
            <a:xfrm>
              <a:off x="6657" y="2367"/>
              <a:ext cx="258" cy="342"/>
            </a:xfrm>
            <a:custGeom>
              <a:avLst/>
              <a:gdLst>
                <a:gd name="T0" fmla="*/ 476 w 772"/>
                <a:gd name="T1" fmla="*/ 0 h 1026"/>
                <a:gd name="T2" fmla="*/ 516 w 772"/>
                <a:gd name="T3" fmla="*/ 3 h 1026"/>
                <a:gd name="T4" fmla="*/ 554 w 772"/>
                <a:gd name="T5" fmla="*/ 11 h 1026"/>
                <a:gd name="T6" fmla="*/ 591 w 772"/>
                <a:gd name="T7" fmla="*/ 24 h 1026"/>
                <a:gd name="T8" fmla="*/ 625 w 772"/>
                <a:gd name="T9" fmla="*/ 42 h 1026"/>
                <a:gd name="T10" fmla="*/ 657 w 772"/>
                <a:gd name="T11" fmla="*/ 63 h 1026"/>
                <a:gd name="T12" fmla="*/ 685 w 772"/>
                <a:gd name="T13" fmla="*/ 88 h 1026"/>
                <a:gd name="T14" fmla="*/ 710 w 772"/>
                <a:gd name="T15" fmla="*/ 116 h 1026"/>
                <a:gd name="T16" fmla="*/ 731 w 772"/>
                <a:gd name="T17" fmla="*/ 147 h 1026"/>
                <a:gd name="T18" fmla="*/ 748 w 772"/>
                <a:gd name="T19" fmla="*/ 181 h 1026"/>
                <a:gd name="T20" fmla="*/ 761 w 772"/>
                <a:gd name="T21" fmla="*/ 218 h 1026"/>
                <a:gd name="T22" fmla="*/ 769 w 772"/>
                <a:gd name="T23" fmla="*/ 257 h 1026"/>
                <a:gd name="T24" fmla="*/ 772 w 772"/>
                <a:gd name="T25" fmla="*/ 297 h 1026"/>
                <a:gd name="T26" fmla="*/ 769 w 772"/>
                <a:gd name="T27" fmla="*/ 337 h 1026"/>
                <a:gd name="T28" fmla="*/ 761 w 772"/>
                <a:gd name="T29" fmla="*/ 375 h 1026"/>
                <a:gd name="T30" fmla="*/ 748 w 772"/>
                <a:gd name="T31" fmla="*/ 412 h 1026"/>
                <a:gd name="T32" fmla="*/ 731 w 772"/>
                <a:gd name="T33" fmla="*/ 447 h 1026"/>
                <a:gd name="T34" fmla="*/ 710 w 772"/>
                <a:gd name="T35" fmla="*/ 478 h 1026"/>
                <a:gd name="T36" fmla="*/ 685 w 772"/>
                <a:gd name="T37" fmla="*/ 506 h 1026"/>
                <a:gd name="T38" fmla="*/ 657 w 772"/>
                <a:gd name="T39" fmla="*/ 531 h 1026"/>
                <a:gd name="T40" fmla="*/ 625 w 772"/>
                <a:gd name="T41" fmla="*/ 552 h 1026"/>
                <a:gd name="T42" fmla="*/ 591 w 772"/>
                <a:gd name="T43" fmla="*/ 569 h 1026"/>
                <a:gd name="T44" fmla="*/ 554 w 772"/>
                <a:gd name="T45" fmla="*/ 582 h 1026"/>
                <a:gd name="T46" fmla="*/ 516 w 772"/>
                <a:gd name="T47" fmla="*/ 590 h 1026"/>
                <a:gd name="T48" fmla="*/ 476 w 772"/>
                <a:gd name="T49" fmla="*/ 593 h 1026"/>
                <a:gd name="T50" fmla="*/ 448 w 772"/>
                <a:gd name="T51" fmla="*/ 591 h 1026"/>
                <a:gd name="T52" fmla="*/ 420 w 772"/>
                <a:gd name="T53" fmla="*/ 586 h 1026"/>
                <a:gd name="T54" fmla="*/ 393 w 772"/>
                <a:gd name="T55" fmla="*/ 580 h 1026"/>
                <a:gd name="T56" fmla="*/ 129 w 772"/>
                <a:gd name="T57" fmla="*/ 1026 h 1026"/>
                <a:gd name="T58" fmla="*/ 88 w 772"/>
                <a:gd name="T59" fmla="*/ 997 h 1026"/>
                <a:gd name="T60" fmla="*/ 46 w 772"/>
                <a:gd name="T61" fmla="*/ 972 h 1026"/>
                <a:gd name="T62" fmla="*/ 0 w 772"/>
                <a:gd name="T63" fmla="*/ 950 h 1026"/>
                <a:gd name="T64" fmla="*/ 265 w 772"/>
                <a:gd name="T65" fmla="*/ 505 h 1026"/>
                <a:gd name="T66" fmla="*/ 241 w 772"/>
                <a:gd name="T67" fmla="*/ 477 h 1026"/>
                <a:gd name="T68" fmla="*/ 219 w 772"/>
                <a:gd name="T69" fmla="*/ 446 h 1026"/>
                <a:gd name="T70" fmla="*/ 202 w 772"/>
                <a:gd name="T71" fmla="*/ 411 h 1026"/>
                <a:gd name="T72" fmla="*/ 190 w 772"/>
                <a:gd name="T73" fmla="*/ 375 h 1026"/>
                <a:gd name="T74" fmla="*/ 182 w 772"/>
                <a:gd name="T75" fmla="*/ 337 h 1026"/>
                <a:gd name="T76" fmla="*/ 179 w 772"/>
                <a:gd name="T77" fmla="*/ 297 h 1026"/>
                <a:gd name="T78" fmla="*/ 182 w 772"/>
                <a:gd name="T79" fmla="*/ 257 h 1026"/>
                <a:gd name="T80" fmla="*/ 190 w 772"/>
                <a:gd name="T81" fmla="*/ 217 h 1026"/>
                <a:gd name="T82" fmla="*/ 202 w 772"/>
                <a:gd name="T83" fmla="*/ 181 h 1026"/>
                <a:gd name="T84" fmla="*/ 219 w 772"/>
                <a:gd name="T85" fmla="*/ 147 h 1026"/>
                <a:gd name="T86" fmla="*/ 242 w 772"/>
                <a:gd name="T87" fmla="*/ 116 h 1026"/>
                <a:gd name="T88" fmla="*/ 266 w 772"/>
                <a:gd name="T89" fmla="*/ 88 h 1026"/>
                <a:gd name="T90" fmla="*/ 295 w 772"/>
                <a:gd name="T91" fmla="*/ 63 h 1026"/>
                <a:gd name="T92" fmla="*/ 326 w 772"/>
                <a:gd name="T93" fmla="*/ 42 h 1026"/>
                <a:gd name="T94" fmla="*/ 360 w 772"/>
                <a:gd name="T95" fmla="*/ 24 h 1026"/>
                <a:gd name="T96" fmla="*/ 396 w 772"/>
                <a:gd name="T97" fmla="*/ 11 h 1026"/>
                <a:gd name="T98" fmla="*/ 435 w 772"/>
                <a:gd name="T99" fmla="*/ 3 h 1026"/>
                <a:gd name="T100" fmla="*/ 476 w 772"/>
                <a:gd name="T101" fmla="*/ 0 h 10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772" h="1026">
                  <a:moveTo>
                    <a:pt x="476" y="0"/>
                  </a:moveTo>
                  <a:lnTo>
                    <a:pt x="516" y="3"/>
                  </a:lnTo>
                  <a:lnTo>
                    <a:pt x="554" y="11"/>
                  </a:lnTo>
                  <a:lnTo>
                    <a:pt x="591" y="24"/>
                  </a:lnTo>
                  <a:lnTo>
                    <a:pt x="625" y="42"/>
                  </a:lnTo>
                  <a:lnTo>
                    <a:pt x="657" y="63"/>
                  </a:lnTo>
                  <a:lnTo>
                    <a:pt x="685" y="88"/>
                  </a:lnTo>
                  <a:lnTo>
                    <a:pt x="710" y="116"/>
                  </a:lnTo>
                  <a:lnTo>
                    <a:pt x="731" y="147"/>
                  </a:lnTo>
                  <a:lnTo>
                    <a:pt x="748" y="181"/>
                  </a:lnTo>
                  <a:lnTo>
                    <a:pt x="761" y="218"/>
                  </a:lnTo>
                  <a:lnTo>
                    <a:pt x="769" y="257"/>
                  </a:lnTo>
                  <a:lnTo>
                    <a:pt x="772" y="297"/>
                  </a:lnTo>
                  <a:lnTo>
                    <a:pt x="769" y="337"/>
                  </a:lnTo>
                  <a:lnTo>
                    <a:pt x="761" y="375"/>
                  </a:lnTo>
                  <a:lnTo>
                    <a:pt x="748" y="412"/>
                  </a:lnTo>
                  <a:lnTo>
                    <a:pt x="731" y="447"/>
                  </a:lnTo>
                  <a:lnTo>
                    <a:pt x="710" y="478"/>
                  </a:lnTo>
                  <a:lnTo>
                    <a:pt x="685" y="506"/>
                  </a:lnTo>
                  <a:lnTo>
                    <a:pt x="657" y="531"/>
                  </a:lnTo>
                  <a:lnTo>
                    <a:pt x="625" y="552"/>
                  </a:lnTo>
                  <a:lnTo>
                    <a:pt x="591" y="569"/>
                  </a:lnTo>
                  <a:lnTo>
                    <a:pt x="554" y="582"/>
                  </a:lnTo>
                  <a:lnTo>
                    <a:pt x="516" y="590"/>
                  </a:lnTo>
                  <a:lnTo>
                    <a:pt x="476" y="593"/>
                  </a:lnTo>
                  <a:lnTo>
                    <a:pt x="448" y="591"/>
                  </a:lnTo>
                  <a:lnTo>
                    <a:pt x="420" y="586"/>
                  </a:lnTo>
                  <a:lnTo>
                    <a:pt x="393" y="580"/>
                  </a:lnTo>
                  <a:lnTo>
                    <a:pt x="129" y="1026"/>
                  </a:lnTo>
                  <a:lnTo>
                    <a:pt x="88" y="997"/>
                  </a:lnTo>
                  <a:lnTo>
                    <a:pt x="46" y="972"/>
                  </a:lnTo>
                  <a:lnTo>
                    <a:pt x="0" y="950"/>
                  </a:lnTo>
                  <a:lnTo>
                    <a:pt x="265" y="505"/>
                  </a:lnTo>
                  <a:lnTo>
                    <a:pt x="241" y="477"/>
                  </a:lnTo>
                  <a:lnTo>
                    <a:pt x="219" y="446"/>
                  </a:lnTo>
                  <a:lnTo>
                    <a:pt x="202" y="411"/>
                  </a:lnTo>
                  <a:lnTo>
                    <a:pt x="190" y="375"/>
                  </a:lnTo>
                  <a:lnTo>
                    <a:pt x="182" y="337"/>
                  </a:lnTo>
                  <a:lnTo>
                    <a:pt x="179" y="297"/>
                  </a:lnTo>
                  <a:lnTo>
                    <a:pt x="182" y="257"/>
                  </a:lnTo>
                  <a:lnTo>
                    <a:pt x="190" y="217"/>
                  </a:lnTo>
                  <a:lnTo>
                    <a:pt x="202" y="181"/>
                  </a:lnTo>
                  <a:lnTo>
                    <a:pt x="219" y="147"/>
                  </a:lnTo>
                  <a:lnTo>
                    <a:pt x="242" y="116"/>
                  </a:lnTo>
                  <a:lnTo>
                    <a:pt x="266" y="88"/>
                  </a:lnTo>
                  <a:lnTo>
                    <a:pt x="295" y="63"/>
                  </a:lnTo>
                  <a:lnTo>
                    <a:pt x="326" y="42"/>
                  </a:lnTo>
                  <a:lnTo>
                    <a:pt x="360" y="24"/>
                  </a:lnTo>
                  <a:lnTo>
                    <a:pt x="396" y="11"/>
                  </a:lnTo>
                  <a:lnTo>
                    <a:pt x="435" y="3"/>
                  </a:lnTo>
                  <a:lnTo>
                    <a:pt x="47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x-none"/>
            </a:p>
          </p:txBody>
        </p:sp>
        <p:sp>
          <p:nvSpPr>
            <p:cNvPr id="87" name="Freeform 71"/>
            <p:cNvSpPr>
              <a:spLocks/>
            </p:cNvSpPr>
            <p:nvPr/>
          </p:nvSpPr>
          <p:spPr bwMode="auto">
            <a:xfrm>
              <a:off x="6785" y="2834"/>
              <a:ext cx="319" cy="197"/>
            </a:xfrm>
            <a:custGeom>
              <a:avLst/>
              <a:gdLst>
                <a:gd name="T0" fmla="*/ 660 w 956"/>
                <a:gd name="T1" fmla="*/ 0 h 592"/>
                <a:gd name="T2" fmla="*/ 701 w 956"/>
                <a:gd name="T3" fmla="*/ 2 h 592"/>
                <a:gd name="T4" fmla="*/ 739 w 956"/>
                <a:gd name="T5" fmla="*/ 10 h 592"/>
                <a:gd name="T6" fmla="*/ 775 w 956"/>
                <a:gd name="T7" fmla="*/ 23 h 592"/>
                <a:gd name="T8" fmla="*/ 809 w 956"/>
                <a:gd name="T9" fmla="*/ 40 h 592"/>
                <a:gd name="T10" fmla="*/ 841 w 956"/>
                <a:gd name="T11" fmla="*/ 61 h 592"/>
                <a:gd name="T12" fmla="*/ 869 w 956"/>
                <a:gd name="T13" fmla="*/ 87 h 592"/>
                <a:gd name="T14" fmla="*/ 895 w 956"/>
                <a:gd name="T15" fmla="*/ 115 h 592"/>
                <a:gd name="T16" fmla="*/ 916 w 956"/>
                <a:gd name="T17" fmla="*/ 147 h 592"/>
                <a:gd name="T18" fmla="*/ 933 w 956"/>
                <a:gd name="T19" fmla="*/ 181 h 592"/>
                <a:gd name="T20" fmla="*/ 946 w 956"/>
                <a:gd name="T21" fmla="*/ 217 h 592"/>
                <a:gd name="T22" fmla="*/ 954 w 956"/>
                <a:gd name="T23" fmla="*/ 255 h 592"/>
                <a:gd name="T24" fmla="*/ 956 w 956"/>
                <a:gd name="T25" fmla="*/ 296 h 592"/>
                <a:gd name="T26" fmla="*/ 954 w 956"/>
                <a:gd name="T27" fmla="*/ 336 h 592"/>
                <a:gd name="T28" fmla="*/ 946 w 956"/>
                <a:gd name="T29" fmla="*/ 375 h 592"/>
                <a:gd name="T30" fmla="*/ 933 w 956"/>
                <a:gd name="T31" fmla="*/ 411 h 592"/>
                <a:gd name="T32" fmla="*/ 916 w 956"/>
                <a:gd name="T33" fmla="*/ 445 h 592"/>
                <a:gd name="T34" fmla="*/ 895 w 956"/>
                <a:gd name="T35" fmla="*/ 476 h 592"/>
                <a:gd name="T36" fmla="*/ 869 w 956"/>
                <a:gd name="T37" fmla="*/ 506 h 592"/>
                <a:gd name="T38" fmla="*/ 841 w 956"/>
                <a:gd name="T39" fmla="*/ 530 h 592"/>
                <a:gd name="T40" fmla="*/ 809 w 956"/>
                <a:gd name="T41" fmla="*/ 552 h 592"/>
                <a:gd name="T42" fmla="*/ 775 w 956"/>
                <a:gd name="T43" fmla="*/ 569 h 592"/>
                <a:gd name="T44" fmla="*/ 739 w 956"/>
                <a:gd name="T45" fmla="*/ 581 h 592"/>
                <a:gd name="T46" fmla="*/ 701 w 956"/>
                <a:gd name="T47" fmla="*/ 589 h 592"/>
                <a:gd name="T48" fmla="*/ 660 w 956"/>
                <a:gd name="T49" fmla="*/ 592 h 592"/>
                <a:gd name="T50" fmla="*/ 620 w 956"/>
                <a:gd name="T51" fmla="*/ 589 h 592"/>
                <a:gd name="T52" fmla="*/ 583 w 956"/>
                <a:gd name="T53" fmla="*/ 582 h 592"/>
                <a:gd name="T54" fmla="*/ 547 w 956"/>
                <a:gd name="T55" fmla="*/ 569 h 592"/>
                <a:gd name="T56" fmla="*/ 513 w 956"/>
                <a:gd name="T57" fmla="*/ 553 h 592"/>
                <a:gd name="T58" fmla="*/ 482 w 956"/>
                <a:gd name="T59" fmla="*/ 532 h 592"/>
                <a:gd name="T60" fmla="*/ 453 w 956"/>
                <a:gd name="T61" fmla="*/ 508 h 592"/>
                <a:gd name="T62" fmla="*/ 429 w 956"/>
                <a:gd name="T63" fmla="*/ 479 h 592"/>
                <a:gd name="T64" fmla="*/ 407 w 956"/>
                <a:gd name="T65" fmla="*/ 448 h 592"/>
                <a:gd name="T66" fmla="*/ 390 w 956"/>
                <a:gd name="T67" fmla="*/ 415 h 592"/>
                <a:gd name="T68" fmla="*/ 377 w 956"/>
                <a:gd name="T69" fmla="*/ 380 h 592"/>
                <a:gd name="T70" fmla="*/ 369 w 956"/>
                <a:gd name="T71" fmla="*/ 342 h 592"/>
                <a:gd name="T72" fmla="*/ 0 w 956"/>
                <a:gd name="T73" fmla="*/ 306 h 592"/>
                <a:gd name="T74" fmla="*/ 8 w 956"/>
                <a:gd name="T75" fmla="*/ 260 h 592"/>
                <a:gd name="T76" fmla="*/ 13 w 956"/>
                <a:gd name="T77" fmla="*/ 213 h 592"/>
                <a:gd name="T78" fmla="*/ 15 w 956"/>
                <a:gd name="T79" fmla="*/ 165 h 592"/>
                <a:gd name="T80" fmla="*/ 15 w 956"/>
                <a:gd name="T81" fmla="*/ 161 h 592"/>
                <a:gd name="T82" fmla="*/ 14 w 956"/>
                <a:gd name="T83" fmla="*/ 157 h 592"/>
                <a:gd name="T84" fmla="*/ 383 w 956"/>
                <a:gd name="T85" fmla="*/ 194 h 592"/>
                <a:gd name="T86" fmla="*/ 399 w 956"/>
                <a:gd name="T87" fmla="*/ 157 h 592"/>
                <a:gd name="T88" fmla="*/ 420 w 956"/>
                <a:gd name="T89" fmla="*/ 124 h 592"/>
                <a:gd name="T90" fmla="*/ 445 w 956"/>
                <a:gd name="T91" fmla="*/ 94 h 592"/>
                <a:gd name="T92" fmla="*/ 475 w 956"/>
                <a:gd name="T93" fmla="*/ 66 h 592"/>
                <a:gd name="T94" fmla="*/ 506 w 956"/>
                <a:gd name="T95" fmla="*/ 43 h 592"/>
                <a:gd name="T96" fmla="*/ 541 w 956"/>
                <a:gd name="T97" fmla="*/ 25 h 592"/>
                <a:gd name="T98" fmla="*/ 579 w 956"/>
                <a:gd name="T99" fmla="*/ 11 h 592"/>
                <a:gd name="T100" fmla="*/ 618 w 956"/>
                <a:gd name="T101" fmla="*/ 3 h 592"/>
                <a:gd name="T102" fmla="*/ 660 w 956"/>
                <a:gd name="T103" fmla="*/ 0 h 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56" h="592">
                  <a:moveTo>
                    <a:pt x="660" y="0"/>
                  </a:moveTo>
                  <a:lnTo>
                    <a:pt x="701" y="2"/>
                  </a:lnTo>
                  <a:lnTo>
                    <a:pt x="739" y="10"/>
                  </a:lnTo>
                  <a:lnTo>
                    <a:pt x="775" y="23"/>
                  </a:lnTo>
                  <a:lnTo>
                    <a:pt x="809" y="40"/>
                  </a:lnTo>
                  <a:lnTo>
                    <a:pt x="841" y="61"/>
                  </a:lnTo>
                  <a:lnTo>
                    <a:pt x="869" y="87"/>
                  </a:lnTo>
                  <a:lnTo>
                    <a:pt x="895" y="115"/>
                  </a:lnTo>
                  <a:lnTo>
                    <a:pt x="916" y="147"/>
                  </a:lnTo>
                  <a:lnTo>
                    <a:pt x="933" y="181"/>
                  </a:lnTo>
                  <a:lnTo>
                    <a:pt x="946" y="217"/>
                  </a:lnTo>
                  <a:lnTo>
                    <a:pt x="954" y="255"/>
                  </a:lnTo>
                  <a:lnTo>
                    <a:pt x="956" y="296"/>
                  </a:lnTo>
                  <a:lnTo>
                    <a:pt x="954" y="336"/>
                  </a:lnTo>
                  <a:lnTo>
                    <a:pt x="946" y="375"/>
                  </a:lnTo>
                  <a:lnTo>
                    <a:pt x="933" y="411"/>
                  </a:lnTo>
                  <a:lnTo>
                    <a:pt x="916" y="445"/>
                  </a:lnTo>
                  <a:lnTo>
                    <a:pt x="895" y="476"/>
                  </a:lnTo>
                  <a:lnTo>
                    <a:pt x="869" y="506"/>
                  </a:lnTo>
                  <a:lnTo>
                    <a:pt x="841" y="530"/>
                  </a:lnTo>
                  <a:lnTo>
                    <a:pt x="809" y="552"/>
                  </a:lnTo>
                  <a:lnTo>
                    <a:pt x="775" y="569"/>
                  </a:lnTo>
                  <a:lnTo>
                    <a:pt x="739" y="581"/>
                  </a:lnTo>
                  <a:lnTo>
                    <a:pt x="701" y="589"/>
                  </a:lnTo>
                  <a:lnTo>
                    <a:pt x="660" y="592"/>
                  </a:lnTo>
                  <a:lnTo>
                    <a:pt x="620" y="589"/>
                  </a:lnTo>
                  <a:lnTo>
                    <a:pt x="583" y="582"/>
                  </a:lnTo>
                  <a:lnTo>
                    <a:pt x="547" y="569"/>
                  </a:lnTo>
                  <a:lnTo>
                    <a:pt x="513" y="553"/>
                  </a:lnTo>
                  <a:lnTo>
                    <a:pt x="482" y="532"/>
                  </a:lnTo>
                  <a:lnTo>
                    <a:pt x="453" y="508"/>
                  </a:lnTo>
                  <a:lnTo>
                    <a:pt x="429" y="479"/>
                  </a:lnTo>
                  <a:lnTo>
                    <a:pt x="407" y="448"/>
                  </a:lnTo>
                  <a:lnTo>
                    <a:pt x="390" y="415"/>
                  </a:lnTo>
                  <a:lnTo>
                    <a:pt x="377" y="380"/>
                  </a:lnTo>
                  <a:lnTo>
                    <a:pt x="369" y="342"/>
                  </a:lnTo>
                  <a:lnTo>
                    <a:pt x="0" y="306"/>
                  </a:lnTo>
                  <a:lnTo>
                    <a:pt x="8" y="260"/>
                  </a:lnTo>
                  <a:lnTo>
                    <a:pt x="13" y="213"/>
                  </a:lnTo>
                  <a:lnTo>
                    <a:pt x="15" y="165"/>
                  </a:lnTo>
                  <a:lnTo>
                    <a:pt x="15" y="161"/>
                  </a:lnTo>
                  <a:lnTo>
                    <a:pt x="14" y="157"/>
                  </a:lnTo>
                  <a:lnTo>
                    <a:pt x="383" y="194"/>
                  </a:lnTo>
                  <a:lnTo>
                    <a:pt x="399" y="157"/>
                  </a:lnTo>
                  <a:lnTo>
                    <a:pt x="420" y="124"/>
                  </a:lnTo>
                  <a:lnTo>
                    <a:pt x="445" y="94"/>
                  </a:lnTo>
                  <a:lnTo>
                    <a:pt x="475" y="66"/>
                  </a:lnTo>
                  <a:lnTo>
                    <a:pt x="506" y="43"/>
                  </a:lnTo>
                  <a:lnTo>
                    <a:pt x="541" y="25"/>
                  </a:lnTo>
                  <a:lnTo>
                    <a:pt x="579" y="11"/>
                  </a:lnTo>
                  <a:lnTo>
                    <a:pt x="618" y="3"/>
                  </a:lnTo>
                  <a:lnTo>
                    <a:pt x="66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x-none"/>
            </a:p>
          </p:txBody>
        </p:sp>
        <p:sp>
          <p:nvSpPr>
            <p:cNvPr id="88" name="Freeform 72"/>
            <p:cNvSpPr>
              <a:spLocks/>
            </p:cNvSpPr>
            <p:nvPr/>
          </p:nvSpPr>
          <p:spPr bwMode="auto">
            <a:xfrm>
              <a:off x="6564" y="3102"/>
              <a:ext cx="198" cy="317"/>
            </a:xfrm>
            <a:custGeom>
              <a:avLst/>
              <a:gdLst>
                <a:gd name="T0" fmla="*/ 223 w 593"/>
                <a:gd name="T1" fmla="*/ 0 h 951"/>
                <a:gd name="T2" fmla="*/ 306 w 593"/>
                <a:gd name="T3" fmla="*/ 360 h 951"/>
                <a:gd name="T4" fmla="*/ 348 w 593"/>
                <a:gd name="T5" fmla="*/ 364 h 951"/>
                <a:gd name="T6" fmla="*/ 389 w 593"/>
                <a:gd name="T7" fmla="*/ 374 h 951"/>
                <a:gd name="T8" fmla="*/ 427 w 593"/>
                <a:gd name="T9" fmla="*/ 390 h 951"/>
                <a:gd name="T10" fmla="*/ 462 w 593"/>
                <a:gd name="T11" fmla="*/ 410 h 951"/>
                <a:gd name="T12" fmla="*/ 494 w 593"/>
                <a:gd name="T13" fmla="*/ 435 h 951"/>
                <a:gd name="T14" fmla="*/ 523 w 593"/>
                <a:gd name="T15" fmla="*/ 464 h 951"/>
                <a:gd name="T16" fmla="*/ 547 w 593"/>
                <a:gd name="T17" fmla="*/ 496 h 951"/>
                <a:gd name="T18" fmla="*/ 566 w 593"/>
                <a:gd name="T19" fmla="*/ 533 h 951"/>
                <a:gd name="T20" fmla="*/ 581 w 593"/>
                <a:gd name="T21" fmla="*/ 571 h 951"/>
                <a:gd name="T22" fmla="*/ 590 w 593"/>
                <a:gd name="T23" fmla="*/ 612 h 951"/>
                <a:gd name="T24" fmla="*/ 593 w 593"/>
                <a:gd name="T25" fmla="*/ 655 h 951"/>
                <a:gd name="T26" fmla="*/ 590 w 593"/>
                <a:gd name="T27" fmla="*/ 695 h 951"/>
                <a:gd name="T28" fmla="*/ 582 w 593"/>
                <a:gd name="T29" fmla="*/ 734 h 951"/>
                <a:gd name="T30" fmla="*/ 570 w 593"/>
                <a:gd name="T31" fmla="*/ 770 h 951"/>
                <a:gd name="T32" fmla="*/ 552 w 593"/>
                <a:gd name="T33" fmla="*/ 804 h 951"/>
                <a:gd name="T34" fmla="*/ 531 w 593"/>
                <a:gd name="T35" fmla="*/ 836 h 951"/>
                <a:gd name="T36" fmla="*/ 505 w 593"/>
                <a:gd name="T37" fmla="*/ 864 h 951"/>
                <a:gd name="T38" fmla="*/ 477 w 593"/>
                <a:gd name="T39" fmla="*/ 889 h 951"/>
                <a:gd name="T40" fmla="*/ 446 w 593"/>
                <a:gd name="T41" fmla="*/ 910 h 951"/>
                <a:gd name="T42" fmla="*/ 412 w 593"/>
                <a:gd name="T43" fmla="*/ 927 h 951"/>
                <a:gd name="T44" fmla="*/ 375 w 593"/>
                <a:gd name="T45" fmla="*/ 941 h 951"/>
                <a:gd name="T46" fmla="*/ 337 w 593"/>
                <a:gd name="T47" fmla="*/ 949 h 951"/>
                <a:gd name="T48" fmla="*/ 296 w 593"/>
                <a:gd name="T49" fmla="*/ 951 h 951"/>
                <a:gd name="T50" fmla="*/ 256 w 593"/>
                <a:gd name="T51" fmla="*/ 949 h 951"/>
                <a:gd name="T52" fmla="*/ 218 w 593"/>
                <a:gd name="T53" fmla="*/ 941 h 951"/>
                <a:gd name="T54" fmla="*/ 181 w 593"/>
                <a:gd name="T55" fmla="*/ 927 h 951"/>
                <a:gd name="T56" fmla="*/ 147 w 593"/>
                <a:gd name="T57" fmla="*/ 910 h 951"/>
                <a:gd name="T58" fmla="*/ 116 w 593"/>
                <a:gd name="T59" fmla="*/ 889 h 951"/>
                <a:gd name="T60" fmla="*/ 87 w 593"/>
                <a:gd name="T61" fmla="*/ 864 h 951"/>
                <a:gd name="T62" fmla="*/ 62 w 593"/>
                <a:gd name="T63" fmla="*/ 836 h 951"/>
                <a:gd name="T64" fmla="*/ 41 w 593"/>
                <a:gd name="T65" fmla="*/ 804 h 951"/>
                <a:gd name="T66" fmla="*/ 24 w 593"/>
                <a:gd name="T67" fmla="*/ 770 h 951"/>
                <a:gd name="T68" fmla="*/ 11 w 593"/>
                <a:gd name="T69" fmla="*/ 734 h 951"/>
                <a:gd name="T70" fmla="*/ 3 w 593"/>
                <a:gd name="T71" fmla="*/ 695 h 951"/>
                <a:gd name="T72" fmla="*/ 0 w 593"/>
                <a:gd name="T73" fmla="*/ 655 h 951"/>
                <a:gd name="T74" fmla="*/ 3 w 593"/>
                <a:gd name="T75" fmla="*/ 613 h 951"/>
                <a:gd name="T76" fmla="*/ 12 w 593"/>
                <a:gd name="T77" fmla="*/ 573 h 951"/>
                <a:gd name="T78" fmla="*/ 26 w 593"/>
                <a:gd name="T79" fmla="*/ 536 h 951"/>
                <a:gd name="T80" fmla="*/ 45 w 593"/>
                <a:gd name="T81" fmla="*/ 500 h 951"/>
                <a:gd name="T82" fmla="*/ 68 w 593"/>
                <a:gd name="T83" fmla="*/ 468 h 951"/>
                <a:gd name="T84" fmla="*/ 95 w 593"/>
                <a:gd name="T85" fmla="*/ 439 h 951"/>
                <a:gd name="T86" fmla="*/ 127 w 593"/>
                <a:gd name="T87" fmla="*/ 414 h 951"/>
                <a:gd name="T88" fmla="*/ 161 w 593"/>
                <a:gd name="T89" fmla="*/ 394 h 951"/>
                <a:gd name="T90" fmla="*/ 77 w 593"/>
                <a:gd name="T91" fmla="*/ 33 h 951"/>
                <a:gd name="T92" fmla="*/ 128 w 593"/>
                <a:gd name="T93" fmla="*/ 25 h 951"/>
                <a:gd name="T94" fmla="*/ 176 w 593"/>
                <a:gd name="T95" fmla="*/ 14 h 951"/>
                <a:gd name="T96" fmla="*/ 223 w 593"/>
                <a:gd name="T97" fmla="*/ 0 h 9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93" h="951">
                  <a:moveTo>
                    <a:pt x="223" y="0"/>
                  </a:moveTo>
                  <a:lnTo>
                    <a:pt x="306" y="360"/>
                  </a:lnTo>
                  <a:lnTo>
                    <a:pt x="348" y="364"/>
                  </a:lnTo>
                  <a:lnTo>
                    <a:pt x="389" y="374"/>
                  </a:lnTo>
                  <a:lnTo>
                    <a:pt x="427" y="390"/>
                  </a:lnTo>
                  <a:lnTo>
                    <a:pt x="462" y="410"/>
                  </a:lnTo>
                  <a:lnTo>
                    <a:pt x="494" y="435"/>
                  </a:lnTo>
                  <a:lnTo>
                    <a:pt x="523" y="464"/>
                  </a:lnTo>
                  <a:lnTo>
                    <a:pt x="547" y="496"/>
                  </a:lnTo>
                  <a:lnTo>
                    <a:pt x="566" y="533"/>
                  </a:lnTo>
                  <a:lnTo>
                    <a:pt x="581" y="571"/>
                  </a:lnTo>
                  <a:lnTo>
                    <a:pt x="590" y="612"/>
                  </a:lnTo>
                  <a:lnTo>
                    <a:pt x="593" y="655"/>
                  </a:lnTo>
                  <a:lnTo>
                    <a:pt x="590" y="695"/>
                  </a:lnTo>
                  <a:lnTo>
                    <a:pt x="582" y="734"/>
                  </a:lnTo>
                  <a:lnTo>
                    <a:pt x="570" y="770"/>
                  </a:lnTo>
                  <a:lnTo>
                    <a:pt x="552" y="804"/>
                  </a:lnTo>
                  <a:lnTo>
                    <a:pt x="531" y="836"/>
                  </a:lnTo>
                  <a:lnTo>
                    <a:pt x="505" y="864"/>
                  </a:lnTo>
                  <a:lnTo>
                    <a:pt x="477" y="889"/>
                  </a:lnTo>
                  <a:lnTo>
                    <a:pt x="446" y="910"/>
                  </a:lnTo>
                  <a:lnTo>
                    <a:pt x="412" y="927"/>
                  </a:lnTo>
                  <a:lnTo>
                    <a:pt x="375" y="941"/>
                  </a:lnTo>
                  <a:lnTo>
                    <a:pt x="337" y="949"/>
                  </a:lnTo>
                  <a:lnTo>
                    <a:pt x="296" y="951"/>
                  </a:lnTo>
                  <a:lnTo>
                    <a:pt x="256" y="949"/>
                  </a:lnTo>
                  <a:lnTo>
                    <a:pt x="218" y="941"/>
                  </a:lnTo>
                  <a:lnTo>
                    <a:pt x="181" y="927"/>
                  </a:lnTo>
                  <a:lnTo>
                    <a:pt x="147" y="910"/>
                  </a:lnTo>
                  <a:lnTo>
                    <a:pt x="116" y="889"/>
                  </a:lnTo>
                  <a:lnTo>
                    <a:pt x="87" y="864"/>
                  </a:lnTo>
                  <a:lnTo>
                    <a:pt x="62" y="836"/>
                  </a:lnTo>
                  <a:lnTo>
                    <a:pt x="41" y="804"/>
                  </a:lnTo>
                  <a:lnTo>
                    <a:pt x="24" y="770"/>
                  </a:lnTo>
                  <a:lnTo>
                    <a:pt x="11" y="734"/>
                  </a:lnTo>
                  <a:lnTo>
                    <a:pt x="3" y="695"/>
                  </a:lnTo>
                  <a:lnTo>
                    <a:pt x="0" y="655"/>
                  </a:lnTo>
                  <a:lnTo>
                    <a:pt x="3" y="613"/>
                  </a:lnTo>
                  <a:lnTo>
                    <a:pt x="12" y="573"/>
                  </a:lnTo>
                  <a:lnTo>
                    <a:pt x="26" y="536"/>
                  </a:lnTo>
                  <a:lnTo>
                    <a:pt x="45" y="500"/>
                  </a:lnTo>
                  <a:lnTo>
                    <a:pt x="68" y="468"/>
                  </a:lnTo>
                  <a:lnTo>
                    <a:pt x="95" y="439"/>
                  </a:lnTo>
                  <a:lnTo>
                    <a:pt x="127" y="414"/>
                  </a:lnTo>
                  <a:lnTo>
                    <a:pt x="161" y="394"/>
                  </a:lnTo>
                  <a:lnTo>
                    <a:pt x="77" y="33"/>
                  </a:lnTo>
                  <a:lnTo>
                    <a:pt x="128" y="25"/>
                  </a:lnTo>
                  <a:lnTo>
                    <a:pt x="176" y="14"/>
                  </a:lnTo>
                  <a:lnTo>
                    <a:pt x="22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x-none"/>
            </a:p>
          </p:txBody>
        </p:sp>
        <p:sp>
          <p:nvSpPr>
            <p:cNvPr id="89" name="Freeform 73"/>
            <p:cNvSpPr>
              <a:spLocks/>
            </p:cNvSpPr>
            <p:nvPr/>
          </p:nvSpPr>
          <p:spPr bwMode="auto">
            <a:xfrm>
              <a:off x="6010" y="2937"/>
              <a:ext cx="350" cy="204"/>
            </a:xfrm>
            <a:custGeom>
              <a:avLst/>
              <a:gdLst>
                <a:gd name="T0" fmla="*/ 1002 w 1050"/>
                <a:gd name="T1" fmla="*/ 0 h 611"/>
                <a:gd name="T2" fmla="*/ 1015 w 1050"/>
                <a:gd name="T3" fmla="*/ 48 h 611"/>
                <a:gd name="T4" fmla="*/ 1031 w 1050"/>
                <a:gd name="T5" fmla="*/ 95 h 611"/>
                <a:gd name="T6" fmla="*/ 1050 w 1050"/>
                <a:gd name="T7" fmla="*/ 140 h 611"/>
                <a:gd name="T8" fmla="*/ 590 w 1050"/>
                <a:gd name="T9" fmla="*/ 295 h 611"/>
                <a:gd name="T10" fmla="*/ 591 w 1050"/>
                <a:gd name="T11" fmla="*/ 304 h 611"/>
                <a:gd name="T12" fmla="*/ 592 w 1050"/>
                <a:gd name="T13" fmla="*/ 314 h 611"/>
                <a:gd name="T14" fmla="*/ 590 w 1050"/>
                <a:gd name="T15" fmla="*/ 354 h 611"/>
                <a:gd name="T16" fmla="*/ 582 w 1050"/>
                <a:gd name="T17" fmla="*/ 394 h 611"/>
                <a:gd name="T18" fmla="*/ 569 w 1050"/>
                <a:gd name="T19" fmla="*/ 430 h 611"/>
                <a:gd name="T20" fmla="*/ 552 w 1050"/>
                <a:gd name="T21" fmla="*/ 464 h 611"/>
                <a:gd name="T22" fmla="*/ 531 w 1050"/>
                <a:gd name="T23" fmla="*/ 495 h 611"/>
                <a:gd name="T24" fmla="*/ 505 w 1050"/>
                <a:gd name="T25" fmla="*/ 524 h 611"/>
                <a:gd name="T26" fmla="*/ 477 w 1050"/>
                <a:gd name="T27" fmla="*/ 549 h 611"/>
                <a:gd name="T28" fmla="*/ 445 w 1050"/>
                <a:gd name="T29" fmla="*/ 570 h 611"/>
                <a:gd name="T30" fmla="*/ 411 w 1050"/>
                <a:gd name="T31" fmla="*/ 587 h 611"/>
                <a:gd name="T32" fmla="*/ 375 w 1050"/>
                <a:gd name="T33" fmla="*/ 600 h 611"/>
                <a:gd name="T34" fmla="*/ 336 w 1050"/>
                <a:gd name="T35" fmla="*/ 608 h 611"/>
                <a:gd name="T36" fmla="*/ 295 w 1050"/>
                <a:gd name="T37" fmla="*/ 611 h 611"/>
                <a:gd name="T38" fmla="*/ 255 w 1050"/>
                <a:gd name="T39" fmla="*/ 608 h 611"/>
                <a:gd name="T40" fmla="*/ 217 w 1050"/>
                <a:gd name="T41" fmla="*/ 600 h 611"/>
                <a:gd name="T42" fmla="*/ 181 w 1050"/>
                <a:gd name="T43" fmla="*/ 587 h 611"/>
                <a:gd name="T44" fmla="*/ 147 w 1050"/>
                <a:gd name="T45" fmla="*/ 570 h 611"/>
                <a:gd name="T46" fmla="*/ 115 w 1050"/>
                <a:gd name="T47" fmla="*/ 549 h 611"/>
                <a:gd name="T48" fmla="*/ 86 w 1050"/>
                <a:gd name="T49" fmla="*/ 524 h 611"/>
                <a:gd name="T50" fmla="*/ 61 w 1050"/>
                <a:gd name="T51" fmla="*/ 495 h 611"/>
                <a:gd name="T52" fmla="*/ 40 w 1050"/>
                <a:gd name="T53" fmla="*/ 464 h 611"/>
                <a:gd name="T54" fmla="*/ 23 w 1050"/>
                <a:gd name="T55" fmla="*/ 430 h 611"/>
                <a:gd name="T56" fmla="*/ 11 w 1050"/>
                <a:gd name="T57" fmla="*/ 394 h 611"/>
                <a:gd name="T58" fmla="*/ 3 w 1050"/>
                <a:gd name="T59" fmla="*/ 354 h 611"/>
                <a:gd name="T60" fmla="*/ 0 w 1050"/>
                <a:gd name="T61" fmla="*/ 314 h 611"/>
                <a:gd name="T62" fmla="*/ 3 w 1050"/>
                <a:gd name="T63" fmla="*/ 274 h 611"/>
                <a:gd name="T64" fmla="*/ 11 w 1050"/>
                <a:gd name="T65" fmla="*/ 236 h 611"/>
                <a:gd name="T66" fmla="*/ 23 w 1050"/>
                <a:gd name="T67" fmla="*/ 200 h 611"/>
                <a:gd name="T68" fmla="*/ 40 w 1050"/>
                <a:gd name="T69" fmla="*/ 165 h 611"/>
                <a:gd name="T70" fmla="*/ 61 w 1050"/>
                <a:gd name="T71" fmla="*/ 133 h 611"/>
                <a:gd name="T72" fmla="*/ 86 w 1050"/>
                <a:gd name="T73" fmla="*/ 105 h 611"/>
                <a:gd name="T74" fmla="*/ 115 w 1050"/>
                <a:gd name="T75" fmla="*/ 80 h 611"/>
                <a:gd name="T76" fmla="*/ 147 w 1050"/>
                <a:gd name="T77" fmla="*/ 59 h 611"/>
                <a:gd name="T78" fmla="*/ 181 w 1050"/>
                <a:gd name="T79" fmla="*/ 42 h 611"/>
                <a:gd name="T80" fmla="*/ 217 w 1050"/>
                <a:gd name="T81" fmla="*/ 29 h 611"/>
                <a:gd name="T82" fmla="*/ 255 w 1050"/>
                <a:gd name="T83" fmla="*/ 22 h 611"/>
                <a:gd name="T84" fmla="*/ 295 w 1050"/>
                <a:gd name="T85" fmla="*/ 19 h 611"/>
                <a:gd name="T86" fmla="*/ 335 w 1050"/>
                <a:gd name="T87" fmla="*/ 21 h 611"/>
                <a:gd name="T88" fmla="*/ 371 w 1050"/>
                <a:gd name="T89" fmla="*/ 29 h 611"/>
                <a:gd name="T90" fmla="*/ 406 w 1050"/>
                <a:gd name="T91" fmla="*/ 40 h 611"/>
                <a:gd name="T92" fmla="*/ 439 w 1050"/>
                <a:gd name="T93" fmla="*/ 56 h 611"/>
                <a:gd name="T94" fmla="*/ 469 w 1050"/>
                <a:gd name="T95" fmla="*/ 75 h 611"/>
                <a:gd name="T96" fmla="*/ 497 w 1050"/>
                <a:gd name="T97" fmla="*/ 98 h 611"/>
                <a:gd name="T98" fmla="*/ 523 w 1050"/>
                <a:gd name="T99" fmla="*/ 124 h 611"/>
                <a:gd name="T100" fmla="*/ 544 w 1050"/>
                <a:gd name="T101" fmla="*/ 153 h 611"/>
                <a:gd name="T102" fmla="*/ 1002 w 1050"/>
                <a:gd name="T103" fmla="*/ 0 h 6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050" h="611">
                  <a:moveTo>
                    <a:pt x="1002" y="0"/>
                  </a:moveTo>
                  <a:lnTo>
                    <a:pt x="1015" y="48"/>
                  </a:lnTo>
                  <a:lnTo>
                    <a:pt x="1031" y="95"/>
                  </a:lnTo>
                  <a:lnTo>
                    <a:pt x="1050" y="140"/>
                  </a:lnTo>
                  <a:lnTo>
                    <a:pt x="590" y="295"/>
                  </a:lnTo>
                  <a:lnTo>
                    <a:pt x="591" y="304"/>
                  </a:lnTo>
                  <a:lnTo>
                    <a:pt x="592" y="314"/>
                  </a:lnTo>
                  <a:lnTo>
                    <a:pt x="590" y="354"/>
                  </a:lnTo>
                  <a:lnTo>
                    <a:pt x="582" y="394"/>
                  </a:lnTo>
                  <a:lnTo>
                    <a:pt x="569" y="430"/>
                  </a:lnTo>
                  <a:lnTo>
                    <a:pt x="552" y="464"/>
                  </a:lnTo>
                  <a:lnTo>
                    <a:pt x="531" y="495"/>
                  </a:lnTo>
                  <a:lnTo>
                    <a:pt x="505" y="524"/>
                  </a:lnTo>
                  <a:lnTo>
                    <a:pt x="477" y="549"/>
                  </a:lnTo>
                  <a:lnTo>
                    <a:pt x="445" y="570"/>
                  </a:lnTo>
                  <a:lnTo>
                    <a:pt x="411" y="587"/>
                  </a:lnTo>
                  <a:lnTo>
                    <a:pt x="375" y="600"/>
                  </a:lnTo>
                  <a:lnTo>
                    <a:pt x="336" y="608"/>
                  </a:lnTo>
                  <a:lnTo>
                    <a:pt x="295" y="611"/>
                  </a:lnTo>
                  <a:lnTo>
                    <a:pt x="255" y="608"/>
                  </a:lnTo>
                  <a:lnTo>
                    <a:pt x="217" y="600"/>
                  </a:lnTo>
                  <a:lnTo>
                    <a:pt x="181" y="587"/>
                  </a:lnTo>
                  <a:lnTo>
                    <a:pt x="147" y="570"/>
                  </a:lnTo>
                  <a:lnTo>
                    <a:pt x="115" y="549"/>
                  </a:lnTo>
                  <a:lnTo>
                    <a:pt x="86" y="524"/>
                  </a:lnTo>
                  <a:lnTo>
                    <a:pt x="61" y="495"/>
                  </a:lnTo>
                  <a:lnTo>
                    <a:pt x="40" y="464"/>
                  </a:lnTo>
                  <a:lnTo>
                    <a:pt x="23" y="430"/>
                  </a:lnTo>
                  <a:lnTo>
                    <a:pt x="11" y="394"/>
                  </a:lnTo>
                  <a:lnTo>
                    <a:pt x="3" y="354"/>
                  </a:lnTo>
                  <a:lnTo>
                    <a:pt x="0" y="314"/>
                  </a:lnTo>
                  <a:lnTo>
                    <a:pt x="3" y="274"/>
                  </a:lnTo>
                  <a:lnTo>
                    <a:pt x="11" y="236"/>
                  </a:lnTo>
                  <a:lnTo>
                    <a:pt x="23" y="200"/>
                  </a:lnTo>
                  <a:lnTo>
                    <a:pt x="40" y="165"/>
                  </a:lnTo>
                  <a:lnTo>
                    <a:pt x="61" y="133"/>
                  </a:lnTo>
                  <a:lnTo>
                    <a:pt x="86" y="105"/>
                  </a:lnTo>
                  <a:lnTo>
                    <a:pt x="115" y="80"/>
                  </a:lnTo>
                  <a:lnTo>
                    <a:pt x="147" y="59"/>
                  </a:lnTo>
                  <a:lnTo>
                    <a:pt x="181" y="42"/>
                  </a:lnTo>
                  <a:lnTo>
                    <a:pt x="217" y="29"/>
                  </a:lnTo>
                  <a:lnTo>
                    <a:pt x="255" y="22"/>
                  </a:lnTo>
                  <a:lnTo>
                    <a:pt x="295" y="19"/>
                  </a:lnTo>
                  <a:lnTo>
                    <a:pt x="335" y="21"/>
                  </a:lnTo>
                  <a:lnTo>
                    <a:pt x="371" y="29"/>
                  </a:lnTo>
                  <a:lnTo>
                    <a:pt x="406" y="40"/>
                  </a:lnTo>
                  <a:lnTo>
                    <a:pt x="439" y="56"/>
                  </a:lnTo>
                  <a:lnTo>
                    <a:pt x="469" y="75"/>
                  </a:lnTo>
                  <a:lnTo>
                    <a:pt x="497" y="98"/>
                  </a:lnTo>
                  <a:lnTo>
                    <a:pt x="523" y="124"/>
                  </a:lnTo>
                  <a:lnTo>
                    <a:pt x="544" y="153"/>
                  </a:lnTo>
                  <a:lnTo>
                    <a:pt x="100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x-none"/>
            </a:p>
          </p:txBody>
        </p:sp>
        <p:sp>
          <p:nvSpPr>
            <p:cNvPr id="90" name="Freeform 74"/>
            <p:cNvSpPr>
              <a:spLocks/>
            </p:cNvSpPr>
            <p:nvPr/>
          </p:nvSpPr>
          <p:spPr bwMode="auto">
            <a:xfrm>
              <a:off x="6395" y="2720"/>
              <a:ext cx="339" cy="338"/>
            </a:xfrm>
            <a:custGeom>
              <a:avLst/>
              <a:gdLst>
                <a:gd name="T0" fmla="*/ 507 w 1015"/>
                <a:gd name="T1" fmla="*/ 0 h 1016"/>
                <a:gd name="T2" fmla="*/ 562 w 1015"/>
                <a:gd name="T3" fmla="*/ 3 h 1016"/>
                <a:gd name="T4" fmla="*/ 617 w 1015"/>
                <a:gd name="T5" fmla="*/ 13 h 1016"/>
                <a:gd name="T6" fmla="*/ 668 w 1015"/>
                <a:gd name="T7" fmla="*/ 27 h 1016"/>
                <a:gd name="T8" fmla="*/ 717 w 1015"/>
                <a:gd name="T9" fmla="*/ 46 h 1016"/>
                <a:gd name="T10" fmla="*/ 763 w 1015"/>
                <a:gd name="T11" fmla="*/ 70 h 1016"/>
                <a:gd name="T12" fmla="*/ 807 w 1015"/>
                <a:gd name="T13" fmla="*/ 99 h 1016"/>
                <a:gd name="T14" fmla="*/ 848 w 1015"/>
                <a:gd name="T15" fmla="*/ 132 h 1016"/>
                <a:gd name="T16" fmla="*/ 884 w 1015"/>
                <a:gd name="T17" fmla="*/ 168 h 1016"/>
                <a:gd name="T18" fmla="*/ 917 w 1015"/>
                <a:gd name="T19" fmla="*/ 208 h 1016"/>
                <a:gd name="T20" fmla="*/ 946 w 1015"/>
                <a:gd name="T21" fmla="*/ 253 h 1016"/>
                <a:gd name="T22" fmla="*/ 970 w 1015"/>
                <a:gd name="T23" fmla="*/ 299 h 1016"/>
                <a:gd name="T24" fmla="*/ 989 w 1015"/>
                <a:gd name="T25" fmla="*/ 348 h 1016"/>
                <a:gd name="T26" fmla="*/ 1003 w 1015"/>
                <a:gd name="T27" fmla="*/ 399 h 1016"/>
                <a:gd name="T28" fmla="*/ 1012 w 1015"/>
                <a:gd name="T29" fmla="*/ 453 h 1016"/>
                <a:gd name="T30" fmla="*/ 1015 w 1015"/>
                <a:gd name="T31" fmla="*/ 508 h 1016"/>
                <a:gd name="T32" fmla="*/ 1012 w 1015"/>
                <a:gd name="T33" fmla="*/ 563 h 1016"/>
                <a:gd name="T34" fmla="*/ 1003 w 1015"/>
                <a:gd name="T35" fmla="*/ 617 h 1016"/>
                <a:gd name="T36" fmla="*/ 989 w 1015"/>
                <a:gd name="T37" fmla="*/ 669 h 1016"/>
                <a:gd name="T38" fmla="*/ 970 w 1015"/>
                <a:gd name="T39" fmla="*/ 718 h 1016"/>
                <a:gd name="T40" fmla="*/ 946 w 1015"/>
                <a:gd name="T41" fmla="*/ 764 h 1016"/>
                <a:gd name="T42" fmla="*/ 917 w 1015"/>
                <a:gd name="T43" fmla="*/ 808 h 1016"/>
                <a:gd name="T44" fmla="*/ 884 w 1015"/>
                <a:gd name="T45" fmla="*/ 849 h 1016"/>
                <a:gd name="T46" fmla="*/ 848 w 1015"/>
                <a:gd name="T47" fmla="*/ 886 h 1016"/>
                <a:gd name="T48" fmla="*/ 807 w 1015"/>
                <a:gd name="T49" fmla="*/ 918 h 1016"/>
                <a:gd name="T50" fmla="*/ 763 w 1015"/>
                <a:gd name="T51" fmla="*/ 947 h 1016"/>
                <a:gd name="T52" fmla="*/ 717 w 1015"/>
                <a:gd name="T53" fmla="*/ 971 h 1016"/>
                <a:gd name="T54" fmla="*/ 668 w 1015"/>
                <a:gd name="T55" fmla="*/ 990 h 1016"/>
                <a:gd name="T56" fmla="*/ 617 w 1015"/>
                <a:gd name="T57" fmla="*/ 1004 h 1016"/>
                <a:gd name="T58" fmla="*/ 562 w 1015"/>
                <a:gd name="T59" fmla="*/ 1013 h 1016"/>
                <a:gd name="T60" fmla="*/ 507 w 1015"/>
                <a:gd name="T61" fmla="*/ 1016 h 1016"/>
                <a:gd name="T62" fmla="*/ 452 w 1015"/>
                <a:gd name="T63" fmla="*/ 1013 h 1016"/>
                <a:gd name="T64" fmla="*/ 399 w 1015"/>
                <a:gd name="T65" fmla="*/ 1004 h 1016"/>
                <a:gd name="T66" fmla="*/ 347 w 1015"/>
                <a:gd name="T67" fmla="*/ 990 h 1016"/>
                <a:gd name="T68" fmla="*/ 298 w 1015"/>
                <a:gd name="T69" fmla="*/ 971 h 1016"/>
                <a:gd name="T70" fmla="*/ 252 w 1015"/>
                <a:gd name="T71" fmla="*/ 947 h 1016"/>
                <a:gd name="T72" fmla="*/ 208 w 1015"/>
                <a:gd name="T73" fmla="*/ 918 h 1016"/>
                <a:gd name="T74" fmla="*/ 167 w 1015"/>
                <a:gd name="T75" fmla="*/ 886 h 1016"/>
                <a:gd name="T76" fmla="*/ 130 w 1015"/>
                <a:gd name="T77" fmla="*/ 849 h 1016"/>
                <a:gd name="T78" fmla="*/ 98 w 1015"/>
                <a:gd name="T79" fmla="*/ 808 h 1016"/>
                <a:gd name="T80" fmla="*/ 69 w 1015"/>
                <a:gd name="T81" fmla="*/ 764 h 1016"/>
                <a:gd name="T82" fmla="*/ 45 w 1015"/>
                <a:gd name="T83" fmla="*/ 718 h 1016"/>
                <a:gd name="T84" fmla="*/ 26 w 1015"/>
                <a:gd name="T85" fmla="*/ 669 h 1016"/>
                <a:gd name="T86" fmla="*/ 12 w 1015"/>
                <a:gd name="T87" fmla="*/ 617 h 1016"/>
                <a:gd name="T88" fmla="*/ 3 w 1015"/>
                <a:gd name="T89" fmla="*/ 563 h 1016"/>
                <a:gd name="T90" fmla="*/ 0 w 1015"/>
                <a:gd name="T91" fmla="*/ 508 h 1016"/>
                <a:gd name="T92" fmla="*/ 3 w 1015"/>
                <a:gd name="T93" fmla="*/ 453 h 1016"/>
                <a:gd name="T94" fmla="*/ 12 w 1015"/>
                <a:gd name="T95" fmla="*/ 399 h 1016"/>
                <a:gd name="T96" fmla="*/ 26 w 1015"/>
                <a:gd name="T97" fmla="*/ 348 h 1016"/>
                <a:gd name="T98" fmla="*/ 45 w 1015"/>
                <a:gd name="T99" fmla="*/ 299 h 1016"/>
                <a:gd name="T100" fmla="*/ 69 w 1015"/>
                <a:gd name="T101" fmla="*/ 253 h 1016"/>
                <a:gd name="T102" fmla="*/ 98 w 1015"/>
                <a:gd name="T103" fmla="*/ 208 h 1016"/>
                <a:gd name="T104" fmla="*/ 130 w 1015"/>
                <a:gd name="T105" fmla="*/ 168 h 1016"/>
                <a:gd name="T106" fmla="*/ 167 w 1015"/>
                <a:gd name="T107" fmla="*/ 132 h 1016"/>
                <a:gd name="T108" fmla="*/ 208 w 1015"/>
                <a:gd name="T109" fmla="*/ 99 h 1016"/>
                <a:gd name="T110" fmla="*/ 252 w 1015"/>
                <a:gd name="T111" fmla="*/ 70 h 1016"/>
                <a:gd name="T112" fmla="*/ 298 w 1015"/>
                <a:gd name="T113" fmla="*/ 46 h 1016"/>
                <a:gd name="T114" fmla="*/ 347 w 1015"/>
                <a:gd name="T115" fmla="*/ 27 h 1016"/>
                <a:gd name="T116" fmla="*/ 399 w 1015"/>
                <a:gd name="T117" fmla="*/ 13 h 1016"/>
                <a:gd name="T118" fmla="*/ 452 w 1015"/>
                <a:gd name="T119" fmla="*/ 3 h 1016"/>
                <a:gd name="T120" fmla="*/ 507 w 1015"/>
                <a:gd name="T121" fmla="*/ 0 h 10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015" h="1016">
                  <a:moveTo>
                    <a:pt x="507" y="0"/>
                  </a:moveTo>
                  <a:lnTo>
                    <a:pt x="562" y="3"/>
                  </a:lnTo>
                  <a:lnTo>
                    <a:pt x="617" y="13"/>
                  </a:lnTo>
                  <a:lnTo>
                    <a:pt x="668" y="27"/>
                  </a:lnTo>
                  <a:lnTo>
                    <a:pt x="717" y="46"/>
                  </a:lnTo>
                  <a:lnTo>
                    <a:pt x="763" y="70"/>
                  </a:lnTo>
                  <a:lnTo>
                    <a:pt x="807" y="99"/>
                  </a:lnTo>
                  <a:lnTo>
                    <a:pt x="848" y="132"/>
                  </a:lnTo>
                  <a:lnTo>
                    <a:pt x="884" y="168"/>
                  </a:lnTo>
                  <a:lnTo>
                    <a:pt x="917" y="208"/>
                  </a:lnTo>
                  <a:lnTo>
                    <a:pt x="946" y="253"/>
                  </a:lnTo>
                  <a:lnTo>
                    <a:pt x="970" y="299"/>
                  </a:lnTo>
                  <a:lnTo>
                    <a:pt x="989" y="348"/>
                  </a:lnTo>
                  <a:lnTo>
                    <a:pt x="1003" y="399"/>
                  </a:lnTo>
                  <a:lnTo>
                    <a:pt x="1012" y="453"/>
                  </a:lnTo>
                  <a:lnTo>
                    <a:pt x="1015" y="508"/>
                  </a:lnTo>
                  <a:lnTo>
                    <a:pt x="1012" y="563"/>
                  </a:lnTo>
                  <a:lnTo>
                    <a:pt x="1003" y="617"/>
                  </a:lnTo>
                  <a:lnTo>
                    <a:pt x="989" y="669"/>
                  </a:lnTo>
                  <a:lnTo>
                    <a:pt x="970" y="718"/>
                  </a:lnTo>
                  <a:lnTo>
                    <a:pt x="946" y="764"/>
                  </a:lnTo>
                  <a:lnTo>
                    <a:pt x="917" y="808"/>
                  </a:lnTo>
                  <a:lnTo>
                    <a:pt x="884" y="849"/>
                  </a:lnTo>
                  <a:lnTo>
                    <a:pt x="848" y="886"/>
                  </a:lnTo>
                  <a:lnTo>
                    <a:pt x="807" y="918"/>
                  </a:lnTo>
                  <a:lnTo>
                    <a:pt x="763" y="947"/>
                  </a:lnTo>
                  <a:lnTo>
                    <a:pt x="717" y="971"/>
                  </a:lnTo>
                  <a:lnTo>
                    <a:pt x="668" y="990"/>
                  </a:lnTo>
                  <a:lnTo>
                    <a:pt x="617" y="1004"/>
                  </a:lnTo>
                  <a:lnTo>
                    <a:pt x="562" y="1013"/>
                  </a:lnTo>
                  <a:lnTo>
                    <a:pt x="507" y="1016"/>
                  </a:lnTo>
                  <a:lnTo>
                    <a:pt x="452" y="1013"/>
                  </a:lnTo>
                  <a:lnTo>
                    <a:pt x="399" y="1004"/>
                  </a:lnTo>
                  <a:lnTo>
                    <a:pt x="347" y="990"/>
                  </a:lnTo>
                  <a:lnTo>
                    <a:pt x="298" y="971"/>
                  </a:lnTo>
                  <a:lnTo>
                    <a:pt x="252" y="947"/>
                  </a:lnTo>
                  <a:lnTo>
                    <a:pt x="208" y="918"/>
                  </a:lnTo>
                  <a:lnTo>
                    <a:pt x="167" y="886"/>
                  </a:lnTo>
                  <a:lnTo>
                    <a:pt x="130" y="849"/>
                  </a:lnTo>
                  <a:lnTo>
                    <a:pt x="98" y="808"/>
                  </a:lnTo>
                  <a:lnTo>
                    <a:pt x="69" y="764"/>
                  </a:lnTo>
                  <a:lnTo>
                    <a:pt x="45" y="718"/>
                  </a:lnTo>
                  <a:lnTo>
                    <a:pt x="26" y="669"/>
                  </a:lnTo>
                  <a:lnTo>
                    <a:pt x="12" y="617"/>
                  </a:lnTo>
                  <a:lnTo>
                    <a:pt x="3" y="563"/>
                  </a:lnTo>
                  <a:lnTo>
                    <a:pt x="0" y="508"/>
                  </a:lnTo>
                  <a:lnTo>
                    <a:pt x="3" y="453"/>
                  </a:lnTo>
                  <a:lnTo>
                    <a:pt x="12" y="399"/>
                  </a:lnTo>
                  <a:lnTo>
                    <a:pt x="26" y="348"/>
                  </a:lnTo>
                  <a:lnTo>
                    <a:pt x="45" y="299"/>
                  </a:lnTo>
                  <a:lnTo>
                    <a:pt x="69" y="253"/>
                  </a:lnTo>
                  <a:lnTo>
                    <a:pt x="98" y="208"/>
                  </a:lnTo>
                  <a:lnTo>
                    <a:pt x="130" y="168"/>
                  </a:lnTo>
                  <a:lnTo>
                    <a:pt x="167" y="132"/>
                  </a:lnTo>
                  <a:lnTo>
                    <a:pt x="208" y="99"/>
                  </a:lnTo>
                  <a:lnTo>
                    <a:pt x="252" y="70"/>
                  </a:lnTo>
                  <a:lnTo>
                    <a:pt x="298" y="46"/>
                  </a:lnTo>
                  <a:lnTo>
                    <a:pt x="347" y="27"/>
                  </a:lnTo>
                  <a:lnTo>
                    <a:pt x="399" y="13"/>
                  </a:lnTo>
                  <a:lnTo>
                    <a:pt x="452" y="3"/>
                  </a:lnTo>
                  <a:lnTo>
                    <a:pt x="50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x-none"/>
            </a:p>
          </p:txBody>
        </p:sp>
      </p:grpSp>
      <p:grpSp>
        <p:nvGrpSpPr>
          <p:cNvPr id="91" name="Gruppieren 90"/>
          <p:cNvGrpSpPr/>
          <p:nvPr/>
        </p:nvGrpSpPr>
        <p:grpSpPr>
          <a:xfrm>
            <a:off x="1717867" y="4168810"/>
            <a:ext cx="208900" cy="185309"/>
            <a:chOff x="7004920" y="407077"/>
            <a:chExt cx="407988" cy="482601"/>
          </a:xfrm>
          <a:solidFill>
            <a:schemeClr val="tx2"/>
          </a:solidFill>
        </p:grpSpPr>
        <p:sp>
          <p:nvSpPr>
            <p:cNvPr id="92" name="Freeform 3783"/>
            <p:cNvSpPr>
              <a:spLocks/>
            </p:cNvSpPr>
            <p:nvPr/>
          </p:nvSpPr>
          <p:spPr bwMode="auto">
            <a:xfrm>
              <a:off x="7057307" y="407077"/>
              <a:ext cx="303213" cy="185738"/>
            </a:xfrm>
            <a:custGeom>
              <a:avLst/>
              <a:gdLst>
                <a:gd name="T0" fmla="*/ 95 w 381"/>
                <a:gd name="T1" fmla="*/ 235 h 235"/>
                <a:gd name="T2" fmla="*/ 95 w 381"/>
                <a:gd name="T3" fmla="*/ 187 h 235"/>
                <a:gd name="T4" fmla="*/ 99 w 381"/>
                <a:gd name="T5" fmla="*/ 156 h 235"/>
                <a:gd name="T6" fmla="*/ 112 w 381"/>
                <a:gd name="T7" fmla="*/ 130 h 235"/>
                <a:gd name="T8" fmla="*/ 133 w 381"/>
                <a:gd name="T9" fmla="*/ 109 h 235"/>
                <a:gd name="T10" fmla="*/ 159 w 381"/>
                <a:gd name="T11" fmla="*/ 95 h 235"/>
                <a:gd name="T12" fmla="*/ 190 w 381"/>
                <a:gd name="T13" fmla="*/ 90 h 235"/>
                <a:gd name="T14" fmla="*/ 190 w 381"/>
                <a:gd name="T15" fmla="*/ 90 h 235"/>
                <a:gd name="T16" fmla="*/ 221 w 381"/>
                <a:gd name="T17" fmla="*/ 95 h 235"/>
                <a:gd name="T18" fmla="*/ 246 w 381"/>
                <a:gd name="T19" fmla="*/ 109 h 235"/>
                <a:gd name="T20" fmla="*/ 267 w 381"/>
                <a:gd name="T21" fmla="*/ 130 h 235"/>
                <a:gd name="T22" fmla="*/ 281 w 381"/>
                <a:gd name="T23" fmla="*/ 156 h 235"/>
                <a:gd name="T24" fmla="*/ 287 w 381"/>
                <a:gd name="T25" fmla="*/ 187 h 235"/>
                <a:gd name="T26" fmla="*/ 287 w 381"/>
                <a:gd name="T27" fmla="*/ 235 h 235"/>
                <a:gd name="T28" fmla="*/ 381 w 381"/>
                <a:gd name="T29" fmla="*/ 235 h 235"/>
                <a:gd name="T30" fmla="*/ 381 w 381"/>
                <a:gd name="T31" fmla="*/ 157 h 235"/>
                <a:gd name="T32" fmla="*/ 376 w 381"/>
                <a:gd name="T33" fmla="*/ 121 h 235"/>
                <a:gd name="T34" fmla="*/ 362 w 381"/>
                <a:gd name="T35" fmla="*/ 88 h 235"/>
                <a:gd name="T36" fmla="*/ 339 w 381"/>
                <a:gd name="T37" fmla="*/ 58 h 235"/>
                <a:gd name="T38" fmla="*/ 310 w 381"/>
                <a:gd name="T39" fmla="*/ 35 h 235"/>
                <a:gd name="T40" fmla="*/ 275 w 381"/>
                <a:gd name="T41" fmla="*/ 16 h 235"/>
                <a:gd name="T42" fmla="*/ 234 w 381"/>
                <a:gd name="T43" fmla="*/ 4 h 235"/>
                <a:gd name="T44" fmla="*/ 192 w 381"/>
                <a:gd name="T45" fmla="*/ 0 h 235"/>
                <a:gd name="T46" fmla="*/ 190 w 381"/>
                <a:gd name="T47" fmla="*/ 0 h 235"/>
                <a:gd name="T48" fmla="*/ 145 w 381"/>
                <a:gd name="T49" fmla="*/ 4 h 235"/>
                <a:gd name="T50" fmla="*/ 106 w 381"/>
                <a:gd name="T51" fmla="*/ 16 h 235"/>
                <a:gd name="T52" fmla="*/ 69 w 381"/>
                <a:gd name="T53" fmla="*/ 35 h 235"/>
                <a:gd name="T54" fmla="*/ 40 w 381"/>
                <a:gd name="T55" fmla="*/ 58 h 235"/>
                <a:gd name="T56" fmla="*/ 19 w 381"/>
                <a:gd name="T57" fmla="*/ 88 h 235"/>
                <a:gd name="T58" fmla="*/ 4 w 381"/>
                <a:gd name="T59" fmla="*/ 121 h 235"/>
                <a:gd name="T60" fmla="*/ 0 w 381"/>
                <a:gd name="T61" fmla="*/ 157 h 235"/>
                <a:gd name="T62" fmla="*/ 0 w 381"/>
                <a:gd name="T63" fmla="*/ 235 h 235"/>
                <a:gd name="T64" fmla="*/ 95 w 381"/>
                <a:gd name="T65" fmla="*/ 235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81" h="235">
                  <a:moveTo>
                    <a:pt x="95" y="235"/>
                  </a:moveTo>
                  <a:lnTo>
                    <a:pt x="95" y="187"/>
                  </a:lnTo>
                  <a:lnTo>
                    <a:pt x="99" y="156"/>
                  </a:lnTo>
                  <a:lnTo>
                    <a:pt x="112" y="130"/>
                  </a:lnTo>
                  <a:lnTo>
                    <a:pt x="133" y="109"/>
                  </a:lnTo>
                  <a:lnTo>
                    <a:pt x="159" y="95"/>
                  </a:lnTo>
                  <a:lnTo>
                    <a:pt x="190" y="90"/>
                  </a:lnTo>
                  <a:lnTo>
                    <a:pt x="190" y="90"/>
                  </a:lnTo>
                  <a:lnTo>
                    <a:pt x="221" y="95"/>
                  </a:lnTo>
                  <a:lnTo>
                    <a:pt x="246" y="109"/>
                  </a:lnTo>
                  <a:lnTo>
                    <a:pt x="267" y="130"/>
                  </a:lnTo>
                  <a:lnTo>
                    <a:pt x="281" y="156"/>
                  </a:lnTo>
                  <a:lnTo>
                    <a:pt x="287" y="187"/>
                  </a:lnTo>
                  <a:lnTo>
                    <a:pt x="287" y="235"/>
                  </a:lnTo>
                  <a:lnTo>
                    <a:pt x="381" y="235"/>
                  </a:lnTo>
                  <a:lnTo>
                    <a:pt x="381" y="157"/>
                  </a:lnTo>
                  <a:lnTo>
                    <a:pt x="376" y="121"/>
                  </a:lnTo>
                  <a:lnTo>
                    <a:pt x="362" y="88"/>
                  </a:lnTo>
                  <a:lnTo>
                    <a:pt x="339" y="58"/>
                  </a:lnTo>
                  <a:lnTo>
                    <a:pt x="310" y="35"/>
                  </a:lnTo>
                  <a:lnTo>
                    <a:pt x="275" y="16"/>
                  </a:lnTo>
                  <a:lnTo>
                    <a:pt x="234" y="4"/>
                  </a:lnTo>
                  <a:lnTo>
                    <a:pt x="192" y="0"/>
                  </a:lnTo>
                  <a:lnTo>
                    <a:pt x="190" y="0"/>
                  </a:lnTo>
                  <a:lnTo>
                    <a:pt x="145" y="4"/>
                  </a:lnTo>
                  <a:lnTo>
                    <a:pt x="106" y="16"/>
                  </a:lnTo>
                  <a:lnTo>
                    <a:pt x="69" y="35"/>
                  </a:lnTo>
                  <a:lnTo>
                    <a:pt x="40" y="58"/>
                  </a:lnTo>
                  <a:lnTo>
                    <a:pt x="19" y="88"/>
                  </a:lnTo>
                  <a:lnTo>
                    <a:pt x="4" y="121"/>
                  </a:lnTo>
                  <a:lnTo>
                    <a:pt x="0" y="157"/>
                  </a:lnTo>
                  <a:lnTo>
                    <a:pt x="0" y="235"/>
                  </a:lnTo>
                  <a:lnTo>
                    <a:pt x="95" y="23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x-none"/>
            </a:p>
          </p:txBody>
        </p:sp>
        <p:sp>
          <p:nvSpPr>
            <p:cNvPr id="93" name="Freeform 3784"/>
            <p:cNvSpPr>
              <a:spLocks noEditPoints="1"/>
            </p:cNvSpPr>
            <p:nvPr/>
          </p:nvSpPr>
          <p:spPr bwMode="auto">
            <a:xfrm>
              <a:off x="7004920" y="621390"/>
              <a:ext cx="407988" cy="268288"/>
            </a:xfrm>
            <a:custGeom>
              <a:avLst/>
              <a:gdLst>
                <a:gd name="T0" fmla="*/ 459 w 513"/>
                <a:gd name="T1" fmla="*/ 0 h 338"/>
                <a:gd name="T2" fmla="*/ 52 w 513"/>
                <a:gd name="T3" fmla="*/ 0 h 338"/>
                <a:gd name="T4" fmla="*/ 31 w 513"/>
                <a:gd name="T5" fmla="*/ 4 h 338"/>
                <a:gd name="T6" fmla="*/ 15 w 513"/>
                <a:gd name="T7" fmla="*/ 15 h 338"/>
                <a:gd name="T8" fmla="*/ 4 w 513"/>
                <a:gd name="T9" fmla="*/ 33 h 338"/>
                <a:gd name="T10" fmla="*/ 0 w 513"/>
                <a:gd name="T11" fmla="*/ 54 h 338"/>
                <a:gd name="T12" fmla="*/ 0 w 513"/>
                <a:gd name="T13" fmla="*/ 283 h 338"/>
                <a:gd name="T14" fmla="*/ 4 w 513"/>
                <a:gd name="T15" fmla="*/ 305 h 338"/>
                <a:gd name="T16" fmla="*/ 15 w 513"/>
                <a:gd name="T17" fmla="*/ 322 h 338"/>
                <a:gd name="T18" fmla="*/ 31 w 513"/>
                <a:gd name="T19" fmla="*/ 332 h 338"/>
                <a:gd name="T20" fmla="*/ 52 w 513"/>
                <a:gd name="T21" fmla="*/ 338 h 338"/>
                <a:gd name="T22" fmla="*/ 459 w 513"/>
                <a:gd name="T23" fmla="*/ 338 h 338"/>
                <a:gd name="T24" fmla="*/ 480 w 513"/>
                <a:gd name="T25" fmla="*/ 332 h 338"/>
                <a:gd name="T26" fmla="*/ 498 w 513"/>
                <a:gd name="T27" fmla="*/ 322 h 338"/>
                <a:gd name="T28" fmla="*/ 508 w 513"/>
                <a:gd name="T29" fmla="*/ 305 h 338"/>
                <a:gd name="T30" fmla="*/ 513 w 513"/>
                <a:gd name="T31" fmla="*/ 283 h 338"/>
                <a:gd name="T32" fmla="*/ 513 w 513"/>
                <a:gd name="T33" fmla="*/ 54 h 338"/>
                <a:gd name="T34" fmla="*/ 508 w 513"/>
                <a:gd name="T35" fmla="*/ 33 h 338"/>
                <a:gd name="T36" fmla="*/ 498 w 513"/>
                <a:gd name="T37" fmla="*/ 15 h 338"/>
                <a:gd name="T38" fmla="*/ 480 w 513"/>
                <a:gd name="T39" fmla="*/ 4 h 338"/>
                <a:gd name="T40" fmla="*/ 459 w 513"/>
                <a:gd name="T41" fmla="*/ 0 h 338"/>
                <a:gd name="T42" fmla="*/ 283 w 513"/>
                <a:gd name="T43" fmla="*/ 165 h 338"/>
                <a:gd name="T44" fmla="*/ 283 w 513"/>
                <a:gd name="T45" fmla="*/ 262 h 338"/>
                <a:gd name="T46" fmla="*/ 228 w 513"/>
                <a:gd name="T47" fmla="*/ 262 h 338"/>
                <a:gd name="T48" fmla="*/ 228 w 513"/>
                <a:gd name="T49" fmla="*/ 165 h 338"/>
                <a:gd name="T50" fmla="*/ 215 w 513"/>
                <a:gd name="T51" fmla="*/ 147 h 338"/>
                <a:gd name="T52" fmla="*/ 209 w 513"/>
                <a:gd name="T53" fmla="*/ 126 h 338"/>
                <a:gd name="T54" fmla="*/ 213 w 513"/>
                <a:gd name="T55" fmla="*/ 109 h 338"/>
                <a:gd name="T56" fmla="*/ 223 w 513"/>
                <a:gd name="T57" fmla="*/ 95 h 338"/>
                <a:gd name="T58" fmla="*/ 238 w 513"/>
                <a:gd name="T59" fmla="*/ 83 h 338"/>
                <a:gd name="T60" fmla="*/ 256 w 513"/>
                <a:gd name="T61" fmla="*/ 81 h 338"/>
                <a:gd name="T62" fmla="*/ 273 w 513"/>
                <a:gd name="T63" fmla="*/ 83 h 338"/>
                <a:gd name="T64" fmla="*/ 289 w 513"/>
                <a:gd name="T65" fmla="*/ 95 h 338"/>
                <a:gd name="T66" fmla="*/ 298 w 513"/>
                <a:gd name="T67" fmla="*/ 109 h 338"/>
                <a:gd name="T68" fmla="*/ 302 w 513"/>
                <a:gd name="T69" fmla="*/ 126 h 338"/>
                <a:gd name="T70" fmla="*/ 296 w 513"/>
                <a:gd name="T71" fmla="*/ 147 h 338"/>
                <a:gd name="T72" fmla="*/ 283 w 513"/>
                <a:gd name="T73" fmla="*/ 165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13" h="338">
                  <a:moveTo>
                    <a:pt x="459" y="0"/>
                  </a:moveTo>
                  <a:lnTo>
                    <a:pt x="52" y="0"/>
                  </a:lnTo>
                  <a:lnTo>
                    <a:pt x="31" y="4"/>
                  </a:lnTo>
                  <a:lnTo>
                    <a:pt x="15" y="15"/>
                  </a:lnTo>
                  <a:lnTo>
                    <a:pt x="4" y="33"/>
                  </a:lnTo>
                  <a:lnTo>
                    <a:pt x="0" y="54"/>
                  </a:lnTo>
                  <a:lnTo>
                    <a:pt x="0" y="283"/>
                  </a:lnTo>
                  <a:lnTo>
                    <a:pt x="4" y="305"/>
                  </a:lnTo>
                  <a:lnTo>
                    <a:pt x="15" y="322"/>
                  </a:lnTo>
                  <a:lnTo>
                    <a:pt x="31" y="332"/>
                  </a:lnTo>
                  <a:lnTo>
                    <a:pt x="52" y="338"/>
                  </a:lnTo>
                  <a:lnTo>
                    <a:pt x="459" y="338"/>
                  </a:lnTo>
                  <a:lnTo>
                    <a:pt x="480" y="332"/>
                  </a:lnTo>
                  <a:lnTo>
                    <a:pt x="498" y="322"/>
                  </a:lnTo>
                  <a:lnTo>
                    <a:pt x="508" y="305"/>
                  </a:lnTo>
                  <a:lnTo>
                    <a:pt x="513" y="283"/>
                  </a:lnTo>
                  <a:lnTo>
                    <a:pt x="513" y="54"/>
                  </a:lnTo>
                  <a:lnTo>
                    <a:pt x="508" y="33"/>
                  </a:lnTo>
                  <a:lnTo>
                    <a:pt x="498" y="15"/>
                  </a:lnTo>
                  <a:lnTo>
                    <a:pt x="480" y="4"/>
                  </a:lnTo>
                  <a:lnTo>
                    <a:pt x="459" y="0"/>
                  </a:lnTo>
                  <a:close/>
                  <a:moveTo>
                    <a:pt x="283" y="165"/>
                  </a:moveTo>
                  <a:lnTo>
                    <a:pt x="283" y="262"/>
                  </a:lnTo>
                  <a:lnTo>
                    <a:pt x="228" y="262"/>
                  </a:lnTo>
                  <a:lnTo>
                    <a:pt x="228" y="165"/>
                  </a:lnTo>
                  <a:lnTo>
                    <a:pt x="215" y="147"/>
                  </a:lnTo>
                  <a:lnTo>
                    <a:pt x="209" y="126"/>
                  </a:lnTo>
                  <a:lnTo>
                    <a:pt x="213" y="109"/>
                  </a:lnTo>
                  <a:lnTo>
                    <a:pt x="223" y="95"/>
                  </a:lnTo>
                  <a:lnTo>
                    <a:pt x="238" y="83"/>
                  </a:lnTo>
                  <a:lnTo>
                    <a:pt x="256" y="81"/>
                  </a:lnTo>
                  <a:lnTo>
                    <a:pt x="273" y="83"/>
                  </a:lnTo>
                  <a:lnTo>
                    <a:pt x="289" y="95"/>
                  </a:lnTo>
                  <a:lnTo>
                    <a:pt x="298" y="109"/>
                  </a:lnTo>
                  <a:lnTo>
                    <a:pt x="302" y="126"/>
                  </a:lnTo>
                  <a:lnTo>
                    <a:pt x="296" y="147"/>
                  </a:lnTo>
                  <a:lnTo>
                    <a:pt x="283" y="16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x-none"/>
            </a:p>
          </p:txBody>
        </p:sp>
      </p:grpSp>
      <p:sp>
        <p:nvSpPr>
          <p:cNvPr id="94" name="Freeform 14"/>
          <p:cNvSpPr>
            <a:spLocks noEditPoints="1"/>
          </p:cNvSpPr>
          <p:nvPr/>
        </p:nvSpPr>
        <p:spPr bwMode="auto">
          <a:xfrm>
            <a:off x="486682" y="1171132"/>
            <a:ext cx="240816" cy="179791"/>
          </a:xfrm>
          <a:custGeom>
            <a:avLst/>
            <a:gdLst>
              <a:gd name="T0" fmla="*/ 30 w 675"/>
              <a:gd name="T1" fmla="*/ 280 h 673"/>
              <a:gd name="T2" fmla="*/ 4 w 675"/>
              <a:gd name="T3" fmla="*/ 219 h 673"/>
              <a:gd name="T4" fmla="*/ 1 w 675"/>
              <a:gd name="T5" fmla="*/ 155 h 673"/>
              <a:gd name="T6" fmla="*/ 60 w 675"/>
              <a:gd name="T7" fmla="*/ 313 h 673"/>
              <a:gd name="T8" fmla="*/ 650 w 675"/>
              <a:gd name="T9" fmla="*/ 648 h 673"/>
              <a:gd name="T10" fmla="*/ 672 w 675"/>
              <a:gd name="T11" fmla="*/ 610 h 673"/>
              <a:gd name="T12" fmla="*/ 672 w 675"/>
              <a:gd name="T13" fmla="*/ 567 h 673"/>
              <a:gd name="T14" fmla="*/ 650 w 675"/>
              <a:gd name="T15" fmla="*/ 528 h 673"/>
              <a:gd name="T16" fmla="*/ 640 w 675"/>
              <a:gd name="T17" fmla="*/ 519 h 673"/>
              <a:gd name="T18" fmla="*/ 615 w 675"/>
              <a:gd name="T19" fmla="*/ 493 h 673"/>
              <a:gd name="T20" fmla="*/ 579 w 675"/>
              <a:gd name="T21" fmla="*/ 457 h 673"/>
              <a:gd name="T22" fmla="*/ 536 w 675"/>
              <a:gd name="T23" fmla="*/ 413 h 673"/>
              <a:gd name="T24" fmla="*/ 491 w 675"/>
              <a:gd name="T25" fmla="*/ 370 h 673"/>
              <a:gd name="T26" fmla="*/ 450 w 675"/>
              <a:gd name="T27" fmla="*/ 329 h 673"/>
              <a:gd name="T28" fmla="*/ 417 w 675"/>
              <a:gd name="T29" fmla="*/ 296 h 673"/>
              <a:gd name="T30" fmla="*/ 398 w 675"/>
              <a:gd name="T31" fmla="*/ 275 h 673"/>
              <a:gd name="T32" fmla="*/ 375 w 675"/>
              <a:gd name="T33" fmla="*/ 238 h 673"/>
              <a:gd name="T34" fmla="*/ 362 w 675"/>
              <a:gd name="T35" fmla="*/ 185 h 673"/>
              <a:gd name="T36" fmla="*/ 346 w 675"/>
              <a:gd name="T37" fmla="*/ 129 h 673"/>
              <a:gd name="T38" fmla="*/ 323 w 675"/>
              <a:gd name="T39" fmla="*/ 75 h 673"/>
              <a:gd name="T40" fmla="*/ 276 w 675"/>
              <a:gd name="T41" fmla="*/ 30 h 673"/>
              <a:gd name="T42" fmla="*/ 213 w 675"/>
              <a:gd name="T43" fmla="*/ 4 h 673"/>
              <a:gd name="T44" fmla="*/ 145 w 675"/>
              <a:gd name="T45" fmla="*/ 4 h 673"/>
              <a:gd name="T46" fmla="*/ 81 w 675"/>
              <a:gd name="T47" fmla="*/ 30 h 673"/>
              <a:gd name="T48" fmla="*/ 49 w 675"/>
              <a:gd name="T49" fmla="*/ 58 h 673"/>
              <a:gd name="T50" fmla="*/ 47 w 675"/>
              <a:gd name="T51" fmla="*/ 67 h 673"/>
              <a:gd name="T52" fmla="*/ 52 w 675"/>
              <a:gd name="T53" fmla="*/ 72 h 673"/>
              <a:gd name="T54" fmla="*/ 155 w 675"/>
              <a:gd name="T55" fmla="*/ 110 h 673"/>
              <a:gd name="T56" fmla="*/ 166 w 675"/>
              <a:gd name="T57" fmla="*/ 125 h 673"/>
              <a:gd name="T58" fmla="*/ 98 w 675"/>
              <a:gd name="T59" fmla="*/ 317 h 673"/>
              <a:gd name="T60" fmla="*/ 98 w 675"/>
              <a:gd name="T61" fmla="*/ 329 h 673"/>
              <a:gd name="T62" fmla="*/ 105 w 675"/>
              <a:gd name="T63" fmla="*/ 339 h 673"/>
              <a:gd name="T64" fmla="*/ 114 w 675"/>
              <a:gd name="T65" fmla="*/ 342 h 673"/>
              <a:gd name="T66" fmla="*/ 145 w 675"/>
              <a:gd name="T67" fmla="*/ 345 h 673"/>
              <a:gd name="T68" fmla="*/ 189 w 675"/>
              <a:gd name="T69" fmla="*/ 355 h 673"/>
              <a:gd name="T70" fmla="*/ 239 w 675"/>
              <a:gd name="T71" fmla="*/ 371 h 673"/>
              <a:gd name="T72" fmla="*/ 278 w 675"/>
              <a:gd name="T73" fmla="*/ 396 h 673"/>
              <a:gd name="T74" fmla="*/ 297 w 675"/>
              <a:gd name="T75" fmla="*/ 414 h 673"/>
              <a:gd name="T76" fmla="*/ 328 w 675"/>
              <a:gd name="T77" fmla="*/ 446 h 673"/>
              <a:gd name="T78" fmla="*/ 369 w 675"/>
              <a:gd name="T79" fmla="*/ 487 h 673"/>
              <a:gd name="T80" fmla="*/ 414 w 675"/>
              <a:gd name="T81" fmla="*/ 532 h 673"/>
              <a:gd name="T82" fmla="*/ 457 w 675"/>
              <a:gd name="T83" fmla="*/ 575 h 673"/>
              <a:gd name="T84" fmla="*/ 495 w 675"/>
              <a:gd name="T85" fmla="*/ 612 h 673"/>
              <a:gd name="T86" fmla="*/ 521 w 675"/>
              <a:gd name="T87" fmla="*/ 638 h 673"/>
              <a:gd name="T88" fmla="*/ 530 w 675"/>
              <a:gd name="T89" fmla="*/ 648 h 673"/>
              <a:gd name="T90" fmla="*/ 569 w 675"/>
              <a:gd name="T91" fmla="*/ 670 h 673"/>
              <a:gd name="T92" fmla="*/ 612 w 675"/>
              <a:gd name="T93" fmla="*/ 670 h 673"/>
              <a:gd name="T94" fmla="*/ 650 w 675"/>
              <a:gd name="T95" fmla="*/ 648 h 673"/>
              <a:gd name="T96" fmla="*/ 563 w 675"/>
              <a:gd name="T97" fmla="*/ 599 h 673"/>
              <a:gd name="T98" fmla="*/ 556 w 675"/>
              <a:gd name="T99" fmla="*/ 577 h 673"/>
              <a:gd name="T100" fmla="*/ 560 w 675"/>
              <a:gd name="T101" fmla="*/ 559 h 673"/>
              <a:gd name="T102" fmla="*/ 578 w 675"/>
              <a:gd name="T103" fmla="*/ 555 h 673"/>
              <a:gd name="T104" fmla="*/ 601 w 675"/>
              <a:gd name="T105" fmla="*/ 561 h 673"/>
              <a:gd name="T106" fmla="*/ 617 w 675"/>
              <a:gd name="T107" fmla="*/ 577 h 673"/>
              <a:gd name="T108" fmla="*/ 617 w 675"/>
              <a:gd name="T109" fmla="*/ 599 h 673"/>
              <a:gd name="T110" fmla="*/ 601 w 675"/>
              <a:gd name="T111" fmla="*/ 615 h 673"/>
              <a:gd name="T112" fmla="*/ 579 w 675"/>
              <a:gd name="T113" fmla="*/ 615 h 6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675" h="673">
                <a:moveTo>
                  <a:pt x="52" y="306"/>
                </a:moveTo>
                <a:lnTo>
                  <a:pt x="30" y="280"/>
                </a:lnTo>
                <a:lnTo>
                  <a:pt x="14" y="251"/>
                </a:lnTo>
                <a:lnTo>
                  <a:pt x="4" y="219"/>
                </a:lnTo>
                <a:lnTo>
                  <a:pt x="0" y="187"/>
                </a:lnTo>
                <a:lnTo>
                  <a:pt x="1" y="155"/>
                </a:lnTo>
                <a:lnTo>
                  <a:pt x="104" y="193"/>
                </a:lnTo>
                <a:lnTo>
                  <a:pt x="60" y="313"/>
                </a:lnTo>
                <a:lnTo>
                  <a:pt x="52" y="306"/>
                </a:lnTo>
                <a:close/>
                <a:moveTo>
                  <a:pt x="650" y="648"/>
                </a:moveTo>
                <a:lnTo>
                  <a:pt x="663" y="630"/>
                </a:lnTo>
                <a:lnTo>
                  <a:pt x="672" y="610"/>
                </a:lnTo>
                <a:lnTo>
                  <a:pt x="675" y="588"/>
                </a:lnTo>
                <a:lnTo>
                  <a:pt x="672" y="567"/>
                </a:lnTo>
                <a:lnTo>
                  <a:pt x="663" y="546"/>
                </a:lnTo>
                <a:lnTo>
                  <a:pt x="650" y="528"/>
                </a:lnTo>
                <a:lnTo>
                  <a:pt x="647" y="526"/>
                </a:lnTo>
                <a:lnTo>
                  <a:pt x="640" y="519"/>
                </a:lnTo>
                <a:lnTo>
                  <a:pt x="630" y="507"/>
                </a:lnTo>
                <a:lnTo>
                  <a:pt x="615" y="493"/>
                </a:lnTo>
                <a:lnTo>
                  <a:pt x="598" y="475"/>
                </a:lnTo>
                <a:lnTo>
                  <a:pt x="579" y="457"/>
                </a:lnTo>
                <a:lnTo>
                  <a:pt x="557" y="436"/>
                </a:lnTo>
                <a:lnTo>
                  <a:pt x="536" y="413"/>
                </a:lnTo>
                <a:lnTo>
                  <a:pt x="514" y="391"/>
                </a:lnTo>
                <a:lnTo>
                  <a:pt x="491" y="370"/>
                </a:lnTo>
                <a:lnTo>
                  <a:pt x="470" y="348"/>
                </a:lnTo>
                <a:lnTo>
                  <a:pt x="450" y="329"/>
                </a:lnTo>
                <a:lnTo>
                  <a:pt x="433" y="310"/>
                </a:lnTo>
                <a:lnTo>
                  <a:pt x="417" y="296"/>
                </a:lnTo>
                <a:lnTo>
                  <a:pt x="405" y="284"/>
                </a:lnTo>
                <a:lnTo>
                  <a:pt x="398" y="275"/>
                </a:lnTo>
                <a:lnTo>
                  <a:pt x="385" y="258"/>
                </a:lnTo>
                <a:lnTo>
                  <a:pt x="375" y="238"/>
                </a:lnTo>
                <a:lnTo>
                  <a:pt x="368" y="212"/>
                </a:lnTo>
                <a:lnTo>
                  <a:pt x="362" y="185"/>
                </a:lnTo>
                <a:lnTo>
                  <a:pt x="355" y="156"/>
                </a:lnTo>
                <a:lnTo>
                  <a:pt x="346" y="129"/>
                </a:lnTo>
                <a:lnTo>
                  <a:pt x="336" y="101"/>
                </a:lnTo>
                <a:lnTo>
                  <a:pt x="323" y="75"/>
                </a:lnTo>
                <a:lnTo>
                  <a:pt x="305" y="52"/>
                </a:lnTo>
                <a:lnTo>
                  <a:pt x="276" y="30"/>
                </a:lnTo>
                <a:lnTo>
                  <a:pt x="246" y="13"/>
                </a:lnTo>
                <a:lnTo>
                  <a:pt x="213" y="4"/>
                </a:lnTo>
                <a:lnTo>
                  <a:pt x="178" y="0"/>
                </a:lnTo>
                <a:lnTo>
                  <a:pt x="145" y="4"/>
                </a:lnTo>
                <a:lnTo>
                  <a:pt x="111" y="13"/>
                </a:lnTo>
                <a:lnTo>
                  <a:pt x="81" y="30"/>
                </a:lnTo>
                <a:lnTo>
                  <a:pt x="52" y="52"/>
                </a:lnTo>
                <a:lnTo>
                  <a:pt x="49" y="58"/>
                </a:lnTo>
                <a:lnTo>
                  <a:pt x="47" y="62"/>
                </a:lnTo>
                <a:lnTo>
                  <a:pt x="47" y="67"/>
                </a:lnTo>
                <a:lnTo>
                  <a:pt x="49" y="70"/>
                </a:lnTo>
                <a:lnTo>
                  <a:pt x="52" y="72"/>
                </a:lnTo>
                <a:lnTo>
                  <a:pt x="56" y="74"/>
                </a:lnTo>
                <a:lnTo>
                  <a:pt x="155" y="110"/>
                </a:lnTo>
                <a:lnTo>
                  <a:pt x="162" y="116"/>
                </a:lnTo>
                <a:lnTo>
                  <a:pt x="166" y="125"/>
                </a:lnTo>
                <a:lnTo>
                  <a:pt x="166" y="135"/>
                </a:lnTo>
                <a:lnTo>
                  <a:pt x="98" y="317"/>
                </a:lnTo>
                <a:lnTo>
                  <a:pt x="98" y="323"/>
                </a:lnTo>
                <a:lnTo>
                  <a:pt x="98" y="329"/>
                </a:lnTo>
                <a:lnTo>
                  <a:pt x="101" y="335"/>
                </a:lnTo>
                <a:lnTo>
                  <a:pt x="105" y="339"/>
                </a:lnTo>
                <a:lnTo>
                  <a:pt x="110" y="341"/>
                </a:lnTo>
                <a:lnTo>
                  <a:pt x="114" y="342"/>
                </a:lnTo>
                <a:lnTo>
                  <a:pt x="127" y="343"/>
                </a:lnTo>
                <a:lnTo>
                  <a:pt x="145" y="345"/>
                </a:lnTo>
                <a:lnTo>
                  <a:pt x="166" y="349"/>
                </a:lnTo>
                <a:lnTo>
                  <a:pt x="189" y="355"/>
                </a:lnTo>
                <a:lnTo>
                  <a:pt x="215" y="362"/>
                </a:lnTo>
                <a:lnTo>
                  <a:pt x="239" y="371"/>
                </a:lnTo>
                <a:lnTo>
                  <a:pt x="260" y="383"/>
                </a:lnTo>
                <a:lnTo>
                  <a:pt x="278" y="396"/>
                </a:lnTo>
                <a:lnTo>
                  <a:pt x="285" y="403"/>
                </a:lnTo>
                <a:lnTo>
                  <a:pt x="297" y="414"/>
                </a:lnTo>
                <a:lnTo>
                  <a:pt x="311" y="429"/>
                </a:lnTo>
                <a:lnTo>
                  <a:pt x="328" y="446"/>
                </a:lnTo>
                <a:lnTo>
                  <a:pt x="349" y="465"/>
                </a:lnTo>
                <a:lnTo>
                  <a:pt x="369" y="487"/>
                </a:lnTo>
                <a:lnTo>
                  <a:pt x="392" y="509"/>
                </a:lnTo>
                <a:lnTo>
                  <a:pt x="414" y="532"/>
                </a:lnTo>
                <a:lnTo>
                  <a:pt x="437" y="554"/>
                </a:lnTo>
                <a:lnTo>
                  <a:pt x="457" y="575"/>
                </a:lnTo>
                <a:lnTo>
                  <a:pt x="478" y="594"/>
                </a:lnTo>
                <a:lnTo>
                  <a:pt x="495" y="612"/>
                </a:lnTo>
                <a:lnTo>
                  <a:pt x="510" y="628"/>
                </a:lnTo>
                <a:lnTo>
                  <a:pt x="521" y="638"/>
                </a:lnTo>
                <a:lnTo>
                  <a:pt x="528" y="645"/>
                </a:lnTo>
                <a:lnTo>
                  <a:pt x="530" y="648"/>
                </a:lnTo>
                <a:lnTo>
                  <a:pt x="549" y="662"/>
                </a:lnTo>
                <a:lnTo>
                  <a:pt x="569" y="670"/>
                </a:lnTo>
                <a:lnTo>
                  <a:pt x="591" y="673"/>
                </a:lnTo>
                <a:lnTo>
                  <a:pt x="612" y="670"/>
                </a:lnTo>
                <a:lnTo>
                  <a:pt x="633" y="662"/>
                </a:lnTo>
                <a:lnTo>
                  <a:pt x="650" y="648"/>
                </a:lnTo>
                <a:close/>
                <a:moveTo>
                  <a:pt x="570" y="609"/>
                </a:moveTo>
                <a:lnTo>
                  <a:pt x="563" y="599"/>
                </a:lnTo>
                <a:lnTo>
                  <a:pt x="559" y="587"/>
                </a:lnTo>
                <a:lnTo>
                  <a:pt x="556" y="577"/>
                </a:lnTo>
                <a:lnTo>
                  <a:pt x="557" y="567"/>
                </a:lnTo>
                <a:lnTo>
                  <a:pt x="560" y="559"/>
                </a:lnTo>
                <a:lnTo>
                  <a:pt x="568" y="555"/>
                </a:lnTo>
                <a:lnTo>
                  <a:pt x="578" y="555"/>
                </a:lnTo>
                <a:lnTo>
                  <a:pt x="589" y="557"/>
                </a:lnTo>
                <a:lnTo>
                  <a:pt x="601" y="561"/>
                </a:lnTo>
                <a:lnTo>
                  <a:pt x="610" y="568"/>
                </a:lnTo>
                <a:lnTo>
                  <a:pt x="617" y="577"/>
                </a:lnTo>
                <a:lnTo>
                  <a:pt x="618" y="588"/>
                </a:lnTo>
                <a:lnTo>
                  <a:pt x="617" y="599"/>
                </a:lnTo>
                <a:lnTo>
                  <a:pt x="610" y="609"/>
                </a:lnTo>
                <a:lnTo>
                  <a:pt x="601" y="615"/>
                </a:lnTo>
                <a:lnTo>
                  <a:pt x="591" y="616"/>
                </a:lnTo>
                <a:lnTo>
                  <a:pt x="579" y="615"/>
                </a:lnTo>
                <a:lnTo>
                  <a:pt x="570" y="609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74048" tIns="37024" rIns="74048" bIns="37024" numCol="1" anchor="t" anchorCtr="0" compatLnSpc="1">
            <a:prstTxWarp prst="textNoShape">
              <a:avLst/>
            </a:prstTxWarp>
          </a:bodyPr>
          <a:lstStyle/>
          <a:p>
            <a:endParaRPr lang="x-none"/>
          </a:p>
        </p:txBody>
      </p:sp>
      <p:sp>
        <p:nvSpPr>
          <p:cNvPr id="95" name="Freeform 8"/>
          <p:cNvSpPr>
            <a:spLocks noEditPoints="1"/>
          </p:cNvSpPr>
          <p:nvPr/>
        </p:nvSpPr>
        <p:spPr bwMode="auto">
          <a:xfrm>
            <a:off x="478794" y="1797801"/>
            <a:ext cx="256592" cy="194038"/>
          </a:xfrm>
          <a:custGeom>
            <a:avLst/>
            <a:gdLst>
              <a:gd name="T0" fmla="*/ 945 w 2145"/>
              <a:gd name="T1" fmla="*/ 540 h 2162"/>
              <a:gd name="T2" fmla="*/ 776 w 2145"/>
              <a:gd name="T3" fmla="*/ 612 h 2162"/>
              <a:gd name="T4" fmla="*/ 641 w 2145"/>
              <a:gd name="T5" fmla="*/ 734 h 2162"/>
              <a:gd name="T6" fmla="*/ 552 w 2145"/>
              <a:gd name="T7" fmla="*/ 893 h 2162"/>
              <a:gd name="T8" fmla="*/ 520 w 2145"/>
              <a:gd name="T9" fmla="*/ 1082 h 2162"/>
              <a:gd name="T10" fmla="*/ 552 w 2145"/>
              <a:gd name="T11" fmla="*/ 1269 h 2162"/>
              <a:gd name="T12" fmla="*/ 641 w 2145"/>
              <a:gd name="T13" fmla="*/ 1429 h 2162"/>
              <a:gd name="T14" fmla="*/ 776 w 2145"/>
              <a:gd name="T15" fmla="*/ 1550 h 2162"/>
              <a:gd name="T16" fmla="*/ 945 w 2145"/>
              <a:gd name="T17" fmla="*/ 1622 h 2162"/>
              <a:gd name="T18" fmla="*/ 1136 w 2145"/>
              <a:gd name="T19" fmla="*/ 1634 h 2162"/>
              <a:gd name="T20" fmla="*/ 1315 w 2145"/>
              <a:gd name="T21" fmla="*/ 1581 h 2162"/>
              <a:gd name="T22" fmla="*/ 1463 w 2145"/>
              <a:gd name="T23" fmla="*/ 1475 h 2162"/>
              <a:gd name="T24" fmla="*/ 1568 w 2145"/>
              <a:gd name="T25" fmla="*/ 1325 h 2162"/>
              <a:gd name="T26" fmla="*/ 1620 w 2145"/>
              <a:gd name="T27" fmla="*/ 1146 h 2162"/>
              <a:gd name="T28" fmla="*/ 1610 w 2145"/>
              <a:gd name="T29" fmla="*/ 953 h 2162"/>
              <a:gd name="T30" fmla="*/ 1539 w 2145"/>
              <a:gd name="T31" fmla="*/ 783 h 2162"/>
              <a:gd name="T32" fmla="*/ 1417 w 2145"/>
              <a:gd name="T33" fmla="*/ 647 h 2162"/>
              <a:gd name="T34" fmla="*/ 1258 w 2145"/>
              <a:gd name="T35" fmla="*/ 558 h 2162"/>
              <a:gd name="T36" fmla="*/ 1072 w 2145"/>
              <a:gd name="T37" fmla="*/ 525 h 2162"/>
              <a:gd name="T38" fmla="*/ 1072 w 2145"/>
              <a:gd name="T39" fmla="*/ 231 h 2162"/>
              <a:gd name="T40" fmla="*/ 1321 w 2145"/>
              <a:gd name="T41" fmla="*/ 15 h 2162"/>
              <a:gd name="T42" fmla="*/ 1449 w 2145"/>
              <a:gd name="T43" fmla="*/ 319 h 2162"/>
              <a:gd name="T44" fmla="*/ 1765 w 2145"/>
              <a:gd name="T45" fmla="*/ 236 h 2162"/>
              <a:gd name="T46" fmla="*/ 1911 w 2145"/>
              <a:gd name="T47" fmla="*/ 384 h 2162"/>
              <a:gd name="T48" fmla="*/ 1829 w 2145"/>
              <a:gd name="T49" fmla="*/ 703 h 2162"/>
              <a:gd name="T50" fmla="*/ 2132 w 2145"/>
              <a:gd name="T51" fmla="*/ 830 h 2162"/>
              <a:gd name="T52" fmla="*/ 1917 w 2145"/>
              <a:gd name="T53" fmla="*/ 1082 h 2162"/>
              <a:gd name="T54" fmla="*/ 2132 w 2145"/>
              <a:gd name="T55" fmla="*/ 1332 h 2162"/>
              <a:gd name="T56" fmla="*/ 1829 w 2145"/>
              <a:gd name="T57" fmla="*/ 1460 h 2162"/>
              <a:gd name="T58" fmla="*/ 1911 w 2145"/>
              <a:gd name="T59" fmla="*/ 1780 h 2162"/>
              <a:gd name="T60" fmla="*/ 1765 w 2145"/>
              <a:gd name="T61" fmla="*/ 1926 h 2162"/>
              <a:gd name="T62" fmla="*/ 1449 w 2145"/>
              <a:gd name="T63" fmla="*/ 1844 h 2162"/>
              <a:gd name="T64" fmla="*/ 1321 w 2145"/>
              <a:gd name="T65" fmla="*/ 2147 h 2162"/>
              <a:gd name="T66" fmla="*/ 1072 w 2145"/>
              <a:gd name="T67" fmla="*/ 1933 h 2162"/>
              <a:gd name="T68" fmla="*/ 823 w 2145"/>
              <a:gd name="T69" fmla="*/ 2147 h 2162"/>
              <a:gd name="T70" fmla="*/ 697 w 2145"/>
              <a:gd name="T71" fmla="*/ 1844 h 2162"/>
              <a:gd name="T72" fmla="*/ 380 w 2145"/>
              <a:gd name="T73" fmla="*/ 1926 h 2162"/>
              <a:gd name="T74" fmla="*/ 233 w 2145"/>
              <a:gd name="T75" fmla="*/ 1780 h 2162"/>
              <a:gd name="T76" fmla="*/ 316 w 2145"/>
              <a:gd name="T77" fmla="*/ 1460 h 2162"/>
              <a:gd name="T78" fmla="*/ 13 w 2145"/>
              <a:gd name="T79" fmla="*/ 1332 h 2162"/>
              <a:gd name="T80" fmla="*/ 228 w 2145"/>
              <a:gd name="T81" fmla="*/ 1082 h 2162"/>
              <a:gd name="T82" fmla="*/ 13 w 2145"/>
              <a:gd name="T83" fmla="*/ 830 h 2162"/>
              <a:gd name="T84" fmla="*/ 316 w 2145"/>
              <a:gd name="T85" fmla="*/ 703 h 2162"/>
              <a:gd name="T86" fmla="*/ 233 w 2145"/>
              <a:gd name="T87" fmla="*/ 384 h 2162"/>
              <a:gd name="T88" fmla="*/ 380 w 2145"/>
              <a:gd name="T89" fmla="*/ 236 h 2162"/>
              <a:gd name="T90" fmla="*/ 697 w 2145"/>
              <a:gd name="T91" fmla="*/ 319 h 2162"/>
              <a:gd name="T92" fmla="*/ 823 w 2145"/>
              <a:gd name="T93" fmla="*/ 15 h 21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145" h="2162">
                <a:moveTo>
                  <a:pt x="1072" y="525"/>
                </a:moveTo>
                <a:lnTo>
                  <a:pt x="1008" y="529"/>
                </a:lnTo>
                <a:lnTo>
                  <a:pt x="945" y="540"/>
                </a:lnTo>
                <a:lnTo>
                  <a:pt x="886" y="558"/>
                </a:lnTo>
                <a:lnTo>
                  <a:pt x="830" y="582"/>
                </a:lnTo>
                <a:lnTo>
                  <a:pt x="776" y="612"/>
                </a:lnTo>
                <a:lnTo>
                  <a:pt x="727" y="647"/>
                </a:lnTo>
                <a:lnTo>
                  <a:pt x="681" y="688"/>
                </a:lnTo>
                <a:lnTo>
                  <a:pt x="641" y="734"/>
                </a:lnTo>
                <a:lnTo>
                  <a:pt x="605" y="783"/>
                </a:lnTo>
                <a:lnTo>
                  <a:pt x="576" y="837"/>
                </a:lnTo>
                <a:lnTo>
                  <a:pt x="552" y="893"/>
                </a:lnTo>
                <a:lnTo>
                  <a:pt x="535" y="953"/>
                </a:lnTo>
                <a:lnTo>
                  <a:pt x="524" y="1016"/>
                </a:lnTo>
                <a:lnTo>
                  <a:pt x="520" y="1082"/>
                </a:lnTo>
                <a:lnTo>
                  <a:pt x="524" y="1146"/>
                </a:lnTo>
                <a:lnTo>
                  <a:pt x="535" y="1209"/>
                </a:lnTo>
                <a:lnTo>
                  <a:pt x="552" y="1269"/>
                </a:lnTo>
                <a:lnTo>
                  <a:pt x="576" y="1325"/>
                </a:lnTo>
                <a:lnTo>
                  <a:pt x="605" y="1379"/>
                </a:lnTo>
                <a:lnTo>
                  <a:pt x="641" y="1429"/>
                </a:lnTo>
                <a:lnTo>
                  <a:pt x="681" y="1475"/>
                </a:lnTo>
                <a:lnTo>
                  <a:pt x="727" y="1515"/>
                </a:lnTo>
                <a:lnTo>
                  <a:pt x="776" y="1550"/>
                </a:lnTo>
                <a:lnTo>
                  <a:pt x="830" y="1581"/>
                </a:lnTo>
                <a:lnTo>
                  <a:pt x="886" y="1605"/>
                </a:lnTo>
                <a:lnTo>
                  <a:pt x="945" y="1622"/>
                </a:lnTo>
                <a:lnTo>
                  <a:pt x="1008" y="1634"/>
                </a:lnTo>
                <a:lnTo>
                  <a:pt x="1072" y="1637"/>
                </a:lnTo>
                <a:lnTo>
                  <a:pt x="1136" y="1634"/>
                </a:lnTo>
                <a:lnTo>
                  <a:pt x="1199" y="1622"/>
                </a:lnTo>
                <a:lnTo>
                  <a:pt x="1258" y="1605"/>
                </a:lnTo>
                <a:lnTo>
                  <a:pt x="1315" y="1581"/>
                </a:lnTo>
                <a:lnTo>
                  <a:pt x="1369" y="1550"/>
                </a:lnTo>
                <a:lnTo>
                  <a:pt x="1417" y="1515"/>
                </a:lnTo>
                <a:lnTo>
                  <a:pt x="1463" y="1475"/>
                </a:lnTo>
                <a:lnTo>
                  <a:pt x="1504" y="1429"/>
                </a:lnTo>
                <a:lnTo>
                  <a:pt x="1539" y="1379"/>
                </a:lnTo>
                <a:lnTo>
                  <a:pt x="1568" y="1325"/>
                </a:lnTo>
                <a:lnTo>
                  <a:pt x="1593" y="1269"/>
                </a:lnTo>
                <a:lnTo>
                  <a:pt x="1610" y="1209"/>
                </a:lnTo>
                <a:lnTo>
                  <a:pt x="1620" y="1146"/>
                </a:lnTo>
                <a:lnTo>
                  <a:pt x="1624" y="1082"/>
                </a:lnTo>
                <a:lnTo>
                  <a:pt x="1620" y="1016"/>
                </a:lnTo>
                <a:lnTo>
                  <a:pt x="1610" y="953"/>
                </a:lnTo>
                <a:lnTo>
                  <a:pt x="1593" y="893"/>
                </a:lnTo>
                <a:lnTo>
                  <a:pt x="1568" y="837"/>
                </a:lnTo>
                <a:lnTo>
                  <a:pt x="1539" y="783"/>
                </a:lnTo>
                <a:lnTo>
                  <a:pt x="1504" y="734"/>
                </a:lnTo>
                <a:lnTo>
                  <a:pt x="1463" y="688"/>
                </a:lnTo>
                <a:lnTo>
                  <a:pt x="1417" y="647"/>
                </a:lnTo>
                <a:lnTo>
                  <a:pt x="1369" y="612"/>
                </a:lnTo>
                <a:lnTo>
                  <a:pt x="1315" y="582"/>
                </a:lnTo>
                <a:lnTo>
                  <a:pt x="1258" y="558"/>
                </a:lnTo>
                <a:lnTo>
                  <a:pt x="1199" y="540"/>
                </a:lnTo>
                <a:lnTo>
                  <a:pt x="1136" y="529"/>
                </a:lnTo>
                <a:lnTo>
                  <a:pt x="1072" y="525"/>
                </a:lnTo>
                <a:close/>
                <a:moveTo>
                  <a:pt x="891" y="0"/>
                </a:moveTo>
                <a:lnTo>
                  <a:pt x="1020" y="232"/>
                </a:lnTo>
                <a:lnTo>
                  <a:pt x="1072" y="231"/>
                </a:lnTo>
                <a:lnTo>
                  <a:pt x="1125" y="232"/>
                </a:lnTo>
                <a:lnTo>
                  <a:pt x="1253" y="0"/>
                </a:lnTo>
                <a:lnTo>
                  <a:pt x="1321" y="15"/>
                </a:lnTo>
                <a:lnTo>
                  <a:pt x="1388" y="33"/>
                </a:lnTo>
                <a:lnTo>
                  <a:pt x="1452" y="54"/>
                </a:lnTo>
                <a:lnTo>
                  <a:pt x="1449" y="319"/>
                </a:lnTo>
                <a:lnTo>
                  <a:pt x="1494" y="345"/>
                </a:lnTo>
                <a:lnTo>
                  <a:pt x="1540" y="372"/>
                </a:lnTo>
                <a:lnTo>
                  <a:pt x="1765" y="236"/>
                </a:lnTo>
                <a:lnTo>
                  <a:pt x="1817" y="282"/>
                </a:lnTo>
                <a:lnTo>
                  <a:pt x="1866" y="332"/>
                </a:lnTo>
                <a:lnTo>
                  <a:pt x="1911" y="384"/>
                </a:lnTo>
                <a:lnTo>
                  <a:pt x="1776" y="611"/>
                </a:lnTo>
                <a:lnTo>
                  <a:pt x="1804" y="656"/>
                </a:lnTo>
                <a:lnTo>
                  <a:pt x="1829" y="703"/>
                </a:lnTo>
                <a:lnTo>
                  <a:pt x="2092" y="698"/>
                </a:lnTo>
                <a:lnTo>
                  <a:pt x="2113" y="764"/>
                </a:lnTo>
                <a:lnTo>
                  <a:pt x="2132" y="830"/>
                </a:lnTo>
                <a:lnTo>
                  <a:pt x="2145" y="900"/>
                </a:lnTo>
                <a:lnTo>
                  <a:pt x="1915" y="1028"/>
                </a:lnTo>
                <a:lnTo>
                  <a:pt x="1917" y="1082"/>
                </a:lnTo>
                <a:lnTo>
                  <a:pt x="1915" y="1134"/>
                </a:lnTo>
                <a:lnTo>
                  <a:pt x="2145" y="1262"/>
                </a:lnTo>
                <a:lnTo>
                  <a:pt x="2132" y="1332"/>
                </a:lnTo>
                <a:lnTo>
                  <a:pt x="2113" y="1399"/>
                </a:lnTo>
                <a:lnTo>
                  <a:pt x="2092" y="1464"/>
                </a:lnTo>
                <a:lnTo>
                  <a:pt x="1829" y="1460"/>
                </a:lnTo>
                <a:lnTo>
                  <a:pt x="1804" y="1507"/>
                </a:lnTo>
                <a:lnTo>
                  <a:pt x="1776" y="1552"/>
                </a:lnTo>
                <a:lnTo>
                  <a:pt x="1911" y="1780"/>
                </a:lnTo>
                <a:lnTo>
                  <a:pt x="1866" y="1831"/>
                </a:lnTo>
                <a:lnTo>
                  <a:pt x="1817" y="1880"/>
                </a:lnTo>
                <a:lnTo>
                  <a:pt x="1765" y="1926"/>
                </a:lnTo>
                <a:lnTo>
                  <a:pt x="1540" y="1790"/>
                </a:lnTo>
                <a:lnTo>
                  <a:pt x="1494" y="1819"/>
                </a:lnTo>
                <a:lnTo>
                  <a:pt x="1449" y="1844"/>
                </a:lnTo>
                <a:lnTo>
                  <a:pt x="1452" y="2108"/>
                </a:lnTo>
                <a:lnTo>
                  <a:pt x="1388" y="2130"/>
                </a:lnTo>
                <a:lnTo>
                  <a:pt x="1321" y="2147"/>
                </a:lnTo>
                <a:lnTo>
                  <a:pt x="1253" y="2162"/>
                </a:lnTo>
                <a:lnTo>
                  <a:pt x="1125" y="1930"/>
                </a:lnTo>
                <a:lnTo>
                  <a:pt x="1072" y="1933"/>
                </a:lnTo>
                <a:lnTo>
                  <a:pt x="1020" y="1930"/>
                </a:lnTo>
                <a:lnTo>
                  <a:pt x="891" y="2162"/>
                </a:lnTo>
                <a:lnTo>
                  <a:pt x="823" y="2147"/>
                </a:lnTo>
                <a:lnTo>
                  <a:pt x="757" y="2130"/>
                </a:lnTo>
                <a:lnTo>
                  <a:pt x="692" y="2108"/>
                </a:lnTo>
                <a:lnTo>
                  <a:pt x="697" y="1844"/>
                </a:lnTo>
                <a:lnTo>
                  <a:pt x="650" y="1819"/>
                </a:lnTo>
                <a:lnTo>
                  <a:pt x="604" y="1790"/>
                </a:lnTo>
                <a:lnTo>
                  <a:pt x="380" y="1926"/>
                </a:lnTo>
                <a:lnTo>
                  <a:pt x="327" y="1880"/>
                </a:lnTo>
                <a:lnTo>
                  <a:pt x="279" y="1831"/>
                </a:lnTo>
                <a:lnTo>
                  <a:pt x="233" y="1780"/>
                </a:lnTo>
                <a:lnTo>
                  <a:pt x="368" y="1552"/>
                </a:lnTo>
                <a:lnTo>
                  <a:pt x="340" y="1507"/>
                </a:lnTo>
                <a:lnTo>
                  <a:pt x="316" y="1460"/>
                </a:lnTo>
                <a:lnTo>
                  <a:pt x="52" y="1464"/>
                </a:lnTo>
                <a:lnTo>
                  <a:pt x="31" y="1399"/>
                </a:lnTo>
                <a:lnTo>
                  <a:pt x="13" y="1332"/>
                </a:lnTo>
                <a:lnTo>
                  <a:pt x="0" y="1262"/>
                </a:lnTo>
                <a:lnTo>
                  <a:pt x="229" y="1134"/>
                </a:lnTo>
                <a:lnTo>
                  <a:pt x="228" y="1082"/>
                </a:lnTo>
                <a:lnTo>
                  <a:pt x="229" y="1028"/>
                </a:lnTo>
                <a:lnTo>
                  <a:pt x="0" y="900"/>
                </a:lnTo>
                <a:lnTo>
                  <a:pt x="13" y="830"/>
                </a:lnTo>
                <a:lnTo>
                  <a:pt x="31" y="764"/>
                </a:lnTo>
                <a:lnTo>
                  <a:pt x="52" y="698"/>
                </a:lnTo>
                <a:lnTo>
                  <a:pt x="316" y="703"/>
                </a:lnTo>
                <a:lnTo>
                  <a:pt x="340" y="656"/>
                </a:lnTo>
                <a:lnTo>
                  <a:pt x="368" y="611"/>
                </a:lnTo>
                <a:lnTo>
                  <a:pt x="233" y="384"/>
                </a:lnTo>
                <a:lnTo>
                  <a:pt x="279" y="332"/>
                </a:lnTo>
                <a:lnTo>
                  <a:pt x="327" y="282"/>
                </a:lnTo>
                <a:lnTo>
                  <a:pt x="380" y="236"/>
                </a:lnTo>
                <a:lnTo>
                  <a:pt x="604" y="372"/>
                </a:lnTo>
                <a:lnTo>
                  <a:pt x="650" y="345"/>
                </a:lnTo>
                <a:lnTo>
                  <a:pt x="697" y="319"/>
                </a:lnTo>
                <a:lnTo>
                  <a:pt x="692" y="54"/>
                </a:lnTo>
                <a:lnTo>
                  <a:pt x="757" y="33"/>
                </a:lnTo>
                <a:lnTo>
                  <a:pt x="823" y="15"/>
                </a:lnTo>
                <a:lnTo>
                  <a:pt x="891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74048" tIns="37024" rIns="74048" bIns="37024" numCol="1" anchor="t" anchorCtr="0" compatLnSpc="1">
            <a:prstTxWarp prst="textNoShape">
              <a:avLst/>
            </a:prstTxWarp>
          </a:bodyPr>
          <a:lstStyle/>
          <a:p>
            <a:endParaRPr lang="x-none"/>
          </a:p>
        </p:txBody>
      </p:sp>
      <p:sp>
        <p:nvSpPr>
          <p:cNvPr id="68" name="Rectangle 20"/>
          <p:cNvSpPr>
            <a:spLocks noChangeArrowheads="1"/>
          </p:cNvSpPr>
          <p:nvPr/>
        </p:nvSpPr>
        <p:spPr bwMode="gray">
          <a:xfrm rot="-21120000">
            <a:off x="4814289" y="1285282"/>
            <a:ext cx="433688" cy="191236"/>
          </a:xfrm>
          <a:prstGeom prst="rect">
            <a:avLst/>
          </a:prstGeom>
          <a:solidFill>
            <a:schemeClr val="accent1">
              <a:lumMod val="75000"/>
            </a:schemeClr>
          </a:solidFill>
          <a:ln w="38100" algn="ctr">
            <a:noFill/>
            <a:miter lim="800000"/>
            <a:headEnd/>
            <a:tailEnd/>
          </a:ln>
          <a:effectLst/>
          <a:extLst/>
        </p:spPr>
        <p:txBody>
          <a:bodyPr wrap="none" lIns="58306" tIns="29153" rIns="58306" bIns="29153" anchor="ctr">
            <a:noAutofit/>
          </a:bodyPr>
          <a:lstStyle/>
          <a:p>
            <a:pPr marL="1418" algn="ctr" defTabSz="815401">
              <a:lnSpc>
                <a:spcPct val="90000"/>
              </a:lnSpc>
              <a:spcBef>
                <a:spcPts val="446"/>
              </a:spcBef>
            </a:pPr>
            <a:r>
              <a:rPr lang="x-none" sz="1100">
                <a:solidFill>
                  <a:srgbClr val="FFFFFF"/>
                </a:solidFill>
                <a:latin typeface="TeleGrotesk Headline Ultra" pitchFamily="2" charset="0"/>
              </a:rPr>
              <a:t>Beta</a:t>
            </a:r>
            <a:endParaRPr lang="x-none" sz="1100" dirty="0">
              <a:solidFill>
                <a:srgbClr val="FFFFFF"/>
              </a:solidFill>
              <a:latin typeface="TeleGrotesk Headline Ultra" pitchFamily="2" charset="0"/>
            </a:endParaRPr>
          </a:p>
        </p:txBody>
      </p:sp>
      <p:sp>
        <p:nvSpPr>
          <p:cNvPr id="64" name="Rechteck 63"/>
          <p:cNvSpPr/>
          <p:nvPr/>
        </p:nvSpPr>
        <p:spPr>
          <a:xfrm rot="583195">
            <a:off x="7963809" y="1053722"/>
            <a:ext cx="979654" cy="300296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87458" tIns="43729" rIns="87458" bIns="43729" rtlCol="0" anchor="ctr">
            <a:noAutofit/>
          </a:bodyPr>
          <a:lstStyle/>
          <a:p>
            <a:pPr>
              <a:lnSpc>
                <a:spcPct val="90000"/>
              </a:lnSpc>
            </a:pPr>
            <a:r>
              <a:rPr lang="hu-HU" sz="1000" dirty="0" smtClean="0">
                <a:solidFill>
                  <a:schemeClr val="bg1"/>
                </a:solidFill>
                <a:latin typeface="TeleGrotesk Headline Ultra" pitchFamily="2" charset="0"/>
              </a:rPr>
              <a:t>IN </a:t>
            </a:r>
            <a:r>
              <a:rPr lang="en-US" sz="1000" dirty="0" smtClean="0">
                <a:solidFill>
                  <a:schemeClr val="bg1"/>
                </a:solidFill>
                <a:latin typeface="TeleGrotesk Headline Ultra" pitchFamily="2" charset="0"/>
              </a:rPr>
              <a:t>2016</a:t>
            </a:r>
            <a:endParaRPr lang="en-US" sz="1000" dirty="0">
              <a:solidFill>
                <a:schemeClr val="bg1"/>
              </a:solidFill>
              <a:latin typeface="TeleGrotesk Headline Ultra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152053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>
              <p:cTn id="2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/>
        </p:nvSpPr>
        <p:spPr>
          <a:xfrm>
            <a:off x="0" y="0"/>
            <a:ext cx="3438525" cy="5143500"/>
          </a:xfrm>
          <a:prstGeom prst="rect">
            <a:avLst/>
          </a:prstGeom>
          <a:solidFill>
            <a:schemeClr val="tx1"/>
          </a:solidFill>
        </p:spPr>
        <p:txBody>
          <a:bodyPr wrap="square" lIns="36000" tIns="108000" rIns="36000" bIns="10800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>
                <a:srgbClr val="E20074"/>
              </a:buClr>
            </a:pPr>
            <a:endParaRPr lang="de-DE" sz="1200">
              <a:solidFill>
                <a:srgbClr val="000000"/>
              </a:solidFill>
              <a:latin typeface="Tele-GroteskNor"/>
              <a:sym typeface="Tele-GroteskNor"/>
            </a:endParaRPr>
          </a:p>
        </p:txBody>
      </p:sp>
      <p:grpSp>
        <p:nvGrpSpPr>
          <p:cNvPr id="2" name="Gruppieren 3"/>
          <p:cNvGrpSpPr/>
          <p:nvPr/>
        </p:nvGrpSpPr>
        <p:grpSpPr>
          <a:xfrm>
            <a:off x="-155071" y="1565331"/>
            <a:ext cx="3745996" cy="1905236"/>
            <a:chOff x="168779" y="1098441"/>
            <a:chExt cx="3745996" cy="1905236"/>
          </a:xfrm>
        </p:grpSpPr>
        <p:sp>
          <p:nvSpPr>
            <p:cNvPr id="5" name="Titel 1"/>
            <p:cNvSpPr txBox="1">
              <a:spLocks/>
            </p:cNvSpPr>
            <p:nvPr/>
          </p:nvSpPr>
          <p:spPr bwMode="gray">
            <a:xfrm>
              <a:off x="449908" y="1635175"/>
              <a:ext cx="3187080" cy="54784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algn="l" defTabSz="457054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lang="de-DE" sz="3000" kern="1200">
                  <a:solidFill>
                    <a:schemeClr val="bg1"/>
                  </a:solidFill>
                  <a:latin typeface="TeleGrotesk Headline Ultra" pitchFamily="2" charset="0"/>
                  <a:ea typeface="+mj-ea"/>
                  <a:cs typeface="TeleGrotesk Headline Ultra" pitchFamily="2" charset="0"/>
                </a:defRPr>
              </a:lvl1pPr>
              <a:lvl2pPr algn="l" defTabSz="457054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chemeClr val="tx2"/>
                  </a:solidFill>
                  <a:latin typeface="Tele-GroteskUlt" pitchFamily="2" charset="0"/>
                </a:defRPr>
              </a:lvl2pPr>
              <a:lvl3pPr algn="l" defTabSz="457054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chemeClr val="tx2"/>
                  </a:solidFill>
                  <a:latin typeface="Tele-GroteskUlt" pitchFamily="2" charset="0"/>
                </a:defRPr>
              </a:lvl3pPr>
              <a:lvl4pPr algn="l" defTabSz="457054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chemeClr val="tx2"/>
                  </a:solidFill>
                  <a:latin typeface="Tele-GroteskUlt" pitchFamily="2" charset="0"/>
                </a:defRPr>
              </a:lvl4pPr>
              <a:lvl5pPr algn="l" defTabSz="457054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chemeClr val="tx2"/>
                  </a:solidFill>
                  <a:latin typeface="Tele-GroteskUlt" pitchFamily="2" charset="0"/>
                </a:defRPr>
              </a:lvl5pPr>
              <a:lvl6pPr marL="457054" algn="l" defTabSz="457054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chemeClr val="tx2"/>
                  </a:solidFill>
                  <a:latin typeface="Tele-GroteskUlt" pitchFamily="2" charset="0"/>
                </a:defRPr>
              </a:lvl6pPr>
              <a:lvl7pPr marL="914108" algn="l" defTabSz="457054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chemeClr val="tx2"/>
                  </a:solidFill>
                  <a:latin typeface="Tele-GroteskUlt" pitchFamily="2" charset="0"/>
                </a:defRPr>
              </a:lvl7pPr>
              <a:lvl8pPr marL="1371160" algn="l" defTabSz="457054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chemeClr val="tx2"/>
                  </a:solidFill>
                  <a:latin typeface="Tele-GroteskUlt" pitchFamily="2" charset="0"/>
                </a:defRPr>
              </a:lvl8pPr>
              <a:lvl9pPr marL="1828215" algn="l" defTabSz="457054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chemeClr val="tx2"/>
                  </a:solidFill>
                  <a:latin typeface="Tele-GroteskUlt" pitchFamily="2" charset="0"/>
                </a:defRPr>
              </a:lvl9pPr>
            </a:lstStyle>
            <a:p>
              <a:pPr algn="ctr">
                <a:lnSpc>
                  <a:spcPct val="80000"/>
                </a:lnSpc>
                <a:buClrTx/>
                <a:buSzTx/>
                <a:buFontTx/>
              </a:pPr>
              <a:r>
                <a:rPr lang="en-US" sz="4450" cap="all" dirty="0" smtClean="0"/>
                <a:t>you to keep</a:t>
              </a:r>
              <a:endParaRPr lang="en-US" sz="4450" cap="all" dirty="0"/>
            </a:p>
          </p:txBody>
        </p:sp>
        <p:sp>
          <p:nvSpPr>
            <p:cNvPr id="6" name="Titel 1"/>
            <p:cNvSpPr txBox="1">
              <a:spLocks/>
            </p:cNvSpPr>
            <p:nvPr/>
          </p:nvSpPr>
          <p:spPr bwMode="gray">
            <a:xfrm>
              <a:off x="449908" y="2117280"/>
              <a:ext cx="3187080" cy="8863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algn="l" defTabSz="457054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lang="de-DE" sz="3000" kern="1200">
                  <a:solidFill>
                    <a:schemeClr val="bg1"/>
                  </a:solidFill>
                  <a:latin typeface="TeleGrotesk Headline Ultra" pitchFamily="2" charset="0"/>
                  <a:ea typeface="+mj-ea"/>
                  <a:cs typeface="TeleGrotesk Headline Ultra" pitchFamily="2" charset="0"/>
                </a:defRPr>
              </a:lvl1pPr>
              <a:lvl2pPr algn="l" defTabSz="457054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chemeClr val="tx2"/>
                  </a:solidFill>
                  <a:latin typeface="Tele-GroteskUlt" pitchFamily="2" charset="0"/>
                </a:defRPr>
              </a:lvl2pPr>
              <a:lvl3pPr algn="l" defTabSz="457054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chemeClr val="tx2"/>
                  </a:solidFill>
                  <a:latin typeface="Tele-GroteskUlt" pitchFamily="2" charset="0"/>
                </a:defRPr>
              </a:lvl3pPr>
              <a:lvl4pPr algn="l" defTabSz="457054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chemeClr val="tx2"/>
                  </a:solidFill>
                  <a:latin typeface="Tele-GroteskUlt" pitchFamily="2" charset="0"/>
                </a:defRPr>
              </a:lvl4pPr>
              <a:lvl5pPr algn="l" defTabSz="457054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chemeClr val="tx2"/>
                  </a:solidFill>
                  <a:latin typeface="Tele-GroteskUlt" pitchFamily="2" charset="0"/>
                </a:defRPr>
              </a:lvl5pPr>
              <a:lvl6pPr marL="457054" algn="l" defTabSz="457054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chemeClr val="tx2"/>
                  </a:solidFill>
                  <a:latin typeface="Tele-GroteskUlt" pitchFamily="2" charset="0"/>
                </a:defRPr>
              </a:lvl6pPr>
              <a:lvl7pPr marL="914108" algn="l" defTabSz="457054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chemeClr val="tx2"/>
                  </a:solidFill>
                  <a:latin typeface="Tele-GroteskUlt" pitchFamily="2" charset="0"/>
                </a:defRPr>
              </a:lvl7pPr>
              <a:lvl8pPr marL="1371160" algn="l" defTabSz="457054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chemeClr val="tx2"/>
                  </a:solidFill>
                  <a:latin typeface="Tele-GroteskUlt" pitchFamily="2" charset="0"/>
                </a:defRPr>
              </a:lvl8pPr>
              <a:lvl9pPr marL="1828215" algn="l" defTabSz="457054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 sz="3000">
                  <a:solidFill>
                    <a:schemeClr val="tx2"/>
                  </a:solidFill>
                  <a:latin typeface="Tele-GroteskUlt" pitchFamily="2" charset="0"/>
                </a:defRPr>
              </a:lvl9pPr>
            </a:lstStyle>
            <a:p>
              <a:pPr algn="ctr">
                <a:lnSpc>
                  <a:spcPct val="80000"/>
                </a:lnSpc>
                <a:buClrTx/>
                <a:buSzTx/>
                <a:buFontTx/>
              </a:pPr>
              <a:r>
                <a:rPr lang="en-US" sz="7200" cap="all" dirty="0" smtClean="0"/>
                <a:t>in mind</a:t>
              </a:r>
              <a:endParaRPr lang="en-US" sz="7200" cap="all" dirty="0"/>
            </a:p>
          </p:txBody>
        </p:sp>
        <p:sp>
          <p:nvSpPr>
            <p:cNvPr id="7" name="Rechteck 6"/>
            <p:cNvSpPr/>
            <p:nvPr/>
          </p:nvSpPr>
          <p:spPr>
            <a:xfrm>
              <a:off x="168779" y="1098441"/>
              <a:ext cx="3745996" cy="736760"/>
            </a:xfrm>
            <a:prstGeom prst="rect">
              <a:avLst/>
            </a:prstGeom>
            <a:noFill/>
          </p:spPr>
          <p:txBody>
            <a:bodyPr wrap="square" lIns="36000" tIns="108000" rIns="36000" bIns="108000" rtlCol="0" anchor="t">
              <a:noAutofit/>
            </a:bodyPr>
            <a:lstStyle/>
            <a:p>
              <a:pPr algn="ctr">
                <a:lnSpc>
                  <a:spcPct val="70000"/>
                </a:lnSpc>
                <a:spcBef>
                  <a:spcPct val="0"/>
                </a:spcBef>
                <a:spcAft>
                  <a:spcPts val="0"/>
                </a:spcAft>
                <a:buClr>
                  <a:srgbClr val="E20074"/>
                </a:buClr>
              </a:pPr>
              <a:r>
                <a:rPr lang="en-US" sz="4000" cap="all" dirty="0" smtClean="0">
                  <a:solidFill>
                    <a:schemeClr val="tx2"/>
                  </a:solidFill>
                  <a:latin typeface="TeleGrotesk Headline Ultra" pitchFamily="2" charset="0"/>
                  <a:ea typeface="+mj-ea"/>
                </a:rPr>
                <a:t>What I´D</a:t>
              </a:r>
              <a:r>
                <a:rPr lang="en-US" sz="4000" cap="all" dirty="0" smtClean="0">
                  <a:solidFill>
                    <a:schemeClr val="tx2"/>
                  </a:solidFill>
                  <a:latin typeface="TeleGrotesk Headline" pitchFamily="2" charset="0"/>
                  <a:ea typeface="+mj-ea"/>
                </a:rPr>
                <a:t> </a:t>
              </a:r>
              <a:r>
                <a:rPr lang="en-US" sz="4000" cap="all" dirty="0" smtClean="0">
                  <a:solidFill>
                    <a:schemeClr val="tx2"/>
                  </a:solidFill>
                  <a:latin typeface="TeleGrotesk Headline Ultra" pitchFamily="2" charset="0"/>
                  <a:ea typeface="+mj-ea"/>
                </a:rPr>
                <a:t>like</a:t>
              </a:r>
              <a:endParaRPr lang="de-DE" sz="1100" dirty="0">
                <a:solidFill>
                  <a:schemeClr val="tx2"/>
                </a:solidFill>
                <a:latin typeface="Tele-GroteskNor"/>
                <a:sym typeface="Tele-GroteskNor"/>
              </a:endParaRPr>
            </a:p>
          </p:txBody>
        </p:sp>
      </p:grpSp>
      <p:grpSp>
        <p:nvGrpSpPr>
          <p:cNvPr id="4" name="Gruppieren 7"/>
          <p:cNvGrpSpPr/>
          <p:nvPr/>
        </p:nvGrpSpPr>
        <p:grpSpPr>
          <a:xfrm>
            <a:off x="333262" y="1469913"/>
            <a:ext cx="2772000" cy="2022700"/>
            <a:chOff x="333262" y="1481568"/>
            <a:chExt cx="2772000" cy="2022700"/>
          </a:xfrm>
        </p:grpSpPr>
        <p:cxnSp>
          <p:nvCxnSpPr>
            <p:cNvPr id="9" name="Gerade Verbindung 18"/>
            <p:cNvCxnSpPr/>
            <p:nvPr/>
          </p:nvCxnSpPr>
          <p:spPr>
            <a:xfrm flipH="1">
              <a:off x="333262" y="1481568"/>
              <a:ext cx="2772000" cy="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</p:cxnSp>
        <p:cxnSp>
          <p:nvCxnSpPr>
            <p:cNvPr id="10" name="Gerade Verbindung 18"/>
            <p:cNvCxnSpPr/>
            <p:nvPr/>
          </p:nvCxnSpPr>
          <p:spPr>
            <a:xfrm flipH="1">
              <a:off x="333262" y="3504268"/>
              <a:ext cx="2772000" cy="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</p:cxnSp>
      </p:grpSp>
      <p:grpSp>
        <p:nvGrpSpPr>
          <p:cNvPr id="8" name="Gruppieren 10"/>
          <p:cNvGrpSpPr/>
          <p:nvPr/>
        </p:nvGrpSpPr>
        <p:grpSpPr>
          <a:xfrm>
            <a:off x="3905530" y="674250"/>
            <a:ext cx="596674" cy="611934"/>
            <a:chOff x="5181880" y="388714"/>
            <a:chExt cx="596674" cy="611934"/>
          </a:xfrm>
        </p:grpSpPr>
        <p:sp>
          <p:nvSpPr>
            <p:cNvPr id="12" name="Rechteck 11"/>
            <p:cNvSpPr/>
            <p:nvPr/>
          </p:nvSpPr>
          <p:spPr>
            <a:xfrm>
              <a:off x="5181880" y="553262"/>
              <a:ext cx="447395" cy="447386"/>
            </a:xfrm>
            <a:prstGeom prst="rect">
              <a:avLst/>
            </a:prstGeom>
            <a:solidFill>
              <a:srgbClr val="000000"/>
            </a:solidFill>
            <a:ln w="38100">
              <a:solidFill>
                <a:srgbClr val="E20074"/>
              </a:solidFill>
              <a:miter lim="800000"/>
            </a:ln>
          </p:spPr>
          <p:txBody>
            <a:bodyPr wrap="none" lIns="1080000" tIns="0" rIns="0" bIns="0" rtlCol="0" anchor="ctr"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r>
                <a:rPr lang="hu-HU" sz="2000" kern="0" dirty="0" smtClean="0">
                  <a:solidFill>
                    <a:sysClr val="windowText" lastClr="000000"/>
                  </a:solidFill>
                  <a:latin typeface="TeleGrotesk Headline Ultra" pitchFamily="2" charset="0"/>
                  <a:cs typeface="TeleGrotesk Headline Ultra" pitchFamily="2" charset="0"/>
                  <a:sym typeface="Arial" pitchFamily="34" charset="0"/>
                </a:rPr>
                <a:t>#un </a:t>
              </a:r>
              <a:r>
                <a:rPr lang="hu-HU" sz="2000" kern="0" dirty="0" err="1" smtClean="0">
                  <a:solidFill>
                    <a:sysClr val="windowText" lastClr="000000"/>
                  </a:solidFill>
                  <a:latin typeface="TeleGrotesk Headline Ultra" pitchFamily="2" charset="0"/>
                  <a:cs typeface="TeleGrotesk Headline Ultra" pitchFamily="2" charset="0"/>
                  <a:sym typeface="Arial" pitchFamily="34" charset="0"/>
                </a:rPr>
                <a:t>outsourcer</a:t>
              </a:r>
              <a:endParaRPr lang="en-US" sz="2000" kern="0" dirty="0" smtClean="0">
                <a:solidFill>
                  <a:sysClr val="windowText" lastClr="000000"/>
                </a:solidFill>
                <a:latin typeface="TeleGrotesk Headline Ultra" pitchFamily="2" charset="0"/>
                <a:cs typeface="TeleGrotesk Headline Ultra" pitchFamily="2" charset="0"/>
                <a:sym typeface="Arial" pitchFamily="34" charset="0"/>
              </a:endParaRPr>
            </a:p>
          </p:txBody>
        </p:sp>
        <p:pic>
          <p:nvPicPr>
            <p:cNvPr id="13" name="pasted-image.pdf"/>
            <p:cNvPicPr preferRelativeResize="0"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244898" y="388714"/>
              <a:ext cx="533656" cy="523636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  <p:grpSp>
        <p:nvGrpSpPr>
          <p:cNvPr id="11" name="Gruppieren 13"/>
          <p:cNvGrpSpPr/>
          <p:nvPr/>
        </p:nvGrpSpPr>
        <p:grpSpPr>
          <a:xfrm>
            <a:off x="3905530" y="1617460"/>
            <a:ext cx="596674" cy="611934"/>
            <a:chOff x="5185001" y="1000648"/>
            <a:chExt cx="596674" cy="611934"/>
          </a:xfrm>
        </p:grpSpPr>
        <p:sp>
          <p:nvSpPr>
            <p:cNvPr id="15" name="Rechteck 14"/>
            <p:cNvSpPr/>
            <p:nvPr/>
          </p:nvSpPr>
          <p:spPr>
            <a:xfrm>
              <a:off x="5185001" y="1165196"/>
              <a:ext cx="447395" cy="447386"/>
            </a:xfrm>
            <a:prstGeom prst="rect">
              <a:avLst/>
            </a:prstGeom>
            <a:solidFill>
              <a:srgbClr val="000000"/>
            </a:solidFill>
            <a:ln w="38100">
              <a:solidFill>
                <a:srgbClr val="E20074"/>
              </a:solidFill>
              <a:miter lim="800000"/>
            </a:ln>
          </p:spPr>
          <p:txBody>
            <a:bodyPr wrap="none" lIns="1080000" tIns="0" rIns="0" bIns="0" rtlCol="0" anchor="ctr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hu-HU" sz="2000" kern="0" dirty="0" smtClean="0">
                  <a:solidFill>
                    <a:sysClr val="windowText" lastClr="000000"/>
                  </a:solidFill>
                  <a:latin typeface="TeleGrotesk Headline Ultra" pitchFamily="2" charset="0"/>
                  <a:cs typeface="TeleGrotesk Headline Ultra" pitchFamily="2" charset="0"/>
                  <a:sym typeface="Arial" pitchFamily="34" charset="0"/>
                </a:rPr>
                <a:t>The! </a:t>
              </a:r>
              <a:r>
                <a:rPr lang="hu-HU" sz="2000" kern="0" dirty="0" err="1" smtClean="0">
                  <a:solidFill>
                    <a:sysClr val="windowText" lastClr="000000"/>
                  </a:solidFill>
                  <a:latin typeface="TeleGrotesk Headline Ultra" pitchFamily="2" charset="0"/>
                  <a:cs typeface="TeleGrotesk Headline Ultra" pitchFamily="2" charset="0"/>
                  <a:sym typeface="Arial" pitchFamily="34" charset="0"/>
                </a:rPr>
                <a:t>Cloudifier</a:t>
              </a:r>
              <a:endParaRPr lang="en-US" sz="2000" kern="0" dirty="0">
                <a:solidFill>
                  <a:sysClr val="windowText" lastClr="000000"/>
                </a:solidFill>
                <a:latin typeface="TeleGrotesk Headline Ultra" pitchFamily="2" charset="0"/>
                <a:cs typeface="TeleGrotesk Headline Ultra" pitchFamily="2" charset="0"/>
                <a:sym typeface="Arial" pitchFamily="34" charset="0"/>
              </a:endParaRPr>
            </a:p>
          </p:txBody>
        </p:sp>
        <p:pic>
          <p:nvPicPr>
            <p:cNvPr id="16" name="pasted-image.pdf"/>
            <p:cNvPicPr preferRelativeResize="0"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248019" y="1000648"/>
              <a:ext cx="533656" cy="523636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  <p:sp>
        <p:nvSpPr>
          <p:cNvPr id="24" name="Rechteck 70"/>
          <p:cNvSpPr/>
          <p:nvPr/>
        </p:nvSpPr>
        <p:spPr>
          <a:xfrm>
            <a:off x="3755248" y="4245852"/>
            <a:ext cx="2160588" cy="466627"/>
          </a:xfrm>
          <a:prstGeom prst="rect">
            <a:avLst/>
          </a:prstGeom>
        </p:spPr>
        <p:txBody>
          <a:bodyPr wrap="square" lIns="71971" tIns="35985" rIns="71971" bIns="35985" anchor="ctr">
            <a:spAutoFit/>
          </a:bodyPr>
          <a:lstStyle/>
          <a:p>
            <a:pPr algn="ctr">
              <a:lnSpc>
                <a:spcPct val="80000"/>
              </a:lnSpc>
              <a:spcBef>
                <a:spcPts val="0"/>
              </a:spcBef>
              <a:buClr>
                <a:srgbClr val="A4A4A4"/>
              </a:buClr>
            </a:pPr>
            <a:r>
              <a:rPr lang="hu-HU" sz="3200" cap="all" dirty="0" err="1" smtClean="0">
                <a:solidFill>
                  <a:srgbClr val="FFFFFF"/>
                </a:solidFill>
                <a:latin typeface="TeleGrotesk Headline Ultra" pitchFamily="2" charset="0"/>
              </a:rPr>
              <a:t>From</a:t>
            </a:r>
            <a:r>
              <a:rPr lang="hu-HU" sz="3200" cap="all" dirty="0" smtClean="0">
                <a:solidFill>
                  <a:srgbClr val="FFFFFF"/>
                </a:solidFill>
                <a:latin typeface="TeleGrotesk Headline Ultra" pitchFamily="2" charset="0"/>
              </a:rPr>
              <a:t> HU</a:t>
            </a:r>
            <a:endParaRPr lang="en-US" sz="2400" dirty="0">
              <a:solidFill>
                <a:srgbClr val="FFFFFF"/>
              </a:solidFill>
              <a:latin typeface="TeleGrotesk Headline Ultra" pitchFamily="2" charset="0"/>
            </a:endParaRPr>
          </a:p>
        </p:txBody>
      </p:sp>
      <p:sp>
        <p:nvSpPr>
          <p:cNvPr id="25" name="Rechteck 71"/>
          <p:cNvSpPr/>
          <p:nvPr/>
        </p:nvSpPr>
        <p:spPr>
          <a:xfrm>
            <a:off x="6497026" y="4246582"/>
            <a:ext cx="2425337" cy="466627"/>
          </a:xfrm>
          <a:prstGeom prst="rect">
            <a:avLst/>
          </a:prstGeom>
        </p:spPr>
        <p:txBody>
          <a:bodyPr wrap="square" lIns="71971" tIns="35985" rIns="71971" bIns="35985" anchor="ctr">
            <a:spAutoFit/>
          </a:bodyPr>
          <a:lstStyle/>
          <a:p>
            <a:pPr algn="ctr">
              <a:lnSpc>
                <a:spcPct val="80000"/>
              </a:lnSpc>
              <a:spcBef>
                <a:spcPts val="0"/>
              </a:spcBef>
              <a:buClr>
                <a:srgbClr val="A4A4A4"/>
              </a:buClr>
            </a:pPr>
            <a:r>
              <a:rPr lang="hu-HU" sz="3200" cap="all" dirty="0" err="1" smtClean="0">
                <a:solidFill>
                  <a:srgbClr val="FFFFFF"/>
                </a:solidFill>
                <a:latin typeface="TeleGrotesk Headline Ultra" pitchFamily="2" charset="0"/>
              </a:rPr>
              <a:t>To</a:t>
            </a:r>
            <a:r>
              <a:rPr lang="hu-HU" sz="3200" cap="all" dirty="0" smtClean="0">
                <a:solidFill>
                  <a:srgbClr val="FFFFFF"/>
                </a:solidFill>
                <a:latin typeface="TeleGrotesk Headline Ultra" pitchFamily="2" charset="0"/>
              </a:rPr>
              <a:t> </a:t>
            </a:r>
            <a:r>
              <a:rPr lang="hu-HU" sz="3200" cap="all" dirty="0" err="1" smtClean="0">
                <a:solidFill>
                  <a:srgbClr val="FFFFFF"/>
                </a:solidFill>
                <a:latin typeface="TeleGrotesk Headline Ultra" pitchFamily="2" charset="0"/>
              </a:rPr>
              <a:t>Eu</a:t>
            </a:r>
            <a:endParaRPr lang="en-US" sz="3200" dirty="0">
              <a:solidFill>
                <a:srgbClr val="FFFFFF"/>
              </a:solidFill>
              <a:latin typeface="TeleGrotesk Headline Ultra" pitchFamily="2" charset="0"/>
            </a:endParaRPr>
          </a:p>
        </p:txBody>
      </p:sp>
      <p:sp>
        <p:nvSpPr>
          <p:cNvPr id="30" name="Eingekerbter Richtungspfeil 79"/>
          <p:cNvSpPr/>
          <p:nvPr/>
        </p:nvSpPr>
        <p:spPr>
          <a:xfrm>
            <a:off x="5738547" y="4093588"/>
            <a:ext cx="391024" cy="714375"/>
          </a:xfrm>
          <a:prstGeom prst="chevron">
            <a:avLst/>
          </a:prstGeom>
          <a:solidFill>
            <a:srgbClr val="FFFFFF">
              <a:alpha val="20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A4A4A4"/>
              </a:buClr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ele-GroteskNor"/>
              <a:ea typeface="+mn-ea"/>
              <a:cs typeface="+mn-cs"/>
            </a:endParaRPr>
          </a:p>
        </p:txBody>
      </p:sp>
      <p:sp>
        <p:nvSpPr>
          <p:cNvPr id="31" name="Eingekerbter Richtungspfeil 80"/>
          <p:cNvSpPr/>
          <p:nvPr/>
        </p:nvSpPr>
        <p:spPr>
          <a:xfrm>
            <a:off x="6120679" y="4093588"/>
            <a:ext cx="391024" cy="714375"/>
          </a:xfrm>
          <a:prstGeom prst="chevron">
            <a:avLst/>
          </a:prstGeom>
          <a:solidFill>
            <a:srgbClr val="FFFFFF">
              <a:alpha val="50196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A4A4A4"/>
              </a:buClr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ele-GroteskNor"/>
              <a:ea typeface="+mn-ea"/>
              <a:cs typeface="+mn-cs"/>
            </a:endParaRPr>
          </a:p>
        </p:txBody>
      </p:sp>
      <p:sp>
        <p:nvSpPr>
          <p:cNvPr id="32" name="Eingekerbter Richtungspfeil 81"/>
          <p:cNvSpPr/>
          <p:nvPr/>
        </p:nvSpPr>
        <p:spPr>
          <a:xfrm>
            <a:off x="6502811" y="4093588"/>
            <a:ext cx="391024" cy="714375"/>
          </a:xfrm>
          <a:prstGeom prst="chevron">
            <a:avLst/>
          </a:prstGeom>
          <a:solidFill>
            <a:srgbClr val="FFFFFF">
              <a:alpha val="69804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t"/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A4A4A4"/>
              </a:buClr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ele-GroteskNor"/>
              <a:ea typeface="+mn-ea"/>
              <a:cs typeface="+mn-cs"/>
            </a:endParaRPr>
          </a:p>
        </p:txBody>
      </p:sp>
      <p:grpSp>
        <p:nvGrpSpPr>
          <p:cNvPr id="33" name="Gruppieren 3"/>
          <p:cNvGrpSpPr/>
          <p:nvPr/>
        </p:nvGrpSpPr>
        <p:grpSpPr>
          <a:xfrm>
            <a:off x="3696955" y="4093589"/>
            <a:ext cx="5238471" cy="714375"/>
            <a:chOff x="1583168" y="2861356"/>
            <a:chExt cx="5979682" cy="714375"/>
          </a:xfrm>
        </p:grpSpPr>
        <p:cxnSp>
          <p:nvCxnSpPr>
            <p:cNvPr id="34" name="Gerade Verbindung 18"/>
            <p:cNvCxnSpPr/>
            <p:nvPr/>
          </p:nvCxnSpPr>
          <p:spPr>
            <a:xfrm>
              <a:off x="1583168" y="2861356"/>
              <a:ext cx="5979682" cy="0"/>
            </a:xfrm>
            <a:prstGeom prst="line">
              <a:avLst/>
            </a:prstGeom>
            <a:noFill/>
            <a:ln>
              <a:solidFill>
                <a:srgbClr val="FFFFFF"/>
              </a:solidFill>
            </a:ln>
          </p:spPr>
        </p:cxnSp>
        <p:cxnSp>
          <p:nvCxnSpPr>
            <p:cNvPr id="35" name="Gerade Verbindung 19"/>
            <p:cNvCxnSpPr/>
            <p:nvPr/>
          </p:nvCxnSpPr>
          <p:spPr>
            <a:xfrm>
              <a:off x="1583168" y="3575731"/>
              <a:ext cx="5979682" cy="0"/>
            </a:xfrm>
            <a:prstGeom prst="line">
              <a:avLst/>
            </a:prstGeom>
            <a:noFill/>
            <a:ln>
              <a:solidFill>
                <a:srgbClr val="FFFFFF"/>
              </a:solidFill>
            </a:ln>
          </p:spPr>
        </p:cxnSp>
      </p:grpSp>
      <p:pic>
        <p:nvPicPr>
          <p:cNvPr id="278630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68548" y="2117292"/>
            <a:ext cx="3759274" cy="22156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Magyarországról?</a:t>
            </a:r>
            <a:endParaRPr lang="hu-HU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AD15FD-4877-4C8D-ADB7-1458AAF15636}" type="slidenum">
              <a:rPr lang="hu-HU" smtClean="0"/>
              <a:pPr/>
              <a:t>17</a:t>
            </a:fld>
            <a:endParaRPr lang="hu-HU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727" y="991745"/>
            <a:ext cx="2473491" cy="3716634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5048" y="991745"/>
            <a:ext cx="5588923" cy="37166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37701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hu-HU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6" y="0"/>
            <a:ext cx="9139888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209645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3069"/>
          <a:stretch/>
        </p:blipFill>
        <p:spPr>
          <a:xfrm>
            <a:off x="3175" y="0"/>
            <a:ext cx="9140825" cy="5143501"/>
          </a:xfrm>
          <a:prstGeom prst="rect">
            <a:avLst/>
          </a:prstGeom>
        </p:spPr>
      </p:pic>
      <p:graphicFrame>
        <p:nvGraphicFramePr>
          <p:cNvPr id="5122" name="Object 3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5542187"/>
              </p:ext>
            </p:extLst>
          </p:nvPr>
        </p:nvGraphicFramePr>
        <p:xfrm>
          <a:off x="1588" y="-92105"/>
          <a:ext cx="1587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6311" name="think-cell Folie" r:id="rId8" imgW="360" imgH="360" progId="">
                  <p:embed/>
                </p:oleObj>
              </mc:Choice>
              <mc:Fallback>
                <p:oleObj name="think-cell Foli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-92105"/>
                        <a:ext cx="1587" cy="119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 txBox="1">
            <a:spLocks/>
          </p:cNvSpPr>
          <p:nvPr/>
        </p:nvSpPr>
        <p:spPr bwMode="gray">
          <a:xfrm>
            <a:off x="304800" y="250031"/>
            <a:ext cx="8496300" cy="4431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14163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457054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200" kern="1200" smtClean="0">
                <a:solidFill>
                  <a:schemeClr val="bg1"/>
                </a:solidFill>
                <a:latin typeface="TeleGrotesk Headline Ultra" pitchFamily="2" charset="0"/>
                <a:ea typeface="+mj-ea"/>
                <a:cs typeface="TeleGrotesk Headline Ultra" pitchFamily="2" charset="0"/>
              </a:defRPr>
            </a:lvl1pPr>
            <a:lvl2pPr algn="l" defTabSz="457054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2pPr>
            <a:lvl3pPr algn="l" defTabSz="457054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3pPr>
            <a:lvl4pPr algn="l" defTabSz="457054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4pPr>
            <a:lvl5pPr algn="l" defTabSz="457054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5pPr>
            <a:lvl6pPr marL="457054" algn="l" defTabSz="457054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108" algn="l" defTabSz="457054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160" algn="l" defTabSz="457054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215" algn="l" defTabSz="457054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>
              <a:buClrTx/>
              <a:buSzTx/>
              <a:buFontTx/>
            </a:pPr>
            <a:r>
              <a:rPr lang="hu-HU" dirty="0" err="1" smtClean="0"/>
              <a:t>CompaNy</a:t>
            </a:r>
            <a:r>
              <a:rPr lang="hu-HU" dirty="0" smtClean="0"/>
              <a:t> </a:t>
            </a:r>
            <a:r>
              <a:rPr lang="hu-HU" dirty="0" err="1" smtClean="0"/>
              <a:t>Namespace</a:t>
            </a:r>
            <a:r>
              <a:rPr lang="hu-HU" dirty="0" smtClean="0"/>
              <a:t>…</a:t>
            </a:r>
            <a:endParaRPr lang="hu-HU" dirty="0"/>
          </a:p>
        </p:txBody>
      </p:sp>
      <p:pic>
        <p:nvPicPr>
          <p:cNvPr id="7" name="Picture 21" descr="T_Logo_3c_Slogan_n_INT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1938"/>
          <a:stretch>
            <a:fillRect/>
          </a:stretch>
        </p:blipFill>
        <p:spPr bwMode="auto">
          <a:xfrm>
            <a:off x="323850" y="4343930"/>
            <a:ext cx="1009650" cy="395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2" descr="T_Logo_3c_Slogan_n_INT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840"/>
          <a:stretch>
            <a:fillRect/>
          </a:stretch>
        </p:blipFill>
        <p:spPr bwMode="auto">
          <a:xfrm>
            <a:off x="7391400" y="4343930"/>
            <a:ext cx="1436688" cy="395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 Box 12"/>
          <p:cNvSpPr txBox="1">
            <a:spLocks noChangeArrowheads="1"/>
          </p:cNvSpPr>
          <p:nvPr/>
        </p:nvSpPr>
        <p:spPr bwMode="auto">
          <a:xfrm>
            <a:off x="3742020" y="1573953"/>
            <a:ext cx="1307754" cy="58477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  <a:extLst/>
        </p:spPr>
        <p:txBody>
          <a:bodyPr wrap="square"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50000"/>
              </a:spcBef>
            </a:pPr>
            <a:r>
              <a:rPr lang="hu-HU" sz="3200" b="1" dirty="0">
                <a:solidFill>
                  <a:schemeClr val="bg1"/>
                </a:solidFill>
                <a:latin typeface="TeleGrotesk Headline Ultra" pitchFamily="2" charset="0"/>
              </a:rPr>
              <a:t>DTAG</a:t>
            </a:r>
          </a:p>
        </p:txBody>
      </p:sp>
      <p:sp>
        <p:nvSpPr>
          <p:cNvPr id="12" name="Rectangle 13"/>
          <p:cNvSpPr>
            <a:spLocks noChangeArrowheads="1"/>
          </p:cNvSpPr>
          <p:nvPr/>
        </p:nvSpPr>
        <p:spPr bwMode="auto">
          <a:xfrm>
            <a:off x="2544738" y="2682558"/>
            <a:ext cx="1479550" cy="554038"/>
          </a:xfrm>
          <a:prstGeom prst="rect">
            <a:avLst/>
          </a:prstGeom>
          <a:solidFill>
            <a:schemeClr val="bg1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sy="50000" kx="-2453608" rotWithShape="0">
              <a:srgbClr val="808080">
                <a:alpha val="50000"/>
              </a:srgbClr>
            </a:outerShdw>
          </a:effectLst>
        </p:spPr>
        <p:txBody>
          <a:bodyPr wrap="none" anchor="ctr"/>
          <a:lstStyle/>
          <a:p>
            <a:endParaRPr lang="hu-HU">
              <a:latin typeface="Tele-GroteskEENor" pitchFamily="2" charset="0"/>
            </a:endParaRPr>
          </a:p>
        </p:txBody>
      </p:sp>
      <p:sp>
        <p:nvSpPr>
          <p:cNvPr id="13" name="Rectangle 14"/>
          <p:cNvSpPr>
            <a:spLocks noChangeArrowheads="1"/>
          </p:cNvSpPr>
          <p:nvPr/>
        </p:nvSpPr>
        <p:spPr bwMode="auto">
          <a:xfrm>
            <a:off x="2544738" y="2682558"/>
            <a:ext cx="1479550" cy="554038"/>
          </a:xfrm>
          <a:prstGeom prst="rect">
            <a:avLst/>
          </a:prstGeom>
          <a:solidFill>
            <a:srgbClr val="FFFFFF"/>
          </a:solidFill>
          <a:ln w="9525">
            <a:solidFill>
              <a:srgbClr val="C0C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hu-HU">
              <a:latin typeface="Tele-GroteskEENor" pitchFamily="2" charset="0"/>
            </a:endParaRPr>
          </a:p>
        </p:txBody>
      </p:sp>
      <p:sp>
        <p:nvSpPr>
          <p:cNvPr id="14" name="Rectangle 17"/>
          <p:cNvSpPr>
            <a:spLocks noChangeArrowheads="1"/>
          </p:cNvSpPr>
          <p:nvPr/>
        </p:nvSpPr>
        <p:spPr bwMode="auto">
          <a:xfrm>
            <a:off x="4702150" y="2711133"/>
            <a:ext cx="1479550" cy="554038"/>
          </a:xfrm>
          <a:prstGeom prst="rect">
            <a:avLst/>
          </a:prstGeom>
          <a:solidFill>
            <a:schemeClr val="bg1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sy="50000" kx="-2453608" rotWithShape="0">
              <a:srgbClr val="808080">
                <a:alpha val="50000"/>
              </a:srgbClr>
            </a:outerShdw>
          </a:effectLst>
        </p:spPr>
        <p:txBody>
          <a:bodyPr wrap="none" anchor="ctr"/>
          <a:lstStyle/>
          <a:p>
            <a:endParaRPr lang="hu-HU">
              <a:latin typeface="Tele-GroteskEENor" pitchFamily="2" charset="0"/>
            </a:endParaRPr>
          </a:p>
        </p:txBody>
      </p:sp>
      <p:sp>
        <p:nvSpPr>
          <p:cNvPr id="15" name="Rectangle 18"/>
          <p:cNvSpPr>
            <a:spLocks noChangeArrowheads="1"/>
          </p:cNvSpPr>
          <p:nvPr/>
        </p:nvSpPr>
        <p:spPr bwMode="auto">
          <a:xfrm>
            <a:off x="4702150" y="2711133"/>
            <a:ext cx="1479550" cy="554038"/>
          </a:xfrm>
          <a:prstGeom prst="rect">
            <a:avLst/>
          </a:prstGeom>
          <a:solidFill>
            <a:srgbClr val="FFFFFF"/>
          </a:solidFill>
          <a:ln w="9525">
            <a:solidFill>
              <a:srgbClr val="C0C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hu-HU">
              <a:latin typeface="Tele-GroteskEENor" pitchFamily="2" charset="0"/>
            </a:endParaRPr>
          </a:p>
        </p:txBody>
      </p:sp>
      <p:sp>
        <p:nvSpPr>
          <p:cNvPr id="16" name="Rectangle 20"/>
          <p:cNvSpPr>
            <a:spLocks noChangeArrowheads="1"/>
          </p:cNvSpPr>
          <p:nvPr/>
        </p:nvSpPr>
        <p:spPr bwMode="auto">
          <a:xfrm>
            <a:off x="2560613" y="4124008"/>
            <a:ext cx="1479550" cy="554038"/>
          </a:xfrm>
          <a:prstGeom prst="rect">
            <a:avLst/>
          </a:prstGeom>
          <a:solidFill>
            <a:schemeClr val="bg1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sy="50000" kx="-2453608" rotWithShape="0">
              <a:srgbClr val="808080">
                <a:alpha val="50000"/>
              </a:srgbClr>
            </a:outerShdw>
          </a:effectLst>
        </p:spPr>
        <p:txBody>
          <a:bodyPr wrap="none" anchor="ctr"/>
          <a:lstStyle/>
          <a:p>
            <a:endParaRPr lang="hu-HU">
              <a:latin typeface="Tele-GroteskEENor" pitchFamily="2" charset="0"/>
            </a:endParaRPr>
          </a:p>
        </p:txBody>
      </p:sp>
      <p:sp>
        <p:nvSpPr>
          <p:cNvPr id="17" name="Rectangle 21"/>
          <p:cNvSpPr>
            <a:spLocks noChangeArrowheads="1"/>
          </p:cNvSpPr>
          <p:nvPr/>
        </p:nvSpPr>
        <p:spPr bwMode="auto">
          <a:xfrm>
            <a:off x="2560613" y="4124008"/>
            <a:ext cx="1479550" cy="554038"/>
          </a:xfrm>
          <a:prstGeom prst="rect">
            <a:avLst/>
          </a:prstGeom>
          <a:solidFill>
            <a:srgbClr val="FFFFFF"/>
          </a:solidFill>
          <a:ln w="9525">
            <a:solidFill>
              <a:srgbClr val="C0C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hu-HU">
              <a:latin typeface="Tele-GroteskEENor" pitchFamily="2" charset="0"/>
            </a:endParaRPr>
          </a:p>
        </p:txBody>
      </p:sp>
      <p:sp>
        <p:nvSpPr>
          <p:cNvPr id="18" name="Text Box 22"/>
          <p:cNvSpPr txBox="1">
            <a:spLocks noChangeArrowheads="1"/>
          </p:cNvSpPr>
          <p:nvPr/>
        </p:nvSpPr>
        <p:spPr bwMode="auto">
          <a:xfrm>
            <a:off x="2539975" y="1976121"/>
            <a:ext cx="936625" cy="366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50000"/>
              </a:spcBef>
            </a:pPr>
            <a:r>
              <a:rPr lang="hu-HU" b="1" dirty="0">
                <a:solidFill>
                  <a:schemeClr val="bg1"/>
                </a:solidFill>
                <a:latin typeface="Tele-GroteskEENor" pitchFamily="2" charset="0"/>
              </a:rPr>
              <a:t>100%</a:t>
            </a:r>
          </a:p>
        </p:txBody>
      </p:sp>
      <p:sp>
        <p:nvSpPr>
          <p:cNvPr id="19" name="Text Box 23"/>
          <p:cNvSpPr txBox="1">
            <a:spLocks noChangeArrowheads="1"/>
          </p:cNvSpPr>
          <p:nvPr/>
        </p:nvSpPr>
        <p:spPr bwMode="auto">
          <a:xfrm>
            <a:off x="5292700" y="1982471"/>
            <a:ext cx="1079500" cy="366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50000"/>
              </a:spcBef>
            </a:pPr>
            <a:r>
              <a:rPr lang="hu-HU" b="1" dirty="0">
                <a:solidFill>
                  <a:schemeClr val="bg1"/>
                </a:solidFill>
                <a:latin typeface="Tele-GroteskEENor" pitchFamily="2" charset="0"/>
              </a:rPr>
              <a:t>59,21%</a:t>
            </a:r>
          </a:p>
        </p:txBody>
      </p:sp>
      <p:sp>
        <p:nvSpPr>
          <p:cNvPr id="20" name="Text Box 24"/>
          <p:cNvSpPr txBox="1">
            <a:spLocks noChangeArrowheads="1"/>
          </p:cNvSpPr>
          <p:nvPr/>
        </p:nvSpPr>
        <p:spPr bwMode="auto">
          <a:xfrm>
            <a:off x="2520925" y="3608071"/>
            <a:ext cx="936625" cy="366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50000"/>
              </a:spcBef>
            </a:pPr>
            <a:r>
              <a:rPr lang="hu-HU" b="1" dirty="0">
                <a:solidFill>
                  <a:schemeClr val="bg1"/>
                </a:solidFill>
                <a:latin typeface="Tele-GroteskEENor" pitchFamily="2" charset="0"/>
              </a:rPr>
              <a:t>100%</a:t>
            </a:r>
          </a:p>
        </p:txBody>
      </p:sp>
      <p:sp>
        <p:nvSpPr>
          <p:cNvPr id="21" name="Text Box 25"/>
          <p:cNvSpPr txBox="1">
            <a:spLocks noChangeArrowheads="1"/>
          </p:cNvSpPr>
          <p:nvPr/>
        </p:nvSpPr>
        <p:spPr bwMode="auto">
          <a:xfrm>
            <a:off x="4675163" y="3598546"/>
            <a:ext cx="936625" cy="366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50000"/>
              </a:spcBef>
            </a:pPr>
            <a:r>
              <a:rPr lang="hu-HU" b="1" dirty="0">
                <a:solidFill>
                  <a:schemeClr val="bg1"/>
                </a:solidFill>
                <a:latin typeface="Tele-GroteskEENor" pitchFamily="2" charset="0"/>
              </a:rPr>
              <a:t>100%</a:t>
            </a:r>
          </a:p>
        </p:txBody>
      </p:sp>
      <p:cxnSp>
        <p:nvCxnSpPr>
          <p:cNvPr id="22" name="AutoShape 26"/>
          <p:cNvCxnSpPr>
            <a:cxnSpLocks noChangeShapeType="1"/>
            <a:endCxn id="13" idx="0"/>
          </p:cNvCxnSpPr>
          <p:nvPr/>
        </p:nvCxnSpPr>
        <p:spPr bwMode="auto">
          <a:xfrm rot="10800000" flipV="1">
            <a:off x="3284513" y="2319020"/>
            <a:ext cx="1116916" cy="363537"/>
          </a:xfrm>
          <a:prstGeom prst="bentConnector2">
            <a:avLst/>
          </a:prstGeom>
          <a:noFill/>
          <a:ln w="9525">
            <a:solidFill>
              <a:schemeClr val="tx2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23" name="AutoShape 27"/>
          <p:cNvCxnSpPr>
            <a:cxnSpLocks noChangeShapeType="1"/>
            <a:endCxn id="15" idx="0"/>
          </p:cNvCxnSpPr>
          <p:nvPr/>
        </p:nvCxnSpPr>
        <p:spPr bwMode="auto">
          <a:xfrm>
            <a:off x="4368775" y="2319021"/>
            <a:ext cx="1074738" cy="392112"/>
          </a:xfrm>
          <a:prstGeom prst="bentConnector2">
            <a:avLst/>
          </a:prstGeom>
          <a:noFill/>
          <a:ln w="9525">
            <a:solidFill>
              <a:schemeClr val="tx2"/>
            </a:solidFill>
            <a:miter lim="800000"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24" name="AutoShape 29"/>
          <p:cNvCxnSpPr>
            <a:cxnSpLocks noChangeShapeType="1"/>
            <a:endCxn id="17" idx="0"/>
          </p:cNvCxnSpPr>
          <p:nvPr/>
        </p:nvCxnSpPr>
        <p:spPr bwMode="auto">
          <a:xfrm flipH="1">
            <a:off x="3301975" y="3236596"/>
            <a:ext cx="1588" cy="887412"/>
          </a:xfrm>
          <a:prstGeom prst="straightConnector1">
            <a:avLst/>
          </a:prstGeom>
          <a:noFill/>
          <a:ln w="9525">
            <a:solidFill>
              <a:schemeClr val="tx2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sp>
        <p:nvSpPr>
          <p:cNvPr id="25" name="Rectangle 30"/>
          <p:cNvSpPr>
            <a:spLocks noChangeArrowheads="1"/>
          </p:cNvSpPr>
          <p:nvPr/>
        </p:nvSpPr>
        <p:spPr bwMode="auto">
          <a:xfrm>
            <a:off x="4705325" y="4124008"/>
            <a:ext cx="1479550" cy="554038"/>
          </a:xfrm>
          <a:prstGeom prst="rect">
            <a:avLst/>
          </a:prstGeom>
          <a:solidFill>
            <a:schemeClr val="bg1"/>
          </a:solidFill>
          <a:ln w="9525">
            <a:solidFill>
              <a:srgbClr val="000000"/>
            </a:solidFill>
            <a:miter lim="800000"/>
            <a:headEnd/>
            <a:tailEnd/>
          </a:ln>
          <a:effectLst>
            <a:outerShdw sy="50000" kx="-2453608" rotWithShape="0">
              <a:srgbClr val="808080">
                <a:alpha val="50000"/>
              </a:srgbClr>
            </a:outerShdw>
          </a:effectLst>
        </p:spPr>
        <p:txBody>
          <a:bodyPr wrap="none" anchor="ctr"/>
          <a:lstStyle/>
          <a:p>
            <a:endParaRPr lang="hu-HU">
              <a:latin typeface="Tele-GroteskEENor" pitchFamily="2" charset="0"/>
            </a:endParaRPr>
          </a:p>
        </p:txBody>
      </p:sp>
      <p:sp>
        <p:nvSpPr>
          <p:cNvPr id="26" name="Rectangle 31"/>
          <p:cNvSpPr>
            <a:spLocks noChangeArrowheads="1"/>
          </p:cNvSpPr>
          <p:nvPr/>
        </p:nvSpPr>
        <p:spPr bwMode="auto">
          <a:xfrm>
            <a:off x="4705325" y="4124008"/>
            <a:ext cx="1479550" cy="554038"/>
          </a:xfrm>
          <a:prstGeom prst="rect">
            <a:avLst/>
          </a:prstGeom>
          <a:solidFill>
            <a:srgbClr val="FFFFFF"/>
          </a:solidFill>
          <a:ln w="9525">
            <a:solidFill>
              <a:srgbClr val="C0C0C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hu-HU">
              <a:latin typeface="Tele-GroteskEENor" pitchFamily="2" charset="0"/>
            </a:endParaRPr>
          </a:p>
        </p:txBody>
      </p:sp>
      <p:cxnSp>
        <p:nvCxnSpPr>
          <p:cNvPr id="27" name="AutoShape 34"/>
          <p:cNvCxnSpPr>
            <a:cxnSpLocks noChangeShapeType="1"/>
            <a:stCxn id="15" idx="2"/>
            <a:endCxn id="26" idx="0"/>
          </p:cNvCxnSpPr>
          <p:nvPr/>
        </p:nvCxnSpPr>
        <p:spPr bwMode="auto">
          <a:xfrm>
            <a:off x="5443513" y="3265171"/>
            <a:ext cx="3175" cy="858837"/>
          </a:xfrm>
          <a:prstGeom prst="straightConnector1">
            <a:avLst/>
          </a:prstGeom>
          <a:noFill/>
          <a:ln w="9525">
            <a:solidFill>
              <a:schemeClr val="tx2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sp>
        <p:nvSpPr>
          <p:cNvPr id="29" name="Text Box 54"/>
          <p:cNvSpPr txBox="1">
            <a:spLocks noChangeArrowheads="1"/>
          </p:cNvSpPr>
          <p:nvPr/>
        </p:nvSpPr>
        <p:spPr bwMode="auto">
          <a:xfrm>
            <a:off x="4740250" y="4381183"/>
            <a:ext cx="1417638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50000"/>
              </a:spcBef>
            </a:pPr>
            <a:r>
              <a:rPr lang="hu-HU" sz="1400" dirty="0">
                <a:solidFill>
                  <a:srgbClr val="969696"/>
                </a:solidFill>
                <a:latin typeface="Tele-GroteskEENor" pitchFamily="2" charset="0"/>
              </a:rPr>
              <a:t>Hungary</a:t>
            </a:r>
          </a:p>
        </p:txBody>
      </p:sp>
      <p:sp>
        <p:nvSpPr>
          <p:cNvPr id="30" name="Text Box 55"/>
          <p:cNvSpPr txBox="1">
            <a:spLocks noChangeArrowheads="1"/>
          </p:cNvSpPr>
          <p:nvPr/>
        </p:nvSpPr>
        <p:spPr bwMode="auto">
          <a:xfrm>
            <a:off x="2581250" y="2941321"/>
            <a:ext cx="1417638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50000"/>
              </a:spcBef>
            </a:pPr>
            <a:r>
              <a:rPr lang="hu-HU" sz="1400" dirty="0">
                <a:solidFill>
                  <a:srgbClr val="969696"/>
                </a:solidFill>
                <a:latin typeface="Tele-GroteskEENor" pitchFamily="2" charset="0"/>
              </a:rPr>
              <a:t>International</a:t>
            </a:r>
          </a:p>
        </p:txBody>
      </p:sp>
      <p:sp>
        <p:nvSpPr>
          <p:cNvPr id="31" name="Text Box 55"/>
          <p:cNvSpPr txBox="1">
            <a:spLocks noChangeArrowheads="1"/>
          </p:cNvSpPr>
          <p:nvPr/>
        </p:nvSpPr>
        <p:spPr bwMode="auto">
          <a:xfrm>
            <a:off x="4745807" y="2949233"/>
            <a:ext cx="1417638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50000"/>
              </a:spcBef>
            </a:pPr>
            <a:r>
              <a:rPr lang="hu-HU" sz="1400" dirty="0" smtClean="0">
                <a:solidFill>
                  <a:srgbClr val="969696"/>
                </a:solidFill>
                <a:latin typeface="Tele-GroteskEENor" pitchFamily="2" charset="0"/>
              </a:rPr>
              <a:t>Magyar Telekom</a:t>
            </a:r>
            <a:endParaRPr lang="hu-HU" sz="1400" dirty="0">
              <a:solidFill>
                <a:srgbClr val="969696"/>
              </a:solidFill>
              <a:latin typeface="Tele-GroteskEENor" pitchFamily="2" charset="0"/>
            </a:endParaRPr>
          </a:p>
        </p:txBody>
      </p:sp>
      <p:pic>
        <p:nvPicPr>
          <p:cNvPr id="32" name="Picture 331" descr="http://goodlogo.com/images/logos/deutsche_telekom_logo_2715.gif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09332" y="2764956"/>
            <a:ext cx="479474" cy="238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32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43808" y="4184975"/>
            <a:ext cx="916874" cy="446859"/>
          </a:xfrm>
          <a:prstGeom prst="rect">
            <a:avLst/>
          </a:prstGeom>
        </p:spPr>
      </p:pic>
      <p:pic>
        <p:nvPicPr>
          <p:cNvPr id="34" name="Picture 33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2571" y="2759626"/>
            <a:ext cx="1083884" cy="196611"/>
          </a:xfrm>
          <a:prstGeom prst="rect">
            <a:avLst/>
          </a:prstGeom>
        </p:spPr>
      </p:pic>
      <p:pic>
        <p:nvPicPr>
          <p:cNvPr id="35" name="Picture 34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2684" y="4219199"/>
            <a:ext cx="1083884" cy="196611"/>
          </a:xfrm>
          <a:prstGeom prst="rect">
            <a:avLst/>
          </a:prstGeom>
        </p:spPr>
      </p:pic>
      <p:sp>
        <p:nvSpPr>
          <p:cNvPr id="39" name="Rectangle 38"/>
          <p:cNvSpPr/>
          <p:nvPr/>
        </p:nvSpPr>
        <p:spPr>
          <a:xfrm rot="20479154">
            <a:off x="1223735" y="3814942"/>
            <a:ext cx="1455576" cy="634424"/>
          </a:xfrm>
          <a:prstGeom prst="rect">
            <a:avLst/>
          </a:prstGeom>
          <a:solidFill>
            <a:srgbClr val="7030A0"/>
          </a:solidFill>
        </p:spPr>
        <p:txBody>
          <a:bodyPr wrap="square" lIns="36000" tIns="108000" rIns="36000" bIns="108000" rtlCol="0" anchor="ctr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>
                <a:srgbClr val="E20074"/>
              </a:buClr>
            </a:pPr>
            <a:r>
              <a:rPr lang="en-US" sz="1100" dirty="0" smtClean="0">
                <a:solidFill>
                  <a:schemeClr val="bg1"/>
                </a:solidFill>
                <a:latin typeface="Tele-GroteskNor"/>
                <a:sym typeface="Tele-GroteskNor"/>
              </a:rPr>
              <a:t>ICT OUTSOURCING FOR NEARSHORE AND GLOBAL CUSTOMERS</a:t>
            </a:r>
            <a:endParaRPr lang="hu-HU" sz="1100" dirty="0">
              <a:solidFill>
                <a:schemeClr val="bg1"/>
              </a:solidFill>
              <a:latin typeface="Tele-GroteskNor"/>
              <a:sym typeface="Tele-GroteskNor"/>
            </a:endParaRPr>
          </a:p>
        </p:txBody>
      </p:sp>
      <p:sp>
        <p:nvSpPr>
          <p:cNvPr id="41" name="Rectangle 40"/>
          <p:cNvSpPr/>
          <p:nvPr/>
        </p:nvSpPr>
        <p:spPr>
          <a:xfrm rot="20503293">
            <a:off x="6059334" y="3648045"/>
            <a:ext cx="1455576" cy="634424"/>
          </a:xfrm>
          <a:prstGeom prst="rect">
            <a:avLst/>
          </a:prstGeom>
          <a:solidFill>
            <a:schemeClr val="tx2"/>
          </a:solidFill>
        </p:spPr>
        <p:txBody>
          <a:bodyPr wrap="square" lIns="36000" tIns="108000" rIns="36000" bIns="108000" rtlCol="0" anchor="ctr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>
                <a:srgbClr val="E20074"/>
              </a:buClr>
            </a:pPr>
            <a:r>
              <a:rPr lang="en-US" sz="1100" dirty="0" smtClean="0">
                <a:solidFill>
                  <a:schemeClr val="bg1"/>
                </a:solidFill>
                <a:latin typeface="Tele-GroteskNor"/>
                <a:sym typeface="Tele-GroteskNor"/>
              </a:rPr>
              <a:t>ICT SERVICES AND SOLUTIONS FOR LOCAL CUSTOMERS (HU)</a:t>
            </a:r>
            <a:endParaRPr lang="hu-HU" sz="1100" dirty="0">
              <a:solidFill>
                <a:schemeClr val="bg1"/>
              </a:solidFill>
              <a:latin typeface="Tele-GroteskNor"/>
              <a:sym typeface="Tele-GroteskNor"/>
            </a:endParaRPr>
          </a:p>
        </p:txBody>
      </p:sp>
    </p:spTree>
    <p:extLst>
      <p:ext uri="{BB962C8B-B14F-4D97-AF65-F5344CB8AC3E}">
        <p14:creationId xmlns:p14="http://schemas.microsoft.com/office/powerpoint/2010/main" val="2405089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Csoportba foglalás 7"/>
          <p:cNvGrpSpPr/>
          <p:nvPr/>
        </p:nvGrpSpPr>
        <p:grpSpPr>
          <a:xfrm>
            <a:off x="4311160" y="414661"/>
            <a:ext cx="4596726" cy="4360772"/>
            <a:chOff x="6516216" y="2388684"/>
            <a:chExt cx="1951965" cy="1851769"/>
          </a:xfrm>
        </p:grpSpPr>
        <p:sp>
          <p:nvSpPr>
            <p:cNvPr id="7" name="Rectangle 9"/>
            <p:cNvSpPr>
              <a:spLocks noChangeAspect="1" noChangeArrowheads="1"/>
            </p:cNvSpPr>
            <p:nvPr/>
          </p:nvSpPr>
          <p:spPr bwMode="gray">
            <a:xfrm>
              <a:off x="7371736" y="2993074"/>
              <a:ext cx="2951" cy="330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11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SzPct val="75000"/>
              </a:pPr>
              <a:endParaRPr lang="de-DE"/>
            </a:p>
          </p:txBody>
        </p:sp>
        <p:sp>
          <p:nvSpPr>
            <p:cNvPr id="8" name="Freeform 141"/>
            <p:cNvSpPr>
              <a:spLocks noChangeAspect="1"/>
            </p:cNvSpPr>
            <p:nvPr/>
          </p:nvSpPr>
          <p:spPr bwMode="gray">
            <a:xfrm>
              <a:off x="7126881" y="2388684"/>
              <a:ext cx="846670" cy="652918"/>
            </a:xfrm>
            <a:custGeom>
              <a:avLst/>
              <a:gdLst>
                <a:gd name="T0" fmla="*/ 2147483647 w 330"/>
                <a:gd name="T1" fmla="*/ 2147483647 h 227"/>
                <a:gd name="T2" fmla="*/ 2147483647 w 330"/>
                <a:gd name="T3" fmla="*/ 2147483647 h 227"/>
                <a:gd name="T4" fmla="*/ 2147483647 w 330"/>
                <a:gd name="T5" fmla="*/ 2147483647 h 227"/>
                <a:gd name="T6" fmla="*/ 2147483647 w 330"/>
                <a:gd name="T7" fmla="*/ 2147483647 h 227"/>
                <a:gd name="T8" fmla="*/ 2147483647 w 330"/>
                <a:gd name="T9" fmla="*/ 2147483647 h 227"/>
                <a:gd name="T10" fmla="*/ 2147483647 w 330"/>
                <a:gd name="T11" fmla="*/ 2147483647 h 227"/>
                <a:gd name="T12" fmla="*/ 2147483647 w 330"/>
                <a:gd name="T13" fmla="*/ 2147483647 h 227"/>
                <a:gd name="T14" fmla="*/ 2147483647 w 330"/>
                <a:gd name="T15" fmla="*/ 2147483647 h 227"/>
                <a:gd name="T16" fmla="*/ 2147483647 w 330"/>
                <a:gd name="T17" fmla="*/ 2147483647 h 227"/>
                <a:gd name="T18" fmla="*/ 2147483647 w 330"/>
                <a:gd name="T19" fmla="*/ 2147483647 h 227"/>
                <a:gd name="T20" fmla="*/ 2147483647 w 330"/>
                <a:gd name="T21" fmla="*/ 2147483647 h 227"/>
                <a:gd name="T22" fmla="*/ 2147483647 w 330"/>
                <a:gd name="T23" fmla="*/ 2147483647 h 227"/>
                <a:gd name="T24" fmla="*/ 2147483647 w 330"/>
                <a:gd name="T25" fmla="*/ 2147483647 h 227"/>
                <a:gd name="T26" fmla="*/ 2147483647 w 330"/>
                <a:gd name="T27" fmla="*/ 2147483647 h 227"/>
                <a:gd name="T28" fmla="*/ 2147483647 w 330"/>
                <a:gd name="T29" fmla="*/ 2147483647 h 227"/>
                <a:gd name="T30" fmla="*/ 2147483647 w 330"/>
                <a:gd name="T31" fmla="*/ 2147483647 h 227"/>
                <a:gd name="T32" fmla="*/ 2147483647 w 330"/>
                <a:gd name="T33" fmla="*/ 2147483647 h 227"/>
                <a:gd name="T34" fmla="*/ 2147483647 w 330"/>
                <a:gd name="T35" fmla="*/ 2147483647 h 227"/>
                <a:gd name="T36" fmla="*/ 2147483647 w 330"/>
                <a:gd name="T37" fmla="*/ 2147483647 h 227"/>
                <a:gd name="T38" fmla="*/ 2147483647 w 330"/>
                <a:gd name="T39" fmla="*/ 2147483647 h 227"/>
                <a:gd name="T40" fmla="*/ 2147483647 w 330"/>
                <a:gd name="T41" fmla="*/ 2147483647 h 227"/>
                <a:gd name="T42" fmla="*/ 2147483647 w 330"/>
                <a:gd name="T43" fmla="*/ 2147483647 h 227"/>
                <a:gd name="T44" fmla="*/ 2147483647 w 330"/>
                <a:gd name="T45" fmla="*/ 2147483647 h 227"/>
                <a:gd name="T46" fmla="*/ 2147483647 w 330"/>
                <a:gd name="T47" fmla="*/ 2147483647 h 227"/>
                <a:gd name="T48" fmla="*/ 2147483647 w 330"/>
                <a:gd name="T49" fmla="*/ 2147483647 h 227"/>
                <a:gd name="T50" fmla="*/ 2147483647 w 330"/>
                <a:gd name="T51" fmla="*/ 2147483647 h 227"/>
                <a:gd name="T52" fmla="*/ 2147483647 w 330"/>
                <a:gd name="T53" fmla="*/ 2147483647 h 227"/>
                <a:gd name="T54" fmla="*/ 2147483647 w 330"/>
                <a:gd name="T55" fmla="*/ 2147483647 h 227"/>
                <a:gd name="T56" fmla="*/ 2147483647 w 330"/>
                <a:gd name="T57" fmla="*/ 2147483647 h 227"/>
                <a:gd name="T58" fmla="*/ 2147483647 w 330"/>
                <a:gd name="T59" fmla="*/ 2147483647 h 227"/>
                <a:gd name="T60" fmla="*/ 2147483647 w 330"/>
                <a:gd name="T61" fmla="*/ 2147483647 h 227"/>
                <a:gd name="T62" fmla="*/ 2147483647 w 330"/>
                <a:gd name="T63" fmla="*/ 2147483647 h 227"/>
                <a:gd name="T64" fmla="*/ 2147483647 w 330"/>
                <a:gd name="T65" fmla="*/ 2147483647 h 227"/>
                <a:gd name="T66" fmla="*/ 2147483647 w 330"/>
                <a:gd name="T67" fmla="*/ 2147483647 h 227"/>
                <a:gd name="T68" fmla="*/ 2147483647 w 330"/>
                <a:gd name="T69" fmla="*/ 0 h 227"/>
                <a:gd name="T70" fmla="*/ 2147483647 w 330"/>
                <a:gd name="T71" fmla="*/ 2147483647 h 227"/>
                <a:gd name="T72" fmla="*/ 2147483647 w 330"/>
                <a:gd name="T73" fmla="*/ 2147483647 h 227"/>
                <a:gd name="T74" fmla="*/ 2147483647 w 330"/>
                <a:gd name="T75" fmla="*/ 2147483647 h 227"/>
                <a:gd name="T76" fmla="*/ 2147483647 w 330"/>
                <a:gd name="T77" fmla="*/ 2147483647 h 227"/>
                <a:gd name="T78" fmla="*/ 2147483647 w 330"/>
                <a:gd name="T79" fmla="*/ 2147483647 h 227"/>
                <a:gd name="T80" fmla="*/ 2147483647 w 330"/>
                <a:gd name="T81" fmla="*/ 2147483647 h 227"/>
                <a:gd name="T82" fmla="*/ 2147483647 w 330"/>
                <a:gd name="T83" fmla="*/ 2147483647 h 227"/>
                <a:gd name="T84" fmla="*/ 2147483647 w 330"/>
                <a:gd name="T85" fmla="*/ 2147483647 h 227"/>
                <a:gd name="T86" fmla="*/ 2147483647 w 330"/>
                <a:gd name="T87" fmla="*/ 2147483647 h 227"/>
                <a:gd name="T88" fmla="*/ 2147483647 w 330"/>
                <a:gd name="T89" fmla="*/ 2147483647 h 227"/>
                <a:gd name="T90" fmla="*/ 2147483647 w 330"/>
                <a:gd name="T91" fmla="*/ 2147483647 h 227"/>
                <a:gd name="T92" fmla="*/ 2147483647 w 330"/>
                <a:gd name="T93" fmla="*/ 2147483647 h 227"/>
                <a:gd name="T94" fmla="*/ 2147483647 w 330"/>
                <a:gd name="T95" fmla="*/ 2147483647 h 227"/>
                <a:gd name="T96" fmla="*/ 2147483647 w 330"/>
                <a:gd name="T97" fmla="*/ 2147483647 h 227"/>
                <a:gd name="T98" fmla="*/ 2147483647 w 330"/>
                <a:gd name="T99" fmla="*/ 2147483647 h 227"/>
                <a:gd name="T100" fmla="*/ 2147483647 w 330"/>
                <a:gd name="T101" fmla="*/ 2147483647 h 227"/>
                <a:gd name="T102" fmla="*/ 2147483647 w 330"/>
                <a:gd name="T103" fmla="*/ 2147483647 h 227"/>
                <a:gd name="T104" fmla="*/ 2147483647 w 330"/>
                <a:gd name="T105" fmla="*/ 2147483647 h 227"/>
                <a:gd name="T106" fmla="*/ 2147483647 w 330"/>
                <a:gd name="T107" fmla="*/ 2147483647 h 227"/>
                <a:gd name="T108" fmla="*/ 2147483647 w 330"/>
                <a:gd name="T109" fmla="*/ 2147483647 h 227"/>
                <a:gd name="T110" fmla="*/ 2147483647 w 330"/>
                <a:gd name="T111" fmla="*/ 2147483647 h 227"/>
                <a:gd name="T112" fmla="*/ 2147483647 w 330"/>
                <a:gd name="T113" fmla="*/ 2147483647 h 227"/>
                <a:gd name="T114" fmla="*/ 2147483647 w 330"/>
                <a:gd name="T115" fmla="*/ 2147483647 h 227"/>
                <a:gd name="T116" fmla="*/ 2147483647 w 330"/>
                <a:gd name="T117" fmla="*/ 2147483647 h 227"/>
                <a:gd name="T118" fmla="*/ 2147483647 w 330"/>
                <a:gd name="T119" fmla="*/ 2147483647 h 227"/>
                <a:gd name="T120" fmla="*/ 2147483647 w 330"/>
                <a:gd name="T121" fmla="*/ 2147483647 h 22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30"/>
                <a:gd name="T184" fmla="*/ 0 h 227"/>
                <a:gd name="T185" fmla="*/ 330 w 330"/>
                <a:gd name="T186" fmla="*/ 227 h 227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30" h="227">
                  <a:moveTo>
                    <a:pt x="6" y="158"/>
                  </a:moveTo>
                  <a:lnTo>
                    <a:pt x="12" y="155"/>
                  </a:lnTo>
                  <a:lnTo>
                    <a:pt x="20" y="158"/>
                  </a:lnTo>
                  <a:lnTo>
                    <a:pt x="14" y="161"/>
                  </a:lnTo>
                  <a:lnTo>
                    <a:pt x="9" y="161"/>
                  </a:lnTo>
                  <a:lnTo>
                    <a:pt x="3" y="164"/>
                  </a:lnTo>
                  <a:lnTo>
                    <a:pt x="3" y="170"/>
                  </a:lnTo>
                  <a:lnTo>
                    <a:pt x="9" y="170"/>
                  </a:lnTo>
                  <a:lnTo>
                    <a:pt x="12" y="170"/>
                  </a:lnTo>
                  <a:lnTo>
                    <a:pt x="12" y="172"/>
                  </a:lnTo>
                  <a:lnTo>
                    <a:pt x="3" y="175"/>
                  </a:lnTo>
                  <a:lnTo>
                    <a:pt x="3" y="187"/>
                  </a:lnTo>
                  <a:lnTo>
                    <a:pt x="12" y="190"/>
                  </a:lnTo>
                  <a:lnTo>
                    <a:pt x="20" y="184"/>
                  </a:lnTo>
                  <a:lnTo>
                    <a:pt x="20" y="190"/>
                  </a:lnTo>
                  <a:lnTo>
                    <a:pt x="12" y="190"/>
                  </a:lnTo>
                  <a:lnTo>
                    <a:pt x="6" y="192"/>
                  </a:lnTo>
                  <a:lnTo>
                    <a:pt x="3" y="201"/>
                  </a:lnTo>
                  <a:lnTo>
                    <a:pt x="3" y="207"/>
                  </a:lnTo>
                  <a:lnTo>
                    <a:pt x="12" y="204"/>
                  </a:lnTo>
                  <a:lnTo>
                    <a:pt x="14" y="204"/>
                  </a:lnTo>
                  <a:lnTo>
                    <a:pt x="14" y="207"/>
                  </a:lnTo>
                  <a:lnTo>
                    <a:pt x="12" y="210"/>
                  </a:lnTo>
                  <a:lnTo>
                    <a:pt x="9" y="213"/>
                  </a:lnTo>
                  <a:lnTo>
                    <a:pt x="9" y="215"/>
                  </a:lnTo>
                  <a:lnTo>
                    <a:pt x="17" y="221"/>
                  </a:lnTo>
                  <a:lnTo>
                    <a:pt x="26" y="224"/>
                  </a:lnTo>
                  <a:lnTo>
                    <a:pt x="37" y="227"/>
                  </a:lnTo>
                  <a:lnTo>
                    <a:pt x="43" y="224"/>
                  </a:lnTo>
                  <a:lnTo>
                    <a:pt x="49" y="224"/>
                  </a:lnTo>
                  <a:lnTo>
                    <a:pt x="52" y="221"/>
                  </a:lnTo>
                  <a:lnTo>
                    <a:pt x="63" y="210"/>
                  </a:lnTo>
                  <a:lnTo>
                    <a:pt x="63" y="207"/>
                  </a:lnTo>
                  <a:lnTo>
                    <a:pt x="66" y="207"/>
                  </a:lnTo>
                  <a:lnTo>
                    <a:pt x="72" y="207"/>
                  </a:lnTo>
                  <a:lnTo>
                    <a:pt x="75" y="207"/>
                  </a:lnTo>
                  <a:lnTo>
                    <a:pt x="75" y="201"/>
                  </a:lnTo>
                  <a:lnTo>
                    <a:pt x="75" y="198"/>
                  </a:lnTo>
                  <a:lnTo>
                    <a:pt x="78" y="195"/>
                  </a:lnTo>
                  <a:lnTo>
                    <a:pt x="80" y="201"/>
                  </a:lnTo>
                  <a:lnTo>
                    <a:pt x="80" y="204"/>
                  </a:lnTo>
                  <a:lnTo>
                    <a:pt x="83" y="207"/>
                  </a:lnTo>
                  <a:lnTo>
                    <a:pt x="89" y="204"/>
                  </a:lnTo>
                  <a:lnTo>
                    <a:pt x="92" y="207"/>
                  </a:lnTo>
                  <a:lnTo>
                    <a:pt x="95" y="192"/>
                  </a:lnTo>
                  <a:lnTo>
                    <a:pt x="98" y="192"/>
                  </a:lnTo>
                  <a:lnTo>
                    <a:pt x="101" y="190"/>
                  </a:lnTo>
                  <a:lnTo>
                    <a:pt x="103" y="190"/>
                  </a:lnTo>
                  <a:lnTo>
                    <a:pt x="103" y="184"/>
                  </a:lnTo>
                  <a:lnTo>
                    <a:pt x="101" y="178"/>
                  </a:lnTo>
                  <a:lnTo>
                    <a:pt x="101" y="175"/>
                  </a:lnTo>
                  <a:lnTo>
                    <a:pt x="101" y="172"/>
                  </a:lnTo>
                  <a:lnTo>
                    <a:pt x="103" y="170"/>
                  </a:lnTo>
                  <a:lnTo>
                    <a:pt x="109" y="170"/>
                  </a:lnTo>
                  <a:lnTo>
                    <a:pt x="109" y="167"/>
                  </a:lnTo>
                  <a:lnTo>
                    <a:pt x="106" y="167"/>
                  </a:lnTo>
                  <a:lnTo>
                    <a:pt x="98" y="161"/>
                  </a:lnTo>
                  <a:lnTo>
                    <a:pt x="98" y="158"/>
                  </a:lnTo>
                  <a:lnTo>
                    <a:pt x="98" y="149"/>
                  </a:lnTo>
                  <a:lnTo>
                    <a:pt x="95" y="141"/>
                  </a:lnTo>
                  <a:lnTo>
                    <a:pt x="95" y="138"/>
                  </a:lnTo>
                  <a:lnTo>
                    <a:pt x="98" y="135"/>
                  </a:lnTo>
                  <a:lnTo>
                    <a:pt x="95" y="132"/>
                  </a:lnTo>
                  <a:lnTo>
                    <a:pt x="98" y="126"/>
                  </a:lnTo>
                  <a:lnTo>
                    <a:pt x="101" y="121"/>
                  </a:lnTo>
                  <a:lnTo>
                    <a:pt x="106" y="118"/>
                  </a:lnTo>
                  <a:lnTo>
                    <a:pt x="112" y="118"/>
                  </a:lnTo>
                  <a:lnTo>
                    <a:pt x="121" y="118"/>
                  </a:lnTo>
                  <a:lnTo>
                    <a:pt x="123" y="115"/>
                  </a:lnTo>
                  <a:lnTo>
                    <a:pt x="118" y="112"/>
                  </a:lnTo>
                  <a:lnTo>
                    <a:pt x="126" y="98"/>
                  </a:lnTo>
                  <a:lnTo>
                    <a:pt x="129" y="81"/>
                  </a:lnTo>
                  <a:lnTo>
                    <a:pt x="141" y="81"/>
                  </a:lnTo>
                  <a:lnTo>
                    <a:pt x="141" y="75"/>
                  </a:lnTo>
                  <a:lnTo>
                    <a:pt x="138" y="75"/>
                  </a:lnTo>
                  <a:lnTo>
                    <a:pt x="149" y="66"/>
                  </a:lnTo>
                  <a:lnTo>
                    <a:pt x="146" y="60"/>
                  </a:lnTo>
                  <a:lnTo>
                    <a:pt x="152" y="58"/>
                  </a:lnTo>
                  <a:lnTo>
                    <a:pt x="155" y="55"/>
                  </a:lnTo>
                  <a:lnTo>
                    <a:pt x="158" y="52"/>
                  </a:lnTo>
                  <a:lnTo>
                    <a:pt x="164" y="49"/>
                  </a:lnTo>
                  <a:lnTo>
                    <a:pt x="169" y="52"/>
                  </a:lnTo>
                  <a:lnTo>
                    <a:pt x="172" y="40"/>
                  </a:lnTo>
                  <a:lnTo>
                    <a:pt x="178" y="40"/>
                  </a:lnTo>
                  <a:lnTo>
                    <a:pt x="184" y="40"/>
                  </a:lnTo>
                  <a:lnTo>
                    <a:pt x="190" y="43"/>
                  </a:lnTo>
                  <a:lnTo>
                    <a:pt x="195" y="43"/>
                  </a:lnTo>
                  <a:lnTo>
                    <a:pt x="198" y="43"/>
                  </a:lnTo>
                  <a:lnTo>
                    <a:pt x="198" y="35"/>
                  </a:lnTo>
                  <a:lnTo>
                    <a:pt x="198" y="32"/>
                  </a:lnTo>
                  <a:lnTo>
                    <a:pt x="207" y="32"/>
                  </a:lnTo>
                  <a:lnTo>
                    <a:pt x="210" y="29"/>
                  </a:lnTo>
                  <a:lnTo>
                    <a:pt x="215" y="26"/>
                  </a:lnTo>
                  <a:lnTo>
                    <a:pt x="218" y="29"/>
                  </a:lnTo>
                  <a:lnTo>
                    <a:pt x="224" y="35"/>
                  </a:lnTo>
                  <a:lnTo>
                    <a:pt x="227" y="37"/>
                  </a:lnTo>
                  <a:lnTo>
                    <a:pt x="241" y="37"/>
                  </a:lnTo>
                  <a:lnTo>
                    <a:pt x="244" y="37"/>
                  </a:lnTo>
                  <a:lnTo>
                    <a:pt x="247" y="37"/>
                  </a:lnTo>
                  <a:lnTo>
                    <a:pt x="250" y="37"/>
                  </a:lnTo>
                  <a:lnTo>
                    <a:pt x="256" y="40"/>
                  </a:lnTo>
                  <a:lnTo>
                    <a:pt x="261" y="35"/>
                  </a:lnTo>
                  <a:lnTo>
                    <a:pt x="264" y="35"/>
                  </a:lnTo>
                  <a:lnTo>
                    <a:pt x="267" y="35"/>
                  </a:lnTo>
                  <a:lnTo>
                    <a:pt x="267" y="29"/>
                  </a:lnTo>
                  <a:lnTo>
                    <a:pt x="267" y="23"/>
                  </a:lnTo>
                  <a:lnTo>
                    <a:pt x="278" y="17"/>
                  </a:lnTo>
                  <a:lnTo>
                    <a:pt x="290" y="14"/>
                  </a:lnTo>
                  <a:lnTo>
                    <a:pt x="299" y="17"/>
                  </a:lnTo>
                  <a:lnTo>
                    <a:pt x="310" y="20"/>
                  </a:lnTo>
                  <a:lnTo>
                    <a:pt x="310" y="23"/>
                  </a:lnTo>
                  <a:lnTo>
                    <a:pt x="313" y="29"/>
                  </a:lnTo>
                  <a:lnTo>
                    <a:pt x="310" y="29"/>
                  </a:lnTo>
                  <a:lnTo>
                    <a:pt x="307" y="32"/>
                  </a:lnTo>
                  <a:lnTo>
                    <a:pt x="307" y="35"/>
                  </a:lnTo>
                  <a:lnTo>
                    <a:pt x="310" y="32"/>
                  </a:lnTo>
                  <a:lnTo>
                    <a:pt x="319" y="26"/>
                  </a:lnTo>
                  <a:lnTo>
                    <a:pt x="324" y="23"/>
                  </a:lnTo>
                  <a:lnTo>
                    <a:pt x="327" y="23"/>
                  </a:lnTo>
                  <a:lnTo>
                    <a:pt x="330" y="20"/>
                  </a:lnTo>
                  <a:lnTo>
                    <a:pt x="322" y="20"/>
                  </a:lnTo>
                  <a:lnTo>
                    <a:pt x="316" y="17"/>
                  </a:lnTo>
                  <a:lnTo>
                    <a:pt x="322" y="14"/>
                  </a:lnTo>
                  <a:lnTo>
                    <a:pt x="327" y="14"/>
                  </a:lnTo>
                  <a:lnTo>
                    <a:pt x="330" y="12"/>
                  </a:lnTo>
                  <a:lnTo>
                    <a:pt x="319" y="9"/>
                  </a:lnTo>
                  <a:lnTo>
                    <a:pt x="307" y="6"/>
                  </a:lnTo>
                  <a:lnTo>
                    <a:pt x="301" y="3"/>
                  </a:lnTo>
                  <a:lnTo>
                    <a:pt x="296" y="9"/>
                  </a:lnTo>
                  <a:lnTo>
                    <a:pt x="293" y="6"/>
                  </a:lnTo>
                  <a:lnTo>
                    <a:pt x="296" y="0"/>
                  </a:lnTo>
                  <a:lnTo>
                    <a:pt x="281" y="0"/>
                  </a:lnTo>
                  <a:lnTo>
                    <a:pt x="281" y="6"/>
                  </a:lnTo>
                  <a:lnTo>
                    <a:pt x="278" y="9"/>
                  </a:lnTo>
                  <a:lnTo>
                    <a:pt x="276" y="12"/>
                  </a:lnTo>
                  <a:lnTo>
                    <a:pt x="273" y="9"/>
                  </a:lnTo>
                  <a:lnTo>
                    <a:pt x="276" y="3"/>
                  </a:lnTo>
                  <a:lnTo>
                    <a:pt x="267" y="6"/>
                  </a:lnTo>
                  <a:lnTo>
                    <a:pt x="258" y="17"/>
                  </a:lnTo>
                  <a:lnTo>
                    <a:pt x="256" y="14"/>
                  </a:lnTo>
                  <a:lnTo>
                    <a:pt x="256" y="12"/>
                  </a:lnTo>
                  <a:lnTo>
                    <a:pt x="264" y="6"/>
                  </a:lnTo>
                  <a:lnTo>
                    <a:pt x="267" y="0"/>
                  </a:lnTo>
                  <a:lnTo>
                    <a:pt x="261" y="0"/>
                  </a:lnTo>
                  <a:lnTo>
                    <a:pt x="258" y="3"/>
                  </a:lnTo>
                  <a:lnTo>
                    <a:pt x="253" y="3"/>
                  </a:lnTo>
                  <a:lnTo>
                    <a:pt x="247" y="0"/>
                  </a:lnTo>
                  <a:lnTo>
                    <a:pt x="247" y="6"/>
                  </a:lnTo>
                  <a:lnTo>
                    <a:pt x="244" y="12"/>
                  </a:lnTo>
                  <a:lnTo>
                    <a:pt x="238" y="17"/>
                  </a:lnTo>
                  <a:lnTo>
                    <a:pt x="235" y="12"/>
                  </a:lnTo>
                  <a:lnTo>
                    <a:pt x="241" y="9"/>
                  </a:lnTo>
                  <a:lnTo>
                    <a:pt x="238" y="9"/>
                  </a:lnTo>
                  <a:lnTo>
                    <a:pt x="233" y="9"/>
                  </a:lnTo>
                  <a:lnTo>
                    <a:pt x="235" y="6"/>
                  </a:lnTo>
                  <a:lnTo>
                    <a:pt x="230" y="6"/>
                  </a:lnTo>
                  <a:lnTo>
                    <a:pt x="221" y="6"/>
                  </a:lnTo>
                  <a:lnTo>
                    <a:pt x="215" y="9"/>
                  </a:lnTo>
                  <a:lnTo>
                    <a:pt x="221" y="9"/>
                  </a:lnTo>
                  <a:lnTo>
                    <a:pt x="224" y="12"/>
                  </a:lnTo>
                  <a:lnTo>
                    <a:pt x="221" y="14"/>
                  </a:lnTo>
                  <a:lnTo>
                    <a:pt x="215" y="12"/>
                  </a:lnTo>
                  <a:lnTo>
                    <a:pt x="210" y="14"/>
                  </a:lnTo>
                  <a:lnTo>
                    <a:pt x="207" y="20"/>
                  </a:lnTo>
                  <a:lnTo>
                    <a:pt x="204" y="17"/>
                  </a:lnTo>
                  <a:lnTo>
                    <a:pt x="201" y="14"/>
                  </a:lnTo>
                  <a:lnTo>
                    <a:pt x="198" y="17"/>
                  </a:lnTo>
                  <a:lnTo>
                    <a:pt x="195" y="20"/>
                  </a:lnTo>
                  <a:lnTo>
                    <a:pt x="192" y="23"/>
                  </a:lnTo>
                  <a:lnTo>
                    <a:pt x="190" y="23"/>
                  </a:lnTo>
                  <a:lnTo>
                    <a:pt x="192" y="20"/>
                  </a:lnTo>
                  <a:lnTo>
                    <a:pt x="192" y="17"/>
                  </a:lnTo>
                  <a:lnTo>
                    <a:pt x="192" y="14"/>
                  </a:lnTo>
                  <a:lnTo>
                    <a:pt x="187" y="17"/>
                  </a:lnTo>
                  <a:lnTo>
                    <a:pt x="184" y="14"/>
                  </a:lnTo>
                  <a:lnTo>
                    <a:pt x="181" y="17"/>
                  </a:lnTo>
                  <a:lnTo>
                    <a:pt x="178" y="17"/>
                  </a:lnTo>
                  <a:lnTo>
                    <a:pt x="178" y="20"/>
                  </a:lnTo>
                  <a:lnTo>
                    <a:pt x="172" y="26"/>
                  </a:lnTo>
                  <a:lnTo>
                    <a:pt x="169" y="29"/>
                  </a:lnTo>
                  <a:lnTo>
                    <a:pt x="167" y="26"/>
                  </a:lnTo>
                  <a:lnTo>
                    <a:pt x="167" y="23"/>
                  </a:lnTo>
                  <a:lnTo>
                    <a:pt x="164" y="26"/>
                  </a:lnTo>
                  <a:lnTo>
                    <a:pt x="158" y="29"/>
                  </a:lnTo>
                  <a:lnTo>
                    <a:pt x="158" y="35"/>
                  </a:lnTo>
                  <a:lnTo>
                    <a:pt x="161" y="32"/>
                  </a:lnTo>
                  <a:lnTo>
                    <a:pt x="164" y="29"/>
                  </a:lnTo>
                  <a:lnTo>
                    <a:pt x="164" y="35"/>
                  </a:lnTo>
                  <a:lnTo>
                    <a:pt x="164" y="37"/>
                  </a:lnTo>
                  <a:lnTo>
                    <a:pt x="161" y="35"/>
                  </a:lnTo>
                  <a:lnTo>
                    <a:pt x="155" y="40"/>
                  </a:lnTo>
                  <a:lnTo>
                    <a:pt x="152" y="37"/>
                  </a:lnTo>
                  <a:lnTo>
                    <a:pt x="146" y="37"/>
                  </a:lnTo>
                  <a:lnTo>
                    <a:pt x="144" y="37"/>
                  </a:lnTo>
                  <a:lnTo>
                    <a:pt x="146" y="32"/>
                  </a:lnTo>
                  <a:lnTo>
                    <a:pt x="144" y="29"/>
                  </a:lnTo>
                  <a:lnTo>
                    <a:pt x="138" y="35"/>
                  </a:lnTo>
                  <a:lnTo>
                    <a:pt x="135" y="37"/>
                  </a:lnTo>
                  <a:lnTo>
                    <a:pt x="135" y="35"/>
                  </a:lnTo>
                  <a:lnTo>
                    <a:pt x="123" y="37"/>
                  </a:lnTo>
                  <a:lnTo>
                    <a:pt x="126" y="40"/>
                  </a:lnTo>
                  <a:lnTo>
                    <a:pt x="126" y="43"/>
                  </a:lnTo>
                  <a:lnTo>
                    <a:pt x="123" y="43"/>
                  </a:lnTo>
                  <a:lnTo>
                    <a:pt x="118" y="46"/>
                  </a:lnTo>
                  <a:lnTo>
                    <a:pt x="106" y="52"/>
                  </a:lnTo>
                  <a:lnTo>
                    <a:pt x="118" y="52"/>
                  </a:lnTo>
                  <a:lnTo>
                    <a:pt x="123" y="49"/>
                  </a:lnTo>
                  <a:lnTo>
                    <a:pt x="126" y="49"/>
                  </a:lnTo>
                  <a:lnTo>
                    <a:pt x="135" y="46"/>
                  </a:lnTo>
                  <a:lnTo>
                    <a:pt x="141" y="46"/>
                  </a:lnTo>
                  <a:lnTo>
                    <a:pt x="144" y="43"/>
                  </a:lnTo>
                  <a:lnTo>
                    <a:pt x="149" y="46"/>
                  </a:lnTo>
                  <a:lnTo>
                    <a:pt x="146" y="46"/>
                  </a:lnTo>
                  <a:lnTo>
                    <a:pt x="144" y="49"/>
                  </a:lnTo>
                  <a:lnTo>
                    <a:pt x="135" y="52"/>
                  </a:lnTo>
                  <a:lnTo>
                    <a:pt x="132" y="52"/>
                  </a:lnTo>
                  <a:lnTo>
                    <a:pt x="129" y="55"/>
                  </a:lnTo>
                  <a:lnTo>
                    <a:pt x="132" y="60"/>
                  </a:lnTo>
                  <a:lnTo>
                    <a:pt x="123" y="66"/>
                  </a:lnTo>
                  <a:lnTo>
                    <a:pt x="112" y="75"/>
                  </a:lnTo>
                  <a:lnTo>
                    <a:pt x="109" y="81"/>
                  </a:lnTo>
                  <a:lnTo>
                    <a:pt x="106" y="83"/>
                  </a:lnTo>
                  <a:lnTo>
                    <a:pt x="103" y="81"/>
                  </a:lnTo>
                  <a:lnTo>
                    <a:pt x="101" y="83"/>
                  </a:lnTo>
                  <a:lnTo>
                    <a:pt x="101" y="89"/>
                  </a:lnTo>
                  <a:lnTo>
                    <a:pt x="98" y="98"/>
                  </a:lnTo>
                  <a:lnTo>
                    <a:pt x="92" y="101"/>
                  </a:lnTo>
                  <a:lnTo>
                    <a:pt x="89" y="103"/>
                  </a:lnTo>
                  <a:lnTo>
                    <a:pt x="80" y="103"/>
                  </a:lnTo>
                  <a:lnTo>
                    <a:pt x="86" y="106"/>
                  </a:lnTo>
                  <a:lnTo>
                    <a:pt x="83" y="109"/>
                  </a:lnTo>
                  <a:lnTo>
                    <a:pt x="80" y="109"/>
                  </a:lnTo>
                  <a:lnTo>
                    <a:pt x="75" y="115"/>
                  </a:lnTo>
                  <a:lnTo>
                    <a:pt x="72" y="118"/>
                  </a:lnTo>
                  <a:lnTo>
                    <a:pt x="69" y="121"/>
                  </a:lnTo>
                  <a:lnTo>
                    <a:pt x="63" y="124"/>
                  </a:lnTo>
                  <a:lnTo>
                    <a:pt x="63" y="126"/>
                  </a:lnTo>
                  <a:lnTo>
                    <a:pt x="57" y="132"/>
                  </a:lnTo>
                  <a:lnTo>
                    <a:pt x="57" y="126"/>
                  </a:lnTo>
                  <a:lnTo>
                    <a:pt x="52" y="124"/>
                  </a:lnTo>
                  <a:lnTo>
                    <a:pt x="46" y="124"/>
                  </a:lnTo>
                  <a:lnTo>
                    <a:pt x="49" y="129"/>
                  </a:lnTo>
                  <a:lnTo>
                    <a:pt x="55" y="132"/>
                  </a:lnTo>
                  <a:lnTo>
                    <a:pt x="46" y="135"/>
                  </a:lnTo>
                  <a:lnTo>
                    <a:pt x="43" y="129"/>
                  </a:lnTo>
                  <a:lnTo>
                    <a:pt x="40" y="132"/>
                  </a:lnTo>
                  <a:lnTo>
                    <a:pt x="43" y="135"/>
                  </a:lnTo>
                  <a:lnTo>
                    <a:pt x="37" y="132"/>
                  </a:lnTo>
                  <a:lnTo>
                    <a:pt x="37" y="138"/>
                  </a:lnTo>
                  <a:lnTo>
                    <a:pt x="40" y="138"/>
                  </a:lnTo>
                  <a:lnTo>
                    <a:pt x="40" y="141"/>
                  </a:lnTo>
                  <a:lnTo>
                    <a:pt x="32" y="141"/>
                  </a:lnTo>
                  <a:lnTo>
                    <a:pt x="32" y="135"/>
                  </a:lnTo>
                  <a:lnTo>
                    <a:pt x="26" y="141"/>
                  </a:lnTo>
                  <a:lnTo>
                    <a:pt x="20" y="144"/>
                  </a:lnTo>
                  <a:lnTo>
                    <a:pt x="20" y="149"/>
                  </a:lnTo>
                  <a:lnTo>
                    <a:pt x="23" y="149"/>
                  </a:lnTo>
                  <a:lnTo>
                    <a:pt x="20" y="152"/>
                  </a:lnTo>
                  <a:lnTo>
                    <a:pt x="17" y="147"/>
                  </a:lnTo>
                  <a:lnTo>
                    <a:pt x="9" y="152"/>
                  </a:lnTo>
                  <a:lnTo>
                    <a:pt x="3" y="149"/>
                  </a:lnTo>
                  <a:lnTo>
                    <a:pt x="3" y="155"/>
                  </a:lnTo>
                  <a:lnTo>
                    <a:pt x="0" y="161"/>
                  </a:lnTo>
                  <a:lnTo>
                    <a:pt x="6" y="158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10" name="Freeform 207"/>
            <p:cNvSpPr>
              <a:spLocks noChangeAspect="1"/>
            </p:cNvSpPr>
            <p:nvPr/>
          </p:nvSpPr>
          <p:spPr bwMode="gray">
            <a:xfrm>
              <a:off x="7540873" y="3736429"/>
              <a:ext cx="137670" cy="133451"/>
            </a:xfrm>
            <a:custGeom>
              <a:avLst/>
              <a:gdLst>
                <a:gd name="T0" fmla="*/ 2147483647 w 54"/>
                <a:gd name="T1" fmla="*/ 2147483647 h 46"/>
                <a:gd name="T2" fmla="*/ 2147483647 w 54"/>
                <a:gd name="T3" fmla="*/ 2147483647 h 46"/>
                <a:gd name="T4" fmla="*/ 2147483647 w 54"/>
                <a:gd name="T5" fmla="*/ 2147483647 h 46"/>
                <a:gd name="T6" fmla="*/ 2147483647 w 54"/>
                <a:gd name="T7" fmla="*/ 2147483647 h 46"/>
                <a:gd name="T8" fmla="*/ 2147483647 w 54"/>
                <a:gd name="T9" fmla="*/ 2147483647 h 46"/>
                <a:gd name="T10" fmla="*/ 2147483647 w 54"/>
                <a:gd name="T11" fmla="*/ 2147483647 h 46"/>
                <a:gd name="T12" fmla="*/ 2147483647 w 54"/>
                <a:gd name="T13" fmla="*/ 2147483647 h 46"/>
                <a:gd name="T14" fmla="*/ 2147483647 w 54"/>
                <a:gd name="T15" fmla="*/ 2147483647 h 46"/>
                <a:gd name="T16" fmla="*/ 2147483647 w 54"/>
                <a:gd name="T17" fmla="*/ 2147483647 h 46"/>
                <a:gd name="T18" fmla="*/ 2147483647 w 54"/>
                <a:gd name="T19" fmla="*/ 2147483647 h 46"/>
                <a:gd name="T20" fmla="*/ 2147483647 w 54"/>
                <a:gd name="T21" fmla="*/ 2147483647 h 46"/>
                <a:gd name="T22" fmla="*/ 2147483647 w 54"/>
                <a:gd name="T23" fmla="*/ 2147483647 h 46"/>
                <a:gd name="T24" fmla="*/ 2147483647 w 54"/>
                <a:gd name="T25" fmla="*/ 2147483647 h 46"/>
                <a:gd name="T26" fmla="*/ 2147483647 w 54"/>
                <a:gd name="T27" fmla="*/ 2147483647 h 46"/>
                <a:gd name="T28" fmla="*/ 2147483647 w 54"/>
                <a:gd name="T29" fmla="*/ 2147483647 h 46"/>
                <a:gd name="T30" fmla="*/ 2147483647 w 54"/>
                <a:gd name="T31" fmla="*/ 2147483647 h 46"/>
                <a:gd name="T32" fmla="*/ 2147483647 w 54"/>
                <a:gd name="T33" fmla="*/ 2147483647 h 46"/>
                <a:gd name="T34" fmla="*/ 2147483647 w 54"/>
                <a:gd name="T35" fmla="*/ 2147483647 h 46"/>
                <a:gd name="T36" fmla="*/ 2147483647 w 54"/>
                <a:gd name="T37" fmla="*/ 2147483647 h 46"/>
                <a:gd name="T38" fmla="*/ 2147483647 w 54"/>
                <a:gd name="T39" fmla="*/ 2147483647 h 46"/>
                <a:gd name="T40" fmla="*/ 2147483647 w 54"/>
                <a:gd name="T41" fmla="*/ 0 h 46"/>
                <a:gd name="T42" fmla="*/ 2147483647 w 54"/>
                <a:gd name="T43" fmla="*/ 0 h 46"/>
                <a:gd name="T44" fmla="*/ 2147483647 w 54"/>
                <a:gd name="T45" fmla="*/ 0 h 46"/>
                <a:gd name="T46" fmla="*/ 2147483647 w 54"/>
                <a:gd name="T47" fmla="*/ 0 h 46"/>
                <a:gd name="T48" fmla="*/ 2147483647 w 54"/>
                <a:gd name="T49" fmla="*/ 2147483647 h 46"/>
                <a:gd name="T50" fmla="*/ 2147483647 w 54"/>
                <a:gd name="T51" fmla="*/ 2147483647 h 46"/>
                <a:gd name="T52" fmla="*/ 0 w 54"/>
                <a:gd name="T53" fmla="*/ 0 h 46"/>
                <a:gd name="T54" fmla="*/ 0 w 54"/>
                <a:gd name="T55" fmla="*/ 2147483647 h 46"/>
                <a:gd name="T56" fmla="*/ 2147483647 w 54"/>
                <a:gd name="T57" fmla="*/ 2147483647 h 46"/>
                <a:gd name="T58" fmla="*/ 2147483647 w 54"/>
                <a:gd name="T59" fmla="*/ 2147483647 h 46"/>
                <a:gd name="T60" fmla="*/ 2147483647 w 54"/>
                <a:gd name="T61" fmla="*/ 2147483647 h 46"/>
                <a:gd name="T62" fmla="*/ 2147483647 w 54"/>
                <a:gd name="T63" fmla="*/ 2147483647 h 46"/>
                <a:gd name="T64" fmla="*/ 2147483647 w 54"/>
                <a:gd name="T65" fmla="*/ 2147483647 h 46"/>
                <a:gd name="T66" fmla="*/ 2147483647 w 54"/>
                <a:gd name="T67" fmla="*/ 2147483647 h 46"/>
                <a:gd name="T68" fmla="*/ 2147483647 w 54"/>
                <a:gd name="T69" fmla="*/ 2147483647 h 46"/>
                <a:gd name="T70" fmla="*/ 2147483647 w 54"/>
                <a:gd name="T71" fmla="*/ 2147483647 h 46"/>
                <a:gd name="T72" fmla="*/ 2147483647 w 54"/>
                <a:gd name="T73" fmla="*/ 2147483647 h 46"/>
                <a:gd name="T74" fmla="*/ 2147483647 w 54"/>
                <a:gd name="T75" fmla="*/ 2147483647 h 46"/>
                <a:gd name="T76" fmla="*/ 2147483647 w 54"/>
                <a:gd name="T77" fmla="*/ 2147483647 h 46"/>
                <a:gd name="T78" fmla="*/ 2147483647 w 54"/>
                <a:gd name="T79" fmla="*/ 2147483647 h 4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54"/>
                <a:gd name="T121" fmla="*/ 0 h 46"/>
                <a:gd name="T122" fmla="*/ 54 w 54"/>
                <a:gd name="T123" fmla="*/ 46 h 4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54" h="46">
                  <a:moveTo>
                    <a:pt x="43" y="37"/>
                  </a:moveTo>
                  <a:lnTo>
                    <a:pt x="43" y="35"/>
                  </a:lnTo>
                  <a:lnTo>
                    <a:pt x="46" y="35"/>
                  </a:lnTo>
                  <a:lnTo>
                    <a:pt x="46" y="29"/>
                  </a:lnTo>
                  <a:lnTo>
                    <a:pt x="51" y="26"/>
                  </a:lnTo>
                  <a:lnTo>
                    <a:pt x="51" y="23"/>
                  </a:lnTo>
                  <a:lnTo>
                    <a:pt x="51" y="20"/>
                  </a:lnTo>
                  <a:lnTo>
                    <a:pt x="54" y="20"/>
                  </a:lnTo>
                  <a:lnTo>
                    <a:pt x="49" y="12"/>
                  </a:lnTo>
                  <a:lnTo>
                    <a:pt x="49" y="6"/>
                  </a:lnTo>
                  <a:lnTo>
                    <a:pt x="40" y="3"/>
                  </a:lnTo>
                  <a:lnTo>
                    <a:pt x="37" y="3"/>
                  </a:lnTo>
                  <a:lnTo>
                    <a:pt x="31" y="3"/>
                  </a:lnTo>
                  <a:lnTo>
                    <a:pt x="26" y="0"/>
                  </a:lnTo>
                  <a:lnTo>
                    <a:pt x="20" y="0"/>
                  </a:lnTo>
                  <a:lnTo>
                    <a:pt x="14" y="0"/>
                  </a:lnTo>
                  <a:lnTo>
                    <a:pt x="11" y="0"/>
                  </a:lnTo>
                  <a:lnTo>
                    <a:pt x="6" y="6"/>
                  </a:lnTo>
                  <a:lnTo>
                    <a:pt x="3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6" y="14"/>
                  </a:lnTo>
                  <a:lnTo>
                    <a:pt x="11" y="20"/>
                  </a:lnTo>
                  <a:lnTo>
                    <a:pt x="17" y="29"/>
                  </a:lnTo>
                  <a:lnTo>
                    <a:pt x="14" y="32"/>
                  </a:lnTo>
                  <a:lnTo>
                    <a:pt x="14" y="35"/>
                  </a:lnTo>
                  <a:lnTo>
                    <a:pt x="23" y="37"/>
                  </a:lnTo>
                  <a:lnTo>
                    <a:pt x="31" y="43"/>
                  </a:lnTo>
                  <a:lnTo>
                    <a:pt x="40" y="46"/>
                  </a:lnTo>
                  <a:lnTo>
                    <a:pt x="40" y="40"/>
                  </a:lnTo>
                  <a:lnTo>
                    <a:pt x="43" y="37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11" name="Freeform 208"/>
            <p:cNvSpPr>
              <a:spLocks noChangeAspect="1"/>
            </p:cNvSpPr>
            <p:nvPr/>
          </p:nvSpPr>
          <p:spPr bwMode="gray">
            <a:xfrm>
              <a:off x="7651010" y="3677975"/>
              <a:ext cx="170121" cy="226095"/>
            </a:xfrm>
            <a:custGeom>
              <a:avLst/>
              <a:gdLst>
                <a:gd name="T0" fmla="*/ 2147483647 w 66"/>
                <a:gd name="T1" fmla="*/ 2147483647 h 78"/>
                <a:gd name="T2" fmla="*/ 2147483647 w 66"/>
                <a:gd name="T3" fmla="*/ 2147483647 h 78"/>
                <a:gd name="T4" fmla="*/ 2147483647 w 66"/>
                <a:gd name="T5" fmla="*/ 2147483647 h 78"/>
                <a:gd name="T6" fmla="*/ 2147483647 w 66"/>
                <a:gd name="T7" fmla="*/ 2147483647 h 78"/>
                <a:gd name="T8" fmla="*/ 2147483647 w 66"/>
                <a:gd name="T9" fmla="*/ 2147483647 h 78"/>
                <a:gd name="T10" fmla="*/ 2147483647 w 66"/>
                <a:gd name="T11" fmla="*/ 2147483647 h 78"/>
                <a:gd name="T12" fmla="*/ 2147483647 w 66"/>
                <a:gd name="T13" fmla="*/ 2147483647 h 78"/>
                <a:gd name="T14" fmla="*/ 2147483647 w 66"/>
                <a:gd name="T15" fmla="*/ 2147483647 h 78"/>
                <a:gd name="T16" fmla="*/ 2147483647 w 66"/>
                <a:gd name="T17" fmla="*/ 2147483647 h 78"/>
                <a:gd name="T18" fmla="*/ 2147483647 w 66"/>
                <a:gd name="T19" fmla="*/ 2147483647 h 78"/>
                <a:gd name="T20" fmla="*/ 2147483647 w 66"/>
                <a:gd name="T21" fmla="*/ 2147483647 h 78"/>
                <a:gd name="T22" fmla="*/ 2147483647 w 66"/>
                <a:gd name="T23" fmla="*/ 2147483647 h 78"/>
                <a:gd name="T24" fmla="*/ 2147483647 w 66"/>
                <a:gd name="T25" fmla="*/ 2147483647 h 78"/>
                <a:gd name="T26" fmla="*/ 2147483647 w 66"/>
                <a:gd name="T27" fmla="*/ 2147483647 h 78"/>
                <a:gd name="T28" fmla="*/ 2147483647 w 66"/>
                <a:gd name="T29" fmla="*/ 2147483647 h 78"/>
                <a:gd name="T30" fmla="*/ 2147483647 w 66"/>
                <a:gd name="T31" fmla="*/ 2147483647 h 78"/>
                <a:gd name="T32" fmla="*/ 2147483647 w 66"/>
                <a:gd name="T33" fmla="*/ 2147483647 h 78"/>
                <a:gd name="T34" fmla="*/ 2147483647 w 66"/>
                <a:gd name="T35" fmla="*/ 2147483647 h 78"/>
                <a:gd name="T36" fmla="*/ 2147483647 w 66"/>
                <a:gd name="T37" fmla="*/ 2147483647 h 78"/>
                <a:gd name="T38" fmla="*/ 2147483647 w 66"/>
                <a:gd name="T39" fmla="*/ 2147483647 h 78"/>
                <a:gd name="T40" fmla="*/ 2147483647 w 66"/>
                <a:gd name="T41" fmla="*/ 2147483647 h 78"/>
                <a:gd name="T42" fmla="*/ 2147483647 w 66"/>
                <a:gd name="T43" fmla="*/ 2147483647 h 78"/>
                <a:gd name="T44" fmla="*/ 2147483647 w 66"/>
                <a:gd name="T45" fmla="*/ 2147483647 h 78"/>
                <a:gd name="T46" fmla="*/ 2147483647 w 66"/>
                <a:gd name="T47" fmla="*/ 2147483647 h 78"/>
                <a:gd name="T48" fmla="*/ 2147483647 w 66"/>
                <a:gd name="T49" fmla="*/ 2147483647 h 78"/>
                <a:gd name="T50" fmla="*/ 2147483647 w 66"/>
                <a:gd name="T51" fmla="*/ 2147483647 h 78"/>
                <a:gd name="T52" fmla="*/ 2147483647 w 66"/>
                <a:gd name="T53" fmla="*/ 2147483647 h 78"/>
                <a:gd name="T54" fmla="*/ 2147483647 w 66"/>
                <a:gd name="T55" fmla="*/ 2147483647 h 78"/>
                <a:gd name="T56" fmla="*/ 2147483647 w 66"/>
                <a:gd name="T57" fmla="*/ 2147483647 h 78"/>
                <a:gd name="T58" fmla="*/ 2147483647 w 66"/>
                <a:gd name="T59" fmla="*/ 2147483647 h 78"/>
                <a:gd name="T60" fmla="*/ 2147483647 w 66"/>
                <a:gd name="T61" fmla="*/ 0 h 78"/>
                <a:gd name="T62" fmla="*/ 2147483647 w 66"/>
                <a:gd name="T63" fmla="*/ 0 h 78"/>
                <a:gd name="T64" fmla="*/ 2147483647 w 66"/>
                <a:gd name="T65" fmla="*/ 2147483647 h 78"/>
                <a:gd name="T66" fmla="*/ 2147483647 w 66"/>
                <a:gd name="T67" fmla="*/ 2147483647 h 78"/>
                <a:gd name="T68" fmla="*/ 2147483647 w 66"/>
                <a:gd name="T69" fmla="*/ 2147483647 h 78"/>
                <a:gd name="T70" fmla="*/ 2147483647 w 66"/>
                <a:gd name="T71" fmla="*/ 2147483647 h 78"/>
                <a:gd name="T72" fmla="*/ 2147483647 w 66"/>
                <a:gd name="T73" fmla="*/ 2147483647 h 78"/>
                <a:gd name="T74" fmla="*/ 2147483647 w 66"/>
                <a:gd name="T75" fmla="*/ 2147483647 h 78"/>
                <a:gd name="T76" fmla="*/ 2147483647 w 66"/>
                <a:gd name="T77" fmla="*/ 2147483647 h 78"/>
                <a:gd name="T78" fmla="*/ 2147483647 w 66"/>
                <a:gd name="T79" fmla="*/ 2147483647 h 78"/>
                <a:gd name="T80" fmla="*/ 2147483647 w 66"/>
                <a:gd name="T81" fmla="*/ 2147483647 h 78"/>
                <a:gd name="T82" fmla="*/ 2147483647 w 66"/>
                <a:gd name="T83" fmla="*/ 2147483647 h 78"/>
                <a:gd name="T84" fmla="*/ 2147483647 w 66"/>
                <a:gd name="T85" fmla="*/ 2147483647 h 78"/>
                <a:gd name="T86" fmla="*/ 2147483647 w 66"/>
                <a:gd name="T87" fmla="*/ 2147483647 h 78"/>
                <a:gd name="T88" fmla="*/ 2147483647 w 66"/>
                <a:gd name="T89" fmla="*/ 2147483647 h 78"/>
                <a:gd name="T90" fmla="*/ 2147483647 w 66"/>
                <a:gd name="T91" fmla="*/ 2147483647 h 78"/>
                <a:gd name="T92" fmla="*/ 2147483647 w 66"/>
                <a:gd name="T93" fmla="*/ 2147483647 h 78"/>
                <a:gd name="T94" fmla="*/ 2147483647 w 66"/>
                <a:gd name="T95" fmla="*/ 2147483647 h 78"/>
                <a:gd name="T96" fmla="*/ 2147483647 w 66"/>
                <a:gd name="T97" fmla="*/ 2147483647 h 78"/>
                <a:gd name="T98" fmla="*/ 2147483647 w 66"/>
                <a:gd name="T99" fmla="*/ 2147483647 h 78"/>
                <a:gd name="T100" fmla="*/ 2147483647 w 66"/>
                <a:gd name="T101" fmla="*/ 2147483647 h 78"/>
                <a:gd name="T102" fmla="*/ 2147483647 w 66"/>
                <a:gd name="T103" fmla="*/ 2147483647 h 78"/>
                <a:gd name="T104" fmla="*/ 2147483647 w 66"/>
                <a:gd name="T105" fmla="*/ 2147483647 h 78"/>
                <a:gd name="T106" fmla="*/ 2147483647 w 66"/>
                <a:gd name="T107" fmla="*/ 2147483647 h 78"/>
                <a:gd name="T108" fmla="*/ 2147483647 w 66"/>
                <a:gd name="T109" fmla="*/ 2147483647 h 78"/>
                <a:gd name="T110" fmla="*/ 0 w 66"/>
                <a:gd name="T111" fmla="*/ 2147483647 h 78"/>
                <a:gd name="T112" fmla="*/ 0 w 66"/>
                <a:gd name="T113" fmla="*/ 2147483647 h 78"/>
                <a:gd name="T114" fmla="*/ 0 w 66"/>
                <a:gd name="T115" fmla="*/ 2147483647 h 78"/>
                <a:gd name="T116" fmla="*/ 2147483647 w 66"/>
                <a:gd name="T117" fmla="*/ 2147483647 h 7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6"/>
                <a:gd name="T178" fmla="*/ 0 h 78"/>
                <a:gd name="T179" fmla="*/ 66 w 66"/>
                <a:gd name="T180" fmla="*/ 78 h 7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6" h="78">
                  <a:moveTo>
                    <a:pt x="8" y="78"/>
                  </a:moveTo>
                  <a:lnTo>
                    <a:pt x="11" y="72"/>
                  </a:lnTo>
                  <a:lnTo>
                    <a:pt x="17" y="66"/>
                  </a:lnTo>
                  <a:lnTo>
                    <a:pt x="20" y="69"/>
                  </a:lnTo>
                  <a:lnTo>
                    <a:pt x="23" y="66"/>
                  </a:lnTo>
                  <a:lnTo>
                    <a:pt x="29" y="75"/>
                  </a:lnTo>
                  <a:lnTo>
                    <a:pt x="31" y="78"/>
                  </a:lnTo>
                  <a:lnTo>
                    <a:pt x="40" y="75"/>
                  </a:lnTo>
                  <a:lnTo>
                    <a:pt x="49" y="75"/>
                  </a:lnTo>
                  <a:lnTo>
                    <a:pt x="57" y="75"/>
                  </a:lnTo>
                  <a:lnTo>
                    <a:pt x="60" y="72"/>
                  </a:lnTo>
                  <a:lnTo>
                    <a:pt x="57" y="63"/>
                  </a:lnTo>
                  <a:lnTo>
                    <a:pt x="60" y="63"/>
                  </a:lnTo>
                  <a:lnTo>
                    <a:pt x="63" y="60"/>
                  </a:lnTo>
                  <a:lnTo>
                    <a:pt x="66" y="57"/>
                  </a:lnTo>
                  <a:lnTo>
                    <a:pt x="57" y="52"/>
                  </a:lnTo>
                  <a:lnTo>
                    <a:pt x="57" y="40"/>
                  </a:lnTo>
                  <a:lnTo>
                    <a:pt x="60" y="37"/>
                  </a:lnTo>
                  <a:lnTo>
                    <a:pt x="54" y="34"/>
                  </a:lnTo>
                  <a:lnTo>
                    <a:pt x="57" y="32"/>
                  </a:lnTo>
                  <a:lnTo>
                    <a:pt x="60" y="29"/>
                  </a:lnTo>
                  <a:lnTo>
                    <a:pt x="57" y="29"/>
                  </a:lnTo>
                  <a:lnTo>
                    <a:pt x="54" y="34"/>
                  </a:lnTo>
                  <a:lnTo>
                    <a:pt x="43" y="29"/>
                  </a:lnTo>
                  <a:lnTo>
                    <a:pt x="40" y="26"/>
                  </a:lnTo>
                  <a:lnTo>
                    <a:pt x="29" y="14"/>
                  </a:lnTo>
                  <a:lnTo>
                    <a:pt x="29" y="11"/>
                  </a:lnTo>
                  <a:lnTo>
                    <a:pt x="31" y="9"/>
                  </a:lnTo>
                  <a:lnTo>
                    <a:pt x="23" y="0"/>
                  </a:lnTo>
                  <a:lnTo>
                    <a:pt x="11" y="0"/>
                  </a:lnTo>
                  <a:lnTo>
                    <a:pt x="8" y="3"/>
                  </a:lnTo>
                  <a:lnTo>
                    <a:pt x="3" y="6"/>
                  </a:lnTo>
                  <a:lnTo>
                    <a:pt x="3" y="9"/>
                  </a:lnTo>
                  <a:lnTo>
                    <a:pt x="6" y="11"/>
                  </a:lnTo>
                  <a:lnTo>
                    <a:pt x="11" y="17"/>
                  </a:lnTo>
                  <a:lnTo>
                    <a:pt x="11" y="23"/>
                  </a:lnTo>
                  <a:lnTo>
                    <a:pt x="8" y="32"/>
                  </a:lnTo>
                  <a:lnTo>
                    <a:pt x="14" y="40"/>
                  </a:lnTo>
                  <a:lnTo>
                    <a:pt x="11" y="43"/>
                  </a:lnTo>
                  <a:lnTo>
                    <a:pt x="14" y="49"/>
                  </a:lnTo>
                  <a:lnTo>
                    <a:pt x="11" y="49"/>
                  </a:lnTo>
                  <a:lnTo>
                    <a:pt x="6" y="52"/>
                  </a:lnTo>
                  <a:lnTo>
                    <a:pt x="6" y="55"/>
                  </a:lnTo>
                  <a:lnTo>
                    <a:pt x="6" y="57"/>
                  </a:lnTo>
                  <a:lnTo>
                    <a:pt x="3" y="57"/>
                  </a:lnTo>
                  <a:lnTo>
                    <a:pt x="0" y="63"/>
                  </a:lnTo>
                  <a:lnTo>
                    <a:pt x="0" y="69"/>
                  </a:lnTo>
                  <a:lnTo>
                    <a:pt x="8" y="78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12" name="Freeform 209"/>
            <p:cNvSpPr>
              <a:spLocks noChangeAspect="1"/>
            </p:cNvSpPr>
            <p:nvPr/>
          </p:nvSpPr>
          <p:spPr bwMode="gray">
            <a:xfrm>
              <a:off x="7599875" y="3861056"/>
              <a:ext cx="19668" cy="17646"/>
            </a:xfrm>
            <a:custGeom>
              <a:avLst/>
              <a:gdLst>
                <a:gd name="T0" fmla="*/ 2147483647 w 8"/>
                <a:gd name="T1" fmla="*/ 2147483647 h 6"/>
                <a:gd name="T2" fmla="*/ 2147483647 w 8"/>
                <a:gd name="T3" fmla="*/ 2147483647 h 6"/>
                <a:gd name="T4" fmla="*/ 2147483647 w 8"/>
                <a:gd name="T5" fmla="*/ 0 h 6"/>
                <a:gd name="T6" fmla="*/ 0 w 8"/>
                <a:gd name="T7" fmla="*/ 2147483647 h 6"/>
                <a:gd name="T8" fmla="*/ 2147483647 w 8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6"/>
                <a:gd name="T17" fmla="*/ 8 w 8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6">
                  <a:moveTo>
                    <a:pt x="6" y="6"/>
                  </a:moveTo>
                  <a:lnTo>
                    <a:pt x="8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6" y="6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14" name="Freeform 215"/>
            <p:cNvSpPr>
              <a:spLocks noChangeAspect="1"/>
            </p:cNvSpPr>
            <p:nvPr/>
          </p:nvSpPr>
          <p:spPr bwMode="gray">
            <a:xfrm>
              <a:off x="7341253" y="2489048"/>
              <a:ext cx="437594" cy="735636"/>
            </a:xfrm>
            <a:custGeom>
              <a:avLst/>
              <a:gdLst>
                <a:gd name="T0" fmla="*/ 2147483647 w 170"/>
                <a:gd name="T1" fmla="*/ 2147483647 h 255"/>
                <a:gd name="T2" fmla="*/ 2147483647 w 170"/>
                <a:gd name="T3" fmla="*/ 2147483647 h 255"/>
                <a:gd name="T4" fmla="*/ 2147483647 w 170"/>
                <a:gd name="T5" fmla="*/ 2147483647 h 255"/>
                <a:gd name="T6" fmla="*/ 2147483647 w 170"/>
                <a:gd name="T7" fmla="*/ 2147483647 h 255"/>
                <a:gd name="T8" fmla="*/ 2147483647 w 170"/>
                <a:gd name="T9" fmla="*/ 2147483647 h 255"/>
                <a:gd name="T10" fmla="*/ 2147483647 w 170"/>
                <a:gd name="T11" fmla="*/ 2147483647 h 255"/>
                <a:gd name="T12" fmla="*/ 2147483647 w 170"/>
                <a:gd name="T13" fmla="*/ 2147483647 h 255"/>
                <a:gd name="T14" fmla="*/ 2147483647 w 170"/>
                <a:gd name="T15" fmla="*/ 2147483647 h 255"/>
                <a:gd name="T16" fmla="*/ 2147483647 w 170"/>
                <a:gd name="T17" fmla="*/ 2147483647 h 255"/>
                <a:gd name="T18" fmla="*/ 2147483647 w 170"/>
                <a:gd name="T19" fmla="*/ 2147483647 h 255"/>
                <a:gd name="T20" fmla="*/ 2147483647 w 170"/>
                <a:gd name="T21" fmla="*/ 2147483647 h 255"/>
                <a:gd name="T22" fmla="*/ 2147483647 w 170"/>
                <a:gd name="T23" fmla="*/ 2147483647 h 255"/>
                <a:gd name="T24" fmla="*/ 2147483647 w 170"/>
                <a:gd name="T25" fmla="*/ 2147483647 h 255"/>
                <a:gd name="T26" fmla="*/ 2147483647 w 170"/>
                <a:gd name="T27" fmla="*/ 2147483647 h 255"/>
                <a:gd name="T28" fmla="*/ 2147483647 w 170"/>
                <a:gd name="T29" fmla="*/ 2147483647 h 255"/>
                <a:gd name="T30" fmla="*/ 2147483647 w 170"/>
                <a:gd name="T31" fmla="*/ 2147483647 h 255"/>
                <a:gd name="T32" fmla="*/ 2147483647 w 170"/>
                <a:gd name="T33" fmla="*/ 2147483647 h 255"/>
                <a:gd name="T34" fmla="*/ 2147483647 w 170"/>
                <a:gd name="T35" fmla="*/ 2147483647 h 255"/>
                <a:gd name="T36" fmla="*/ 2147483647 w 170"/>
                <a:gd name="T37" fmla="*/ 2147483647 h 255"/>
                <a:gd name="T38" fmla="*/ 2147483647 w 170"/>
                <a:gd name="T39" fmla="*/ 2147483647 h 255"/>
                <a:gd name="T40" fmla="*/ 2147483647 w 170"/>
                <a:gd name="T41" fmla="*/ 2147483647 h 255"/>
                <a:gd name="T42" fmla="*/ 2147483647 w 170"/>
                <a:gd name="T43" fmla="*/ 2147483647 h 255"/>
                <a:gd name="T44" fmla="*/ 2147483647 w 170"/>
                <a:gd name="T45" fmla="*/ 2147483647 h 255"/>
                <a:gd name="T46" fmla="*/ 2147483647 w 170"/>
                <a:gd name="T47" fmla="*/ 2147483647 h 255"/>
                <a:gd name="T48" fmla="*/ 2147483647 w 170"/>
                <a:gd name="T49" fmla="*/ 2147483647 h 255"/>
                <a:gd name="T50" fmla="*/ 2147483647 w 170"/>
                <a:gd name="T51" fmla="*/ 2147483647 h 255"/>
                <a:gd name="T52" fmla="*/ 2147483647 w 170"/>
                <a:gd name="T53" fmla="*/ 2147483647 h 255"/>
                <a:gd name="T54" fmla="*/ 2147483647 w 170"/>
                <a:gd name="T55" fmla="*/ 2147483647 h 255"/>
                <a:gd name="T56" fmla="*/ 2147483647 w 170"/>
                <a:gd name="T57" fmla="*/ 2147483647 h 255"/>
                <a:gd name="T58" fmla="*/ 2147483647 w 170"/>
                <a:gd name="T59" fmla="*/ 2147483647 h 255"/>
                <a:gd name="T60" fmla="*/ 2147483647 w 170"/>
                <a:gd name="T61" fmla="*/ 2147483647 h 255"/>
                <a:gd name="T62" fmla="*/ 2147483647 w 170"/>
                <a:gd name="T63" fmla="*/ 2147483647 h 255"/>
                <a:gd name="T64" fmla="*/ 2147483647 w 170"/>
                <a:gd name="T65" fmla="*/ 2147483647 h 255"/>
                <a:gd name="T66" fmla="*/ 2147483647 w 170"/>
                <a:gd name="T67" fmla="*/ 2147483647 h 255"/>
                <a:gd name="T68" fmla="*/ 2147483647 w 170"/>
                <a:gd name="T69" fmla="*/ 2147483647 h 255"/>
                <a:gd name="T70" fmla="*/ 2147483647 w 170"/>
                <a:gd name="T71" fmla="*/ 2147483647 h 255"/>
                <a:gd name="T72" fmla="*/ 2147483647 w 170"/>
                <a:gd name="T73" fmla="*/ 2147483647 h 255"/>
                <a:gd name="T74" fmla="*/ 2147483647 w 170"/>
                <a:gd name="T75" fmla="*/ 2147483647 h 255"/>
                <a:gd name="T76" fmla="*/ 2147483647 w 170"/>
                <a:gd name="T77" fmla="*/ 2147483647 h 255"/>
                <a:gd name="T78" fmla="*/ 2147483647 w 170"/>
                <a:gd name="T79" fmla="*/ 2147483647 h 255"/>
                <a:gd name="T80" fmla="*/ 2147483647 w 170"/>
                <a:gd name="T81" fmla="*/ 2147483647 h 255"/>
                <a:gd name="T82" fmla="*/ 2147483647 w 170"/>
                <a:gd name="T83" fmla="*/ 2147483647 h 255"/>
                <a:gd name="T84" fmla="*/ 2147483647 w 170"/>
                <a:gd name="T85" fmla="*/ 2147483647 h 255"/>
                <a:gd name="T86" fmla="*/ 2147483647 w 170"/>
                <a:gd name="T87" fmla="*/ 2147483647 h 255"/>
                <a:gd name="T88" fmla="*/ 2147483647 w 170"/>
                <a:gd name="T89" fmla="*/ 2147483647 h 255"/>
                <a:gd name="T90" fmla="*/ 2147483647 w 170"/>
                <a:gd name="T91" fmla="*/ 2147483647 h 255"/>
                <a:gd name="T92" fmla="*/ 2147483647 w 170"/>
                <a:gd name="T93" fmla="*/ 2147483647 h 255"/>
                <a:gd name="T94" fmla="*/ 2147483647 w 170"/>
                <a:gd name="T95" fmla="*/ 2147483647 h 255"/>
                <a:gd name="T96" fmla="*/ 2147483647 w 170"/>
                <a:gd name="T97" fmla="*/ 2147483647 h 255"/>
                <a:gd name="T98" fmla="*/ 2147483647 w 170"/>
                <a:gd name="T99" fmla="*/ 2147483647 h 255"/>
                <a:gd name="T100" fmla="*/ 2147483647 w 170"/>
                <a:gd name="T101" fmla="*/ 2147483647 h 255"/>
                <a:gd name="T102" fmla="*/ 2147483647 w 170"/>
                <a:gd name="T103" fmla="*/ 2147483647 h 255"/>
                <a:gd name="T104" fmla="*/ 2147483647 w 170"/>
                <a:gd name="T105" fmla="*/ 2147483647 h 255"/>
                <a:gd name="T106" fmla="*/ 2147483647 w 170"/>
                <a:gd name="T107" fmla="*/ 2147483647 h 255"/>
                <a:gd name="T108" fmla="*/ 2147483647 w 170"/>
                <a:gd name="T109" fmla="*/ 2147483647 h 255"/>
                <a:gd name="T110" fmla="*/ 2147483647 w 170"/>
                <a:gd name="T111" fmla="*/ 2147483647 h 255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70"/>
                <a:gd name="T169" fmla="*/ 0 h 255"/>
                <a:gd name="T170" fmla="*/ 170 w 170"/>
                <a:gd name="T171" fmla="*/ 255 h 255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70" h="255">
                  <a:moveTo>
                    <a:pt x="23" y="229"/>
                  </a:moveTo>
                  <a:lnTo>
                    <a:pt x="20" y="226"/>
                  </a:lnTo>
                  <a:lnTo>
                    <a:pt x="15" y="232"/>
                  </a:lnTo>
                  <a:lnTo>
                    <a:pt x="9" y="229"/>
                  </a:lnTo>
                  <a:lnTo>
                    <a:pt x="3" y="232"/>
                  </a:lnTo>
                  <a:lnTo>
                    <a:pt x="0" y="235"/>
                  </a:lnTo>
                  <a:lnTo>
                    <a:pt x="3" y="241"/>
                  </a:lnTo>
                  <a:lnTo>
                    <a:pt x="9" y="244"/>
                  </a:lnTo>
                  <a:lnTo>
                    <a:pt x="12" y="249"/>
                  </a:lnTo>
                  <a:lnTo>
                    <a:pt x="3" y="249"/>
                  </a:lnTo>
                  <a:lnTo>
                    <a:pt x="9" y="255"/>
                  </a:lnTo>
                  <a:lnTo>
                    <a:pt x="18" y="252"/>
                  </a:lnTo>
                  <a:lnTo>
                    <a:pt x="23" y="246"/>
                  </a:lnTo>
                  <a:lnTo>
                    <a:pt x="18" y="244"/>
                  </a:lnTo>
                  <a:lnTo>
                    <a:pt x="20" y="238"/>
                  </a:lnTo>
                  <a:lnTo>
                    <a:pt x="23" y="232"/>
                  </a:lnTo>
                  <a:lnTo>
                    <a:pt x="29" y="232"/>
                  </a:lnTo>
                  <a:lnTo>
                    <a:pt x="29" y="241"/>
                  </a:lnTo>
                  <a:lnTo>
                    <a:pt x="40" y="238"/>
                  </a:lnTo>
                  <a:lnTo>
                    <a:pt x="46" y="238"/>
                  </a:lnTo>
                  <a:lnTo>
                    <a:pt x="49" y="232"/>
                  </a:lnTo>
                  <a:lnTo>
                    <a:pt x="52" y="226"/>
                  </a:lnTo>
                  <a:lnTo>
                    <a:pt x="63" y="226"/>
                  </a:lnTo>
                  <a:lnTo>
                    <a:pt x="72" y="224"/>
                  </a:lnTo>
                  <a:lnTo>
                    <a:pt x="75" y="221"/>
                  </a:lnTo>
                  <a:lnTo>
                    <a:pt x="78" y="226"/>
                  </a:lnTo>
                  <a:lnTo>
                    <a:pt x="86" y="206"/>
                  </a:lnTo>
                  <a:lnTo>
                    <a:pt x="84" y="209"/>
                  </a:lnTo>
                  <a:lnTo>
                    <a:pt x="78" y="212"/>
                  </a:lnTo>
                  <a:lnTo>
                    <a:pt x="81" y="203"/>
                  </a:lnTo>
                  <a:lnTo>
                    <a:pt x="81" y="189"/>
                  </a:lnTo>
                  <a:lnTo>
                    <a:pt x="84" y="183"/>
                  </a:lnTo>
                  <a:lnTo>
                    <a:pt x="86" y="178"/>
                  </a:lnTo>
                  <a:lnTo>
                    <a:pt x="98" y="175"/>
                  </a:lnTo>
                  <a:lnTo>
                    <a:pt x="104" y="175"/>
                  </a:lnTo>
                  <a:lnTo>
                    <a:pt x="104" y="166"/>
                  </a:lnTo>
                  <a:lnTo>
                    <a:pt x="109" y="163"/>
                  </a:lnTo>
                  <a:lnTo>
                    <a:pt x="112" y="157"/>
                  </a:lnTo>
                  <a:lnTo>
                    <a:pt x="104" y="152"/>
                  </a:lnTo>
                  <a:lnTo>
                    <a:pt x="101" y="146"/>
                  </a:lnTo>
                  <a:lnTo>
                    <a:pt x="92" y="143"/>
                  </a:lnTo>
                  <a:lnTo>
                    <a:pt x="86" y="140"/>
                  </a:lnTo>
                  <a:lnTo>
                    <a:pt x="84" y="126"/>
                  </a:lnTo>
                  <a:lnTo>
                    <a:pt x="89" y="126"/>
                  </a:lnTo>
                  <a:lnTo>
                    <a:pt x="86" y="120"/>
                  </a:lnTo>
                  <a:lnTo>
                    <a:pt x="89" y="117"/>
                  </a:lnTo>
                  <a:lnTo>
                    <a:pt x="86" y="112"/>
                  </a:lnTo>
                  <a:lnTo>
                    <a:pt x="92" y="112"/>
                  </a:lnTo>
                  <a:lnTo>
                    <a:pt x="92" y="103"/>
                  </a:lnTo>
                  <a:lnTo>
                    <a:pt x="95" y="103"/>
                  </a:lnTo>
                  <a:lnTo>
                    <a:pt x="101" y="103"/>
                  </a:lnTo>
                  <a:lnTo>
                    <a:pt x="104" y="100"/>
                  </a:lnTo>
                  <a:lnTo>
                    <a:pt x="109" y="97"/>
                  </a:lnTo>
                  <a:lnTo>
                    <a:pt x="112" y="94"/>
                  </a:lnTo>
                  <a:lnTo>
                    <a:pt x="118" y="94"/>
                  </a:lnTo>
                  <a:lnTo>
                    <a:pt x="127" y="89"/>
                  </a:lnTo>
                  <a:lnTo>
                    <a:pt x="135" y="80"/>
                  </a:lnTo>
                  <a:lnTo>
                    <a:pt x="141" y="74"/>
                  </a:lnTo>
                  <a:lnTo>
                    <a:pt x="138" y="74"/>
                  </a:lnTo>
                  <a:lnTo>
                    <a:pt x="135" y="74"/>
                  </a:lnTo>
                  <a:lnTo>
                    <a:pt x="135" y="71"/>
                  </a:lnTo>
                  <a:lnTo>
                    <a:pt x="141" y="63"/>
                  </a:lnTo>
                  <a:lnTo>
                    <a:pt x="147" y="57"/>
                  </a:lnTo>
                  <a:lnTo>
                    <a:pt x="150" y="57"/>
                  </a:lnTo>
                  <a:lnTo>
                    <a:pt x="147" y="57"/>
                  </a:lnTo>
                  <a:lnTo>
                    <a:pt x="147" y="54"/>
                  </a:lnTo>
                  <a:lnTo>
                    <a:pt x="150" y="54"/>
                  </a:lnTo>
                  <a:lnTo>
                    <a:pt x="164" y="54"/>
                  </a:lnTo>
                  <a:lnTo>
                    <a:pt x="170" y="54"/>
                  </a:lnTo>
                  <a:lnTo>
                    <a:pt x="167" y="48"/>
                  </a:lnTo>
                  <a:lnTo>
                    <a:pt x="164" y="43"/>
                  </a:lnTo>
                  <a:lnTo>
                    <a:pt x="164" y="40"/>
                  </a:lnTo>
                  <a:lnTo>
                    <a:pt x="164" y="34"/>
                  </a:lnTo>
                  <a:lnTo>
                    <a:pt x="158" y="28"/>
                  </a:lnTo>
                  <a:lnTo>
                    <a:pt x="161" y="28"/>
                  </a:lnTo>
                  <a:lnTo>
                    <a:pt x="161" y="25"/>
                  </a:lnTo>
                  <a:lnTo>
                    <a:pt x="158" y="17"/>
                  </a:lnTo>
                  <a:lnTo>
                    <a:pt x="155" y="14"/>
                  </a:lnTo>
                  <a:lnTo>
                    <a:pt x="150" y="11"/>
                  </a:lnTo>
                  <a:lnTo>
                    <a:pt x="147" y="11"/>
                  </a:lnTo>
                  <a:lnTo>
                    <a:pt x="141" y="11"/>
                  </a:lnTo>
                  <a:lnTo>
                    <a:pt x="135" y="8"/>
                  </a:lnTo>
                  <a:lnTo>
                    <a:pt x="129" y="8"/>
                  </a:lnTo>
                  <a:lnTo>
                    <a:pt x="121" y="0"/>
                  </a:lnTo>
                  <a:lnTo>
                    <a:pt x="118" y="0"/>
                  </a:lnTo>
                  <a:lnTo>
                    <a:pt x="118" y="8"/>
                  </a:lnTo>
                  <a:lnTo>
                    <a:pt x="115" y="11"/>
                  </a:lnTo>
                  <a:lnTo>
                    <a:pt x="112" y="11"/>
                  </a:lnTo>
                  <a:lnTo>
                    <a:pt x="104" y="11"/>
                  </a:lnTo>
                  <a:lnTo>
                    <a:pt x="95" y="8"/>
                  </a:lnTo>
                  <a:lnTo>
                    <a:pt x="92" y="8"/>
                  </a:lnTo>
                  <a:lnTo>
                    <a:pt x="92" y="17"/>
                  </a:lnTo>
                  <a:lnTo>
                    <a:pt x="89" y="20"/>
                  </a:lnTo>
                  <a:lnTo>
                    <a:pt x="86" y="20"/>
                  </a:lnTo>
                  <a:lnTo>
                    <a:pt x="81" y="17"/>
                  </a:lnTo>
                  <a:lnTo>
                    <a:pt x="78" y="20"/>
                  </a:lnTo>
                  <a:lnTo>
                    <a:pt x="75" y="23"/>
                  </a:lnTo>
                  <a:lnTo>
                    <a:pt x="72" y="23"/>
                  </a:lnTo>
                  <a:lnTo>
                    <a:pt x="75" y="23"/>
                  </a:lnTo>
                  <a:lnTo>
                    <a:pt x="66" y="28"/>
                  </a:lnTo>
                  <a:lnTo>
                    <a:pt x="69" y="34"/>
                  </a:lnTo>
                  <a:lnTo>
                    <a:pt x="61" y="40"/>
                  </a:lnTo>
                  <a:lnTo>
                    <a:pt x="61" y="46"/>
                  </a:lnTo>
                  <a:lnTo>
                    <a:pt x="58" y="48"/>
                  </a:lnTo>
                  <a:lnTo>
                    <a:pt x="52" y="48"/>
                  </a:lnTo>
                  <a:lnTo>
                    <a:pt x="49" y="48"/>
                  </a:lnTo>
                  <a:lnTo>
                    <a:pt x="46" y="63"/>
                  </a:lnTo>
                  <a:lnTo>
                    <a:pt x="38" y="74"/>
                  </a:lnTo>
                  <a:lnTo>
                    <a:pt x="43" y="77"/>
                  </a:lnTo>
                  <a:lnTo>
                    <a:pt x="43" y="80"/>
                  </a:lnTo>
                  <a:lnTo>
                    <a:pt x="40" y="83"/>
                  </a:lnTo>
                  <a:lnTo>
                    <a:pt x="38" y="86"/>
                  </a:lnTo>
                  <a:lnTo>
                    <a:pt x="29" y="86"/>
                  </a:lnTo>
                  <a:lnTo>
                    <a:pt x="20" y="89"/>
                  </a:lnTo>
                  <a:lnTo>
                    <a:pt x="18" y="97"/>
                  </a:lnTo>
                  <a:lnTo>
                    <a:pt x="18" y="100"/>
                  </a:lnTo>
                  <a:lnTo>
                    <a:pt x="18" y="103"/>
                  </a:lnTo>
                  <a:lnTo>
                    <a:pt x="18" y="106"/>
                  </a:lnTo>
                  <a:lnTo>
                    <a:pt x="20" y="114"/>
                  </a:lnTo>
                  <a:lnTo>
                    <a:pt x="18" y="123"/>
                  </a:lnTo>
                  <a:lnTo>
                    <a:pt x="26" y="129"/>
                  </a:lnTo>
                  <a:lnTo>
                    <a:pt x="29" y="132"/>
                  </a:lnTo>
                  <a:lnTo>
                    <a:pt x="29" y="135"/>
                  </a:lnTo>
                  <a:lnTo>
                    <a:pt x="26" y="137"/>
                  </a:lnTo>
                  <a:lnTo>
                    <a:pt x="23" y="137"/>
                  </a:lnTo>
                  <a:lnTo>
                    <a:pt x="20" y="140"/>
                  </a:lnTo>
                  <a:lnTo>
                    <a:pt x="23" y="146"/>
                  </a:lnTo>
                  <a:lnTo>
                    <a:pt x="23" y="149"/>
                  </a:lnTo>
                  <a:lnTo>
                    <a:pt x="23" y="155"/>
                  </a:lnTo>
                  <a:lnTo>
                    <a:pt x="20" y="157"/>
                  </a:lnTo>
                  <a:lnTo>
                    <a:pt x="15" y="160"/>
                  </a:lnTo>
                  <a:lnTo>
                    <a:pt x="12" y="175"/>
                  </a:lnTo>
                  <a:lnTo>
                    <a:pt x="6" y="175"/>
                  </a:lnTo>
                  <a:lnTo>
                    <a:pt x="3" y="175"/>
                  </a:lnTo>
                  <a:lnTo>
                    <a:pt x="3" y="180"/>
                  </a:lnTo>
                  <a:lnTo>
                    <a:pt x="9" y="192"/>
                  </a:lnTo>
                  <a:lnTo>
                    <a:pt x="20" y="206"/>
                  </a:lnTo>
                  <a:lnTo>
                    <a:pt x="29" y="221"/>
                  </a:lnTo>
                  <a:lnTo>
                    <a:pt x="23" y="226"/>
                  </a:lnTo>
                  <a:lnTo>
                    <a:pt x="23" y="229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15" name="Freeform 217"/>
            <p:cNvSpPr>
              <a:spLocks noChangeAspect="1"/>
            </p:cNvSpPr>
            <p:nvPr/>
          </p:nvSpPr>
          <p:spPr bwMode="gray">
            <a:xfrm>
              <a:off x="7398288" y="3803705"/>
              <a:ext cx="7867" cy="17646"/>
            </a:xfrm>
            <a:custGeom>
              <a:avLst/>
              <a:gdLst>
                <a:gd name="T0" fmla="*/ 2147483647 w 3"/>
                <a:gd name="T1" fmla="*/ 2147483647 h 6"/>
                <a:gd name="T2" fmla="*/ 2147483647 w 3"/>
                <a:gd name="T3" fmla="*/ 2147483647 h 6"/>
                <a:gd name="T4" fmla="*/ 2147483647 w 3"/>
                <a:gd name="T5" fmla="*/ 2147483647 h 6"/>
                <a:gd name="T6" fmla="*/ 2147483647 w 3"/>
                <a:gd name="T7" fmla="*/ 2147483647 h 6"/>
                <a:gd name="T8" fmla="*/ 2147483647 w 3"/>
                <a:gd name="T9" fmla="*/ 0 h 6"/>
                <a:gd name="T10" fmla="*/ 2147483647 w 3"/>
                <a:gd name="T11" fmla="*/ 0 h 6"/>
                <a:gd name="T12" fmla="*/ 0 w 3"/>
                <a:gd name="T13" fmla="*/ 2147483647 h 6"/>
                <a:gd name="T14" fmla="*/ 0 w 3"/>
                <a:gd name="T15" fmla="*/ 2147483647 h 6"/>
                <a:gd name="T16" fmla="*/ 2147483647 w 3"/>
                <a:gd name="T17" fmla="*/ 2147483647 h 6"/>
                <a:gd name="T18" fmla="*/ 2147483647 w 3"/>
                <a:gd name="T19" fmla="*/ 2147483647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6"/>
                <a:gd name="T32" fmla="*/ 3 w 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6">
                  <a:moveTo>
                    <a:pt x="3" y="6"/>
                  </a:moveTo>
                  <a:lnTo>
                    <a:pt x="3" y="6"/>
                  </a:lnTo>
                  <a:lnTo>
                    <a:pt x="3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3" y="6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16" name="Freeform 219"/>
            <p:cNvSpPr>
              <a:spLocks noChangeAspect="1"/>
            </p:cNvSpPr>
            <p:nvPr/>
          </p:nvSpPr>
          <p:spPr bwMode="gray">
            <a:xfrm>
              <a:off x="7142615" y="3451879"/>
              <a:ext cx="27535" cy="46322"/>
            </a:xfrm>
            <a:custGeom>
              <a:avLst/>
              <a:gdLst>
                <a:gd name="T0" fmla="*/ 2147483647 w 11"/>
                <a:gd name="T1" fmla="*/ 2147483647 h 15"/>
                <a:gd name="T2" fmla="*/ 0 w 11"/>
                <a:gd name="T3" fmla="*/ 2147483647 h 15"/>
                <a:gd name="T4" fmla="*/ 2147483647 w 11"/>
                <a:gd name="T5" fmla="*/ 2147483647 h 15"/>
                <a:gd name="T6" fmla="*/ 2147483647 w 11"/>
                <a:gd name="T7" fmla="*/ 2147483647 h 15"/>
                <a:gd name="T8" fmla="*/ 2147483647 w 11"/>
                <a:gd name="T9" fmla="*/ 2147483647 h 15"/>
                <a:gd name="T10" fmla="*/ 2147483647 w 11"/>
                <a:gd name="T11" fmla="*/ 2147483647 h 15"/>
                <a:gd name="T12" fmla="*/ 2147483647 w 11"/>
                <a:gd name="T13" fmla="*/ 2147483647 h 15"/>
                <a:gd name="T14" fmla="*/ 2147483647 w 11"/>
                <a:gd name="T15" fmla="*/ 0 h 15"/>
                <a:gd name="T16" fmla="*/ 2147483647 w 11"/>
                <a:gd name="T17" fmla="*/ 0 h 15"/>
                <a:gd name="T18" fmla="*/ 2147483647 w 11"/>
                <a:gd name="T19" fmla="*/ 2147483647 h 1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1"/>
                <a:gd name="T31" fmla="*/ 0 h 15"/>
                <a:gd name="T32" fmla="*/ 11 w 11"/>
                <a:gd name="T33" fmla="*/ 15 h 1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1" h="15">
                  <a:moveTo>
                    <a:pt x="3" y="3"/>
                  </a:moveTo>
                  <a:lnTo>
                    <a:pt x="0" y="6"/>
                  </a:lnTo>
                  <a:lnTo>
                    <a:pt x="6" y="15"/>
                  </a:lnTo>
                  <a:lnTo>
                    <a:pt x="8" y="12"/>
                  </a:lnTo>
                  <a:lnTo>
                    <a:pt x="11" y="12"/>
                  </a:lnTo>
                  <a:lnTo>
                    <a:pt x="8" y="9"/>
                  </a:lnTo>
                  <a:lnTo>
                    <a:pt x="6" y="0"/>
                  </a:lnTo>
                  <a:lnTo>
                    <a:pt x="3" y="3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17" name="Freeform 221"/>
            <p:cNvSpPr>
              <a:spLocks noChangeAspect="1"/>
            </p:cNvSpPr>
            <p:nvPr/>
          </p:nvSpPr>
          <p:spPr bwMode="gray">
            <a:xfrm>
              <a:off x="7966668" y="4051858"/>
              <a:ext cx="14751" cy="25366"/>
            </a:xfrm>
            <a:custGeom>
              <a:avLst/>
              <a:gdLst>
                <a:gd name="T0" fmla="*/ 2147483647 w 6"/>
                <a:gd name="T1" fmla="*/ 0 h 9"/>
                <a:gd name="T2" fmla="*/ 0 w 6"/>
                <a:gd name="T3" fmla="*/ 2147483647 h 9"/>
                <a:gd name="T4" fmla="*/ 2147483647 w 6"/>
                <a:gd name="T5" fmla="*/ 2147483647 h 9"/>
                <a:gd name="T6" fmla="*/ 2147483647 w 6"/>
                <a:gd name="T7" fmla="*/ 0 h 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9"/>
                <a:gd name="T14" fmla="*/ 6 w 6"/>
                <a:gd name="T15" fmla="*/ 9 h 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9">
                  <a:moveTo>
                    <a:pt x="3" y="0"/>
                  </a:moveTo>
                  <a:lnTo>
                    <a:pt x="0" y="6"/>
                  </a:lnTo>
                  <a:lnTo>
                    <a:pt x="6" y="9"/>
                  </a:lnTo>
                  <a:lnTo>
                    <a:pt x="3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18" name="Freeform 224"/>
            <p:cNvSpPr>
              <a:spLocks noChangeAspect="1"/>
            </p:cNvSpPr>
            <p:nvPr/>
          </p:nvSpPr>
          <p:spPr bwMode="gray">
            <a:xfrm>
              <a:off x="7510044" y="3804199"/>
              <a:ext cx="16589" cy="17369"/>
            </a:xfrm>
            <a:custGeom>
              <a:avLst/>
              <a:gdLst>
                <a:gd name="T0" fmla="*/ 2147483647 w 6"/>
                <a:gd name="T1" fmla="*/ 2147483647 h 6"/>
                <a:gd name="T2" fmla="*/ 2147483647 w 6"/>
                <a:gd name="T3" fmla="*/ 0 h 6"/>
                <a:gd name="T4" fmla="*/ 0 w 6"/>
                <a:gd name="T5" fmla="*/ 2147483647 h 6"/>
                <a:gd name="T6" fmla="*/ 2147483647 w 6"/>
                <a:gd name="T7" fmla="*/ 2147483647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6"/>
                <a:gd name="T14" fmla="*/ 6 w 6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6">
                  <a:moveTo>
                    <a:pt x="6" y="6"/>
                  </a:moveTo>
                  <a:lnTo>
                    <a:pt x="6" y="0"/>
                  </a:lnTo>
                  <a:lnTo>
                    <a:pt x="0" y="3"/>
                  </a:lnTo>
                  <a:lnTo>
                    <a:pt x="6" y="6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de-DE">
                <a:latin typeface="Tele-GroteskFet" charset="0"/>
              </a:endParaRPr>
            </a:p>
          </p:txBody>
        </p:sp>
        <p:sp>
          <p:nvSpPr>
            <p:cNvPr id="19" name="Freeform 226"/>
            <p:cNvSpPr>
              <a:spLocks noChangeAspect="1"/>
            </p:cNvSpPr>
            <p:nvPr/>
          </p:nvSpPr>
          <p:spPr bwMode="gray">
            <a:xfrm>
              <a:off x="7806380" y="3787162"/>
              <a:ext cx="243872" cy="155508"/>
            </a:xfrm>
            <a:custGeom>
              <a:avLst/>
              <a:gdLst>
                <a:gd name="T0" fmla="*/ 2147483647 w 95"/>
                <a:gd name="T1" fmla="*/ 2147483647 h 55"/>
                <a:gd name="T2" fmla="*/ 2147483647 w 95"/>
                <a:gd name="T3" fmla="*/ 2147483647 h 55"/>
                <a:gd name="T4" fmla="*/ 2147483647 w 95"/>
                <a:gd name="T5" fmla="*/ 2147483647 h 55"/>
                <a:gd name="T6" fmla="*/ 2147483647 w 95"/>
                <a:gd name="T7" fmla="*/ 2147483647 h 55"/>
                <a:gd name="T8" fmla="*/ 2147483647 w 95"/>
                <a:gd name="T9" fmla="*/ 2147483647 h 55"/>
                <a:gd name="T10" fmla="*/ 2147483647 w 95"/>
                <a:gd name="T11" fmla="*/ 2147483647 h 55"/>
                <a:gd name="T12" fmla="*/ 2147483647 w 95"/>
                <a:gd name="T13" fmla="*/ 2147483647 h 55"/>
                <a:gd name="T14" fmla="*/ 2147483647 w 95"/>
                <a:gd name="T15" fmla="*/ 2147483647 h 55"/>
                <a:gd name="T16" fmla="*/ 2147483647 w 95"/>
                <a:gd name="T17" fmla="*/ 2147483647 h 55"/>
                <a:gd name="T18" fmla="*/ 2147483647 w 95"/>
                <a:gd name="T19" fmla="*/ 2147483647 h 55"/>
                <a:gd name="T20" fmla="*/ 2147483647 w 95"/>
                <a:gd name="T21" fmla="*/ 2147483647 h 55"/>
                <a:gd name="T22" fmla="*/ 2147483647 w 95"/>
                <a:gd name="T23" fmla="*/ 2147483647 h 55"/>
                <a:gd name="T24" fmla="*/ 2147483647 w 95"/>
                <a:gd name="T25" fmla="*/ 0 h 55"/>
                <a:gd name="T26" fmla="*/ 0 w 95"/>
                <a:gd name="T27" fmla="*/ 2147483647 h 55"/>
                <a:gd name="T28" fmla="*/ 0 w 95"/>
                <a:gd name="T29" fmla="*/ 2147483647 h 55"/>
                <a:gd name="T30" fmla="*/ 2147483647 w 95"/>
                <a:gd name="T31" fmla="*/ 2147483647 h 55"/>
                <a:gd name="T32" fmla="*/ 2147483647 w 95"/>
                <a:gd name="T33" fmla="*/ 2147483647 h 55"/>
                <a:gd name="T34" fmla="*/ 2147483647 w 95"/>
                <a:gd name="T35" fmla="*/ 2147483647 h 55"/>
                <a:gd name="T36" fmla="*/ 2147483647 w 95"/>
                <a:gd name="T37" fmla="*/ 2147483647 h 55"/>
                <a:gd name="T38" fmla="*/ 2147483647 w 95"/>
                <a:gd name="T39" fmla="*/ 2147483647 h 55"/>
                <a:gd name="T40" fmla="*/ 2147483647 w 95"/>
                <a:gd name="T41" fmla="*/ 2147483647 h 55"/>
                <a:gd name="T42" fmla="*/ 2147483647 w 95"/>
                <a:gd name="T43" fmla="*/ 2147483647 h 55"/>
                <a:gd name="T44" fmla="*/ 2147483647 w 95"/>
                <a:gd name="T45" fmla="*/ 2147483647 h 55"/>
                <a:gd name="T46" fmla="*/ 2147483647 w 95"/>
                <a:gd name="T47" fmla="*/ 2147483647 h 55"/>
                <a:gd name="T48" fmla="*/ 2147483647 w 95"/>
                <a:gd name="T49" fmla="*/ 2147483647 h 55"/>
                <a:gd name="T50" fmla="*/ 2147483647 w 95"/>
                <a:gd name="T51" fmla="*/ 2147483647 h 55"/>
                <a:gd name="T52" fmla="*/ 2147483647 w 95"/>
                <a:gd name="T53" fmla="*/ 2147483647 h 55"/>
                <a:gd name="T54" fmla="*/ 2147483647 w 95"/>
                <a:gd name="T55" fmla="*/ 2147483647 h 55"/>
                <a:gd name="T56" fmla="*/ 2147483647 w 95"/>
                <a:gd name="T57" fmla="*/ 2147483647 h 55"/>
                <a:gd name="T58" fmla="*/ 2147483647 w 95"/>
                <a:gd name="T59" fmla="*/ 2147483647 h 55"/>
                <a:gd name="T60" fmla="*/ 2147483647 w 95"/>
                <a:gd name="T61" fmla="*/ 2147483647 h 55"/>
                <a:gd name="T62" fmla="*/ 2147483647 w 95"/>
                <a:gd name="T63" fmla="*/ 2147483647 h 55"/>
                <a:gd name="T64" fmla="*/ 2147483647 w 95"/>
                <a:gd name="T65" fmla="*/ 2147483647 h 55"/>
                <a:gd name="T66" fmla="*/ 2147483647 w 95"/>
                <a:gd name="T67" fmla="*/ 2147483647 h 55"/>
                <a:gd name="T68" fmla="*/ 2147483647 w 95"/>
                <a:gd name="T69" fmla="*/ 2147483647 h 55"/>
                <a:gd name="T70" fmla="*/ 2147483647 w 95"/>
                <a:gd name="T71" fmla="*/ 2147483647 h 55"/>
                <a:gd name="T72" fmla="*/ 2147483647 w 95"/>
                <a:gd name="T73" fmla="*/ 2147483647 h 55"/>
                <a:gd name="T74" fmla="*/ 2147483647 w 95"/>
                <a:gd name="T75" fmla="*/ 2147483647 h 55"/>
                <a:gd name="T76" fmla="*/ 2147483647 w 95"/>
                <a:gd name="T77" fmla="*/ 2147483647 h 55"/>
                <a:gd name="T78" fmla="*/ 2147483647 w 95"/>
                <a:gd name="T79" fmla="*/ 2147483647 h 55"/>
                <a:gd name="T80" fmla="*/ 2147483647 w 95"/>
                <a:gd name="T81" fmla="*/ 2147483647 h 55"/>
                <a:gd name="T82" fmla="*/ 2147483647 w 95"/>
                <a:gd name="T83" fmla="*/ 2147483647 h 55"/>
                <a:gd name="T84" fmla="*/ 2147483647 w 95"/>
                <a:gd name="T85" fmla="*/ 2147483647 h 5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95"/>
                <a:gd name="T130" fmla="*/ 0 h 55"/>
                <a:gd name="T131" fmla="*/ 95 w 95"/>
                <a:gd name="T132" fmla="*/ 55 h 55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95" h="55">
                  <a:moveTo>
                    <a:pt x="92" y="18"/>
                  </a:moveTo>
                  <a:lnTo>
                    <a:pt x="95" y="12"/>
                  </a:lnTo>
                  <a:lnTo>
                    <a:pt x="86" y="9"/>
                  </a:lnTo>
                  <a:lnTo>
                    <a:pt x="78" y="3"/>
                  </a:lnTo>
                  <a:lnTo>
                    <a:pt x="66" y="3"/>
                  </a:lnTo>
                  <a:lnTo>
                    <a:pt x="55" y="6"/>
                  </a:lnTo>
                  <a:lnTo>
                    <a:pt x="46" y="12"/>
                  </a:lnTo>
                  <a:lnTo>
                    <a:pt x="32" y="9"/>
                  </a:lnTo>
                  <a:lnTo>
                    <a:pt x="29" y="15"/>
                  </a:lnTo>
                  <a:lnTo>
                    <a:pt x="3" y="6"/>
                  </a:lnTo>
                  <a:lnTo>
                    <a:pt x="3" y="3"/>
                  </a:lnTo>
                  <a:lnTo>
                    <a:pt x="3" y="0"/>
                  </a:lnTo>
                  <a:lnTo>
                    <a:pt x="0" y="6"/>
                  </a:lnTo>
                  <a:lnTo>
                    <a:pt x="0" y="12"/>
                  </a:lnTo>
                  <a:lnTo>
                    <a:pt x="9" y="18"/>
                  </a:lnTo>
                  <a:lnTo>
                    <a:pt x="9" y="20"/>
                  </a:lnTo>
                  <a:lnTo>
                    <a:pt x="6" y="26"/>
                  </a:lnTo>
                  <a:lnTo>
                    <a:pt x="3" y="29"/>
                  </a:lnTo>
                  <a:lnTo>
                    <a:pt x="3" y="35"/>
                  </a:lnTo>
                  <a:lnTo>
                    <a:pt x="3" y="38"/>
                  </a:lnTo>
                  <a:lnTo>
                    <a:pt x="9" y="41"/>
                  </a:lnTo>
                  <a:lnTo>
                    <a:pt x="12" y="49"/>
                  </a:lnTo>
                  <a:lnTo>
                    <a:pt x="29" y="52"/>
                  </a:lnTo>
                  <a:lnTo>
                    <a:pt x="40" y="52"/>
                  </a:lnTo>
                  <a:lnTo>
                    <a:pt x="49" y="55"/>
                  </a:lnTo>
                  <a:lnTo>
                    <a:pt x="58" y="55"/>
                  </a:lnTo>
                  <a:lnTo>
                    <a:pt x="55" y="46"/>
                  </a:lnTo>
                  <a:lnTo>
                    <a:pt x="58" y="46"/>
                  </a:lnTo>
                  <a:lnTo>
                    <a:pt x="63" y="43"/>
                  </a:lnTo>
                  <a:lnTo>
                    <a:pt x="66" y="43"/>
                  </a:lnTo>
                  <a:lnTo>
                    <a:pt x="75" y="41"/>
                  </a:lnTo>
                  <a:lnTo>
                    <a:pt x="78" y="41"/>
                  </a:lnTo>
                  <a:lnTo>
                    <a:pt x="81" y="43"/>
                  </a:lnTo>
                  <a:lnTo>
                    <a:pt x="89" y="43"/>
                  </a:lnTo>
                  <a:lnTo>
                    <a:pt x="86" y="41"/>
                  </a:lnTo>
                  <a:lnTo>
                    <a:pt x="83" y="35"/>
                  </a:lnTo>
                  <a:lnTo>
                    <a:pt x="83" y="23"/>
                  </a:lnTo>
                  <a:lnTo>
                    <a:pt x="92" y="18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20" name="Freeform 227"/>
            <p:cNvSpPr>
              <a:spLocks noChangeAspect="1"/>
            </p:cNvSpPr>
            <p:nvPr/>
          </p:nvSpPr>
          <p:spPr bwMode="gray">
            <a:xfrm>
              <a:off x="7716895" y="3926128"/>
              <a:ext cx="256655" cy="226094"/>
            </a:xfrm>
            <a:custGeom>
              <a:avLst/>
              <a:gdLst>
                <a:gd name="T0" fmla="*/ 2147483647 w 100"/>
                <a:gd name="T1" fmla="*/ 2147483647 h 78"/>
                <a:gd name="T2" fmla="*/ 2147483647 w 100"/>
                <a:gd name="T3" fmla="*/ 0 h 78"/>
                <a:gd name="T4" fmla="*/ 2147483647 w 100"/>
                <a:gd name="T5" fmla="*/ 2147483647 h 78"/>
                <a:gd name="T6" fmla="*/ 2147483647 w 100"/>
                <a:gd name="T7" fmla="*/ 2147483647 h 78"/>
                <a:gd name="T8" fmla="*/ 2147483647 w 100"/>
                <a:gd name="T9" fmla="*/ 2147483647 h 78"/>
                <a:gd name="T10" fmla="*/ 2147483647 w 100"/>
                <a:gd name="T11" fmla="*/ 2147483647 h 78"/>
                <a:gd name="T12" fmla="*/ 2147483647 w 100"/>
                <a:gd name="T13" fmla="*/ 2147483647 h 78"/>
                <a:gd name="T14" fmla="*/ 2147483647 w 100"/>
                <a:gd name="T15" fmla="*/ 2147483647 h 78"/>
                <a:gd name="T16" fmla="*/ 0 w 100"/>
                <a:gd name="T17" fmla="*/ 2147483647 h 78"/>
                <a:gd name="T18" fmla="*/ 2147483647 w 100"/>
                <a:gd name="T19" fmla="*/ 2147483647 h 78"/>
                <a:gd name="T20" fmla="*/ 0 w 100"/>
                <a:gd name="T21" fmla="*/ 2147483647 h 78"/>
                <a:gd name="T22" fmla="*/ 2147483647 w 100"/>
                <a:gd name="T23" fmla="*/ 2147483647 h 78"/>
                <a:gd name="T24" fmla="*/ 2147483647 w 100"/>
                <a:gd name="T25" fmla="*/ 2147483647 h 78"/>
                <a:gd name="T26" fmla="*/ 2147483647 w 100"/>
                <a:gd name="T27" fmla="*/ 2147483647 h 78"/>
                <a:gd name="T28" fmla="*/ 2147483647 w 100"/>
                <a:gd name="T29" fmla="*/ 2147483647 h 78"/>
                <a:gd name="T30" fmla="*/ 2147483647 w 100"/>
                <a:gd name="T31" fmla="*/ 2147483647 h 78"/>
                <a:gd name="T32" fmla="*/ 2147483647 w 100"/>
                <a:gd name="T33" fmla="*/ 2147483647 h 78"/>
                <a:gd name="T34" fmla="*/ 2147483647 w 100"/>
                <a:gd name="T35" fmla="*/ 2147483647 h 78"/>
                <a:gd name="T36" fmla="*/ 2147483647 w 100"/>
                <a:gd name="T37" fmla="*/ 2147483647 h 78"/>
                <a:gd name="T38" fmla="*/ 2147483647 w 100"/>
                <a:gd name="T39" fmla="*/ 2147483647 h 78"/>
                <a:gd name="T40" fmla="*/ 2147483647 w 100"/>
                <a:gd name="T41" fmla="*/ 2147483647 h 78"/>
                <a:gd name="T42" fmla="*/ 2147483647 w 100"/>
                <a:gd name="T43" fmla="*/ 2147483647 h 78"/>
                <a:gd name="T44" fmla="*/ 2147483647 w 100"/>
                <a:gd name="T45" fmla="*/ 2147483647 h 78"/>
                <a:gd name="T46" fmla="*/ 2147483647 w 100"/>
                <a:gd name="T47" fmla="*/ 2147483647 h 78"/>
                <a:gd name="T48" fmla="*/ 2147483647 w 100"/>
                <a:gd name="T49" fmla="*/ 2147483647 h 78"/>
                <a:gd name="T50" fmla="*/ 2147483647 w 100"/>
                <a:gd name="T51" fmla="*/ 2147483647 h 78"/>
                <a:gd name="T52" fmla="*/ 2147483647 w 100"/>
                <a:gd name="T53" fmla="*/ 2147483647 h 78"/>
                <a:gd name="T54" fmla="*/ 2147483647 w 100"/>
                <a:gd name="T55" fmla="*/ 2147483647 h 78"/>
                <a:gd name="T56" fmla="*/ 2147483647 w 100"/>
                <a:gd name="T57" fmla="*/ 2147483647 h 78"/>
                <a:gd name="T58" fmla="*/ 2147483647 w 100"/>
                <a:gd name="T59" fmla="*/ 2147483647 h 78"/>
                <a:gd name="T60" fmla="*/ 2147483647 w 100"/>
                <a:gd name="T61" fmla="*/ 2147483647 h 78"/>
                <a:gd name="T62" fmla="*/ 2147483647 w 100"/>
                <a:gd name="T63" fmla="*/ 2147483647 h 78"/>
                <a:gd name="T64" fmla="*/ 2147483647 w 100"/>
                <a:gd name="T65" fmla="*/ 2147483647 h 78"/>
                <a:gd name="T66" fmla="*/ 2147483647 w 100"/>
                <a:gd name="T67" fmla="*/ 2147483647 h 78"/>
                <a:gd name="T68" fmla="*/ 2147483647 w 100"/>
                <a:gd name="T69" fmla="*/ 2147483647 h 78"/>
                <a:gd name="T70" fmla="*/ 2147483647 w 100"/>
                <a:gd name="T71" fmla="*/ 2147483647 h 78"/>
                <a:gd name="T72" fmla="*/ 2147483647 w 100"/>
                <a:gd name="T73" fmla="*/ 2147483647 h 78"/>
                <a:gd name="T74" fmla="*/ 2147483647 w 100"/>
                <a:gd name="T75" fmla="*/ 2147483647 h 78"/>
                <a:gd name="T76" fmla="*/ 2147483647 w 100"/>
                <a:gd name="T77" fmla="*/ 2147483647 h 78"/>
                <a:gd name="T78" fmla="*/ 2147483647 w 100"/>
                <a:gd name="T79" fmla="*/ 2147483647 h 78"/>
                <a:gd name="T80" fmla="*/ 2147483647 w 100"/>
                <a:gd name="T81" fmla="*/ 2147483647 h 78"/>
                <a:gd name="T82" fmla="*/ 2147483647 w 100"/>
                <a:gd name="T83" fmla="*/ 2147483647 h 78"/>
                <a:gd name="T84" fmla="*/ 2147483647 w 100"/>
                <a:gd name="T85" fmla="*/ 2147483647 h 78"/>
                <a:gd name="T86" fmla="*/ 2147483647 w 100"/>
                <a:gd name="T87" fmla="*/ 2147483647 h 78"/>
                <a:gd name="T88" fmla="*/ 2147483647 w 100"/>
                <a:gd name="T89" fmla="*/ 2147483647 h 78"/>
                <a:gd name="T90" fmla="*/ 2147483647 w 100"/>
                <a:gd name="T91" fmla="*/ 2147483647 h 78"/>
                <a:gd name="T92" fmla="*/ 2147483647 w 100"/>
                <a:gd name="T93" fmla="*/ 2147483647 h 78"/>
                <a:gd name="T94" fmla="*/ 2147483647 w 100"/>
                <a:gd name="T95" fmla="*/ 2147483647 h 78"/>
                <a:gd name="T96" fmla="*/ 2147483647 w 100"/>
                <a:gd name="T97" fmla="*/ 2147483647 h 78"/>
                <a:gd name="T98" fmla="*/ 2147483647 w 100"/>
                <a:gd name="T99" fmla="*/ 2147483647 h 78"/>
                <a:gd name="T100" fmla="*/ 2147483647 w 100"/>
                <a:gd name="T101" fmla="*/ 2147483647 h 78"/>
                <a:gd name="T102" fmla="*/ 2147483647 w 100"/>
                <a:gd name="T103" fmla="*/ 2147483647 h 78"/>
                <a:gd name="T104" fmla="*/ 2147483647 w 100"/>
                <a:gd name="T105" fmla="*/ 2147483647 h 78"/>
                <a:gd name="T106" fmla="*/ 2147483647 w 100"/>
                <a:gd name="T107" fmla="*/ 2147483647 h 78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00"/>
                <a:gd name="T163" fmla="*/ 0 h 78"/>
                <a:gd name="T164" fmla="*/ 100 w 100"/>
                <a:gd name="T165" fmla="*/ 78 h 78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00" h="78">
                  <a:moveTo>
                    <a:pt x="100" y="6"/>
                  </a:moveTo>
                  <a:lnTo>
                    <a:pt x="100" y="3"/>
                  </a:lnTo>
                  <a:lnTo>
                    <a:pt x="97" y="0"/>
                  </a:lnTo>
                  <a:lnTo>
                    <a:pt x="94" y="0"/>
                  </a:lnTo>
                  <a:lnTo>
                    <a:pt x="94" y="12"/>
                  </a:lnTo>
                  <a:lnTo>
                    <a:pt x="83" y="9"/>
                  </a:lnTo>
                  <a:lnTo>
                    <a:pt x="74" y="9"/>
                  </a:lnTo>
                  <a:lnTo>
                    <a:pt x="63" y="6"/>
                  </a:lnTo>
                  <a:lnTo>
                    <a:pt x="43" y="3"/>
                  </a:lnTo>
                  <a:lnTo>
                    <a:pt x="43" y="9"/>
                  </a:lnTo>
                  <a:lnTo>
                    <a:pt x="31" y="12"/>
                  </a:lnTo>
                  <a:lnTo>
                    <a:pt x="23" y="17"/>
                  </a:lnTo>
                  <a:lnTo>
                    <a:pt x="17" y="17"/>
                  </a:lnTo>
                  <a:lnTo>
                    <a:pt x="17" y="20"/>
                  </a:lnTo>
                  <a:lnTo>
                    <a:pt x="8" y="29"/>
                  </a:lnTo>
                  <a:lnTo>
                    <a:pt x="5" y="32"/>
                  </a:lnTo>
                  <a:lnTo>
                    <a:pt x="3" y="37"/>
                  </a:lnTo>
                  <a:lnTo>
                    <a:pt x="0" y="43"/>
                  </a:lnTo>
                  <a:lnTo>
                    <a:pt x="3" y="43"/>
                  </a:lnTo>
                  <a:lnTo>
                    <a:pt x="3" y="49"/>
                  </a:lnTo>
                  <a:lnTo>
                    <a:pt x="0" y="52"/>
                  </a:lnTo>
                  <a:lnTo>
                    <a:pt x="3" y="58"/>
                  </a:lnTo>
                  <a:lnTo>
                    <a:pt x="8" y="58"/>
                  </a:lnTo>
                  <a:lnTo>
                    <a:pt x="14" y="60"/>
                  </a:lnTo>
                  <a:lnTo>
                    <a:pt x="20" y="66"/>
                  </a:lnTo>
                  <a:lnTo>
                    <a:pt x="31" y="66"/>
                  </a:lnTo>
                  <a:lnTo>
                    <a:pt x="31" y="63"/>
                  </a:lnTo>
                  <a:lnTo>
                    <a:pt x="34" y="63"/>
                  </a:lnTo>
                  <a:lnTo>
                    <a:pt x="43" y="63"/>
                  </a:lnTo>
                  <a:lnTo>
                    <a:pt x="48" y="69"/>
                  </a:lnTo>
                  <a:lnTo>
                    <a:pt x="51" y="72"/>
                  </a:lnTo>
                  <a:lnTo>
                    <a:pt x="54" y="78"/>
                  </a:lnTo>
                  <a:lnTo>
                    <a:pt x="54" y="72"/>
                  </a:lnTo>
                  <a:lnTo>
                    <a:pt x="57" y="75"/>
                  </a:lnTo>
                  <a:lnTo>
                    <a:pt x="60" y="72"/>
                  </a:lnTo>
                  <a:lnTo>
                    <a:pt x="66" y="78"/>
                  </a:lnTo>
                  <a:lnTo>
                    <a:pt x="66" y="72"/>
                  </a:lnTo>
                  <a:lnTo>
                    <a:pt x="66" y="69"/>
                  </a:lnTo>
                  <a:lnTo>
                    <a:pt x="63" y="69"/>
                  </a:lnTo>
                  <a:lnTo>
                    <a:pt x="66" y="69"/>
                  </a:lnTo>
                  <a:lnTo>
                    <a:pt x="71" y="72"/>
                  </a:lnTo>
                  <a:lnTo>
                    <a:pt x="74" y="69"/>
                  </a:lnTo>
                  <a:lnTo>
                    <a:pt x="69" y="66"/>
                  </a:lnTo>
                  <a:lnTo>
                    <a:pt x="69" y="60"/>
                  </a:lnTo>
                  <a:lnTo>
                    <a:pt x="69" y="58"/>
                  </a:lnTo>
                  <a:lnTo>
                    <a:pt x="66" y="60"/>
                  </a:lnTo>
                  <a:lnTo>
                    <a:pt x="60" y="63"/>
                  </a:lnTo>
                  <a:lnTo>
                    <a:pt x="57" y="63"/>
                  </a:lnTo>
                  <a:lnTo>
                    <a:pt x="54" y="58"/>
                  </a:lnTo>
                  <a:lnTo>
                    <a:pt x="48" y="55"/>
                  </a:lnTo>
                  <a:lnTo>
                    <a:pt x="48" y="52"/>
                  </a:lnTo>
                  <a:lnTo>
                    <a:pt x="51" y="49"/>
                  </a:lnTo>
                  <a:lnTo>
                    <a:pt x="54" y="49"/>
                  </a:lnTo>
                  <a:lnTo>
                    <a:pt x="54" y="46"/>
                  </a:lnTo>
                  <a:lnTo>
                    <a:pt x="46" y="43"/>
                  </a:lnTo>
                  <a:lnTo>
                    <a:pt x="43" y="37"/>
                  </a:lnTo>
                  <a:lnTo>
                    <a:pt x="40" y="32"/>
                  </a:lnTo>
                  <a:lnTo>
                    <a:pt x="37" y="20"/>
                  </a:lnTo>
                  <a:lnTo>
                    <a:pt x="46" y="23"/>
                  </a:lnTo>
                  <a:lnTo>
                    <a:pt x="54" y="26"/>
                  </a:lnTo>
                  <a:lnTo>
                    <a:pt x="57" y="26"/>
                  </a:lnTo>
                  <a:lnTo>
                    <a:pt x="60" y="26"/>
                  </a:lnTo>
                  <a:lnTo>
                    <a:pt x="57" y="17"/>
                  </a:lnTo>
                  <a:lnTo>
                    <a:pt x="60" y="17"/>
                  </a:lnTo>
                  <a:lnTo>
                    <a:pt x="63" y="17"/>
                  </a:lnTo>
                  <a:lnTo>
                    <a:pt x="71" y="14"/>
                  </a:lnTo>
                  <a:lnTo>
                    <a:pt x="71" y="17"/>
                  </a:lnTo>
                  <a:lnTo>
                    <a:pt x="74" y="17"/>
                  </a:lnTo>
                  <a:lnTo>
                    <a:pt x="74" y="14"/>
                  </a:lnTo>
                  <a:lnTo>
                    <a:pt x="77" y="14"/>
                  </a:lnTo>
                  <a:lnTo>
                    <a:pt x="80" y="14"/>
                  </a:lnTo>
                  <a:lnTo>
                    <a:pt x="86" y="17"/>
                  </a:lnTo>
                  <a:lnTo>
                    <a:pt x="89" y="17"/>
                  </a:lnTo>
                  <a:lnTo>
                    <a:pt x="92" y="17"/>
                  </a:lnTo>
                  <a:lnTo>
                    <a:pt x="94" y="14"/>
                  </a:lnTo>
                  <a:lnTo>
                    <a:pt x="94" y="9"/>
                  </a:lnTo>
                  <a:lnTo>
                    <a:pt x="100" y="6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21" name="Freeform 228"/>
            <p:cNvSpPr>
              <a:spLocks noChangeAspect="1"/>
            </p:cNvSpPr>
            <p:nvPr/>
          </p:nvSpPr>
          <p:spPr bwMode="gray">
            <a:xfrm>
              <a:off x="7953884" y="4101487"/>
              <a:ext cx="12784" cy="24264"/>
            </a:xfrm>
            <a:custGeom>
              <a:avLst/>
              <a:gdLst>
                <a:gd name="T0" fmla="*/ 0 w 5"/>
                <a:gd name="T1" fmla="*/ 0 h 9"/>
                <a:gd name="T2" fmla="*/ 0 w 5"/>
                <a:gd name="T3" fmla="*/ 2147483647 h 9"/>
                <a:gd name="T4" fmla="*/ 0 w 5"/>
                <a:gd name="T5" fmla="*/ 2147483647 h 9"/>
                <a:gd name="T6" fmla="*/ 2147483647 w 5"/>
                <a:gd name="T7" fmla="*/ 2147483647 h 9"/>
                <a:gd name="T8" fmla="*/ 2147483647 w 5"/>
                <a:gd name="T9" fmla="*/ 0 h 9"/>
                <a:gd name="T10" fmla="*/ 0 w 5"/>
                <a:gd name="T11" fmla="*/ 0 h 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"/>
                <a:gd name="T19" fmla="*/ 0 h 9"/>
                <a:gd name="T20" fmla="*/ 5 w 5"/>
                <a:gd name="T21" fmla="*/ 9 h 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" h="9">
                  <a:moveTo>
                    <a:pt x="0" y="0"/>
                  </a:moveTo>
                  <a:lnTo>
                    <a:pt x="0" y="3"/>
                  </a:lnTo>
                  <a:lnTo>
                    <a:pt x="0" y="6"/>
                  </a:lnTo>
                  <a:lnTo>
                    <a:pt x="5" y="9"/>
                  </a:lnTo>
                  <a:lnTo>
                    <a:pt x="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22" name="Freeform 229"/>
            <p:cNvSpPr>
              <a:spLocks noChangeAspect="1"/>
            </p:cNvSpPr>
            <p:nvPr/>
          </p:nvSpPr>
          <p:spPr bwMode="gray">
            <a:xfrm>
              <a:off x="7778847" y="3338282"/>
              <a:ext cx="689334" cy="398147"/>
            </a:xfrm>
            <a:custGeom>
              <a:avLst/>
              <a:gdLst>
                <a:gd name="T0" fmla="*/ 2147483647 w 269"/>
                <a:gd name="T1" fmla="*/ 2147483647 h 138"/>
                <a:gd name="T2" fmla="*/ 2147483647 w 269"/>
                <a:gd name="T3" fmla="*/ 2147483647 h 138"/>
                <a:gd name="T4" fmla="*/ 2147483647 w 269"/>
                <a:gd name="T5" fmla="*/ 2147483647 h 138"/>
                <a:gd name="T6" fmla="*/ 2147483647 w 269"/>
                <a:gd name="T7" fmla="*/ 2147483647 h 138"/>
                <a:gd name="T8" fmla="*/ 2147483647 w 269"/>
                <a:gd name="T9" fmla="*/ 2147483647 h 138"/>
                <a:gd name="T10" fmla="*/ 2147483647 w 269"/>
                <a:gd name="T11" fmla="*/ 2147483647 h 138"/>
                <a:gd name="T12" fmla="*/ 2147483647 w 269"/>
                <a:gd name="T13" fmla="*/ 2147483647 h 138"/>
                <a:gd name="T14" fmla="*/ 2147483647 w 269"/>
                <a:gd name="T15" fmla="*/ 2147483647 h 138"/>
                <a:gd name="T16" fmla="*/ 2147483647 w 269"/>
                <a:gd name="T17" fmla="*/ 2147483647 h 138"/>
                <a:gd name="T18" fmla="*/ 2147483647 w 269"/>
                <a:gd name="T19" fmla="*/ 2147483647 h 138"/>
                <a:gd name="T20" fmla="*/ 2147483647 w 269"/>
                <a:gd name="T21" fmla="*/ 2147483647 h 138"/>
                <a:gd name="T22" fmla="*/ 2147483647 w 269"/>
                <a:gd name="T23" fmla="*/ 2147483647 h 138"/>
                <a:gd name="T24" fmla="*/ 2147483647 w 269"/>
                <a:gd name="T25" fmla="*/ 2147483647 h 138"/>
                <a:gd name="T26" fmla="*/ 2147483647 w 269"/>
                <a:gd name="T27" fmla="*/ 2147483647 h 138"/>
                <a:gd name="T28" fmla="*/ 2147483647 w 269"/>
                <a:gd name="T29" fmla="*/ 2147483647 h 138"/>
                <a:gd name="T30" fmla="*/ 2147483647 w 269"/>
                <a:gd name="T31" fmla="*/ 2147483647 h 138"/>
                <a:gd name="T32" fmla="*/ 2147483647 w 269"/>
                <a:gd name="T33" fmla="*/ 2147483647 h 138"/>
                <a:gd name="T34" fmla="*/ 2147483647 w 269"/>
                <a:gd name="T35" fmla="*/ 2147483647 h 138"/>
                <a:gd name="T36" fmla="*/ 2147483647 w 269"/>
                <a:gd name="T37" fmla="*/ 2147483647 h 138"/>
                <a:gd name="T38" fmla="*/ 2147483647 w 269"/>
                <a:gd name="T39" fmla="*/ 2147483647 h 138"/>
                <a:gd name="T40" fmla="*/ 2147483647 w 269"/>
                <a:gd name="T41" fmla="*/ 2147483647 h 138"/>
                <a:gd name="T42" fmla="*/ 2147483647 w 269"/>
                <a:gd name="T43" fmla="*/ 2147483647 h 138"/>
                <a:gd name="T44" fmla="*/ 0 w 269"/>
                <a:gd name="T45" fmla="*/ 2147483647 h 138"/>
                <a:gd name="T46" fmla="*/ 2147483647 w 269"/>
                <a:gd name="T47" fmla="*/ 2147483647 h 138"/>
                <a:gd name="T48" fmla="*/ 2147483647 w 269"/>
                <a:gd name="T49" fmla="*/ 2147483647 h 138"/>
                <a:gd name="T50" fmla="*/ 2147483647 w 269"/>
                <a:gd name="T51" fmla="*/ 2147483647 h 138"/>
                <a:gd name="T52" fmla="*/ 2147483647 w 269"/>
                <a:gd name="T53" fmla="*/ 2147483647 h 138"/>
                <a:gd name="T54" fmla="*/ 2147483647 w 269"/>
                <a:gd name="T55" fmla="*/ 2147483647 h 138"/>
                <a:gd name="T56" fmla="*/ 2147483647 w 269"/>
                <a:gd name="T57" fmla="*/ 2147483647 h 138"/>
                <a:gd name="T58" fmla="*/ 2147483647 w 269"/>
                <a:gd name="T59" fmla="*/ 2147483647 h 138"/>
                <a:gd name="T60" fmla="*/ 2147483647 w 269"/>
                <a:gd name="T61" fmla="*/ 2147483647 h 138"/>
                <a:gd name="T62" fmla="*/ 2147483647 w 269"/>
                <a:gd name="T63" fmla="*/ 2147483647 h 138"/>
                <a:gd name="T64" fmla="*/ 2147483647 w 269"/>
                <a:gd name="T65" fmla="*/ 2147483647 h 138"/>
                <a:gd name="T66" fmla="*/ 2147483647 w 269"/>
                <a:gd name="T67" fmla="*/ 2147483647 h 138"/>
                <a:gd name="T68" fmla="*/ 2147483647 w 269"/>
                <a:gd name="T69" fmla="*/ 2147483647 h 138"/>
                <a:gd name="T70" fmla="*/ 2147483647 w 269"/>
                <a:gd name="T71" fmla="*/ 2147483647 h 138"/>
                <a:gd name="T72" fmla="*/ 2147483647 w 269"/>
                <a:gd name="T73" fmla="*/ 2147483647 h 138"/>
                <a:gd name="T74" fmla="*/ 2147483647 w 269"/>
                <a:gd name="T75" fmla="*/ 2147483647 h 138"/>
                <a:gd name="T76" fmla="*/ 2147483647 w 269"/>
                <a:gd name="T77" fmla="*/ 2147483647 h 138"/>
                <a:gd name="T78" fmla="*/ 2147483647 w 269"/>
                <a:gd name="T79" fmla="*/ 2147483647 h 138"/>
                <a:gd name="T80" fmla="*/ 2147483647 w 269"/>
                <a:gd name="T81" fmla="*/ 2147483647 h 138"/>
                <a:gd name="T82" fmla="*/ 2147483647 w 269"/>
                <a:gd name="T83" fmla="*/ 2147483647 h 138"/>
                <a:gd name="T84" fmla="*/ 2147483647 w 269"/>
                <a:gd name="T85" fmla="*/ 2147483647 h 138"/>
                <a:gd name="T86" fmla="*/ 2147483647 w 269"/>
                <a:gd name="T87" fmla="*/ 2147483647 h 138"/>
                <a:gd name="T88" fmla="*/ 2147483647 w 269"/>
                <a:gd name="T89" fmla="*/ 2147483647 h 138"/>
                <a:gd name="T90" fmla="*/ 2147483647 w 269"/>
                <a:gd name="T91" fmla="*/ 2147483647 h 138"/>
                <a:gd name="T92" fmla="*/ 2147483647 w 269"/>
                <a:gd name="T93" fmla="*/ 2147483647 h 138"/>
                <a:gd name="T94" fmla="*/ 2147483647 w 269"/>
                <a:gd name="T95" fmla="*/ 2147483647 h 138"/>
                <a:gd name="T96" fmla="*/ 2147483647 w 269"/>
                <a:gd name="T97" fmla="*/ 2147483647 h 138"/>
                <a:gd name="T98" fmla="*/ 2147483647 w 269"/>
                <a:gd name="T99" fmla="*/ 2147483647 h 138"/>
                <a:gd name="T100" fmla="*/ 2147483647 w 269"/>
                <a:gd name="T101" fmla="*/ 2147483647 h 138"/>
                <a:gd name="T102" fmla="*/ 2147483647 w 269"/>
                <a:gd name="T103" fmla="*/ 2147483647 h 138"/>
                <a:gd name="T104" fmla="*/ 2147483647 w 269"/>
                <a:gd name="T105" fmla="*/ 2147483647 h 138"/>
                <a:gd name="T106" fmla="*/ 2147483647 w 269"/>
                <a:gd name="T107" fmla="*/ 2147483647 h 138"/>
                <a:gd name="T108" fmla="*/ 2147483647 w 269"/>
                <a:gd name="T109" fmla="*/ 2147483647 h 138"/>
                <a:gd name="T110" fmla="*/ 2147483647 w 269"/>
                <a:gd name="T111" fmla="*/ 2147483647 h 138"/>
                <a:gd name="T112" fmla="*/ 2147483647 w 269"/>
                <a:gd name="T113" fmla="*/ 2147483647 h 13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269"/>
                <a:gd name="T172" fmla="*/ 0 h 138"/>
                <a:gd name="T173" fmla="*/ 269 w 269"/>
                <a:gd name="T174" fmla="*/ 138 h 13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269" h="138">
                  <a:moveTo>
                    <a:pt x="175" y="9"/>
                  </a:moveTo>
                  <a:lnTo>
                    <a:pt x="169" y="6"/>
                  </a:lnTo>
                  <a:lnTo>
                    <a:pt x="163" y="3"/>
                  </a:lnTo>
                  <a:lnTo>
                    <a:pt x="158" y="0"/>
                  </a:lnTo>
                  <a:lnTo>
                    <a:pt x="152" y="6"/>
                  </a:lnTo>
                  <a:lnTo>
                    <a:pt x="146" y="3"/>
                  </a:lnTo>
                  <a:lnTo>
                    <a:pt x="143" y="9"/>
                  </a:lnTo>
                  <a:lnTo>
                    <a:pt x="135" y="6"/>
                  </a:lnTo>
                  <a:lnTo>
                    <a:pt x="126" y="9"/>
                  </a:lnTo>
                  <a:lnTo>
                    <a:pt x="120" y="15"/>
                  </a:lnTo>
                  <a:lnTo>
                    <a:pt x="126" y="20"/>
                  </a:lnTo>
                  <a:lnTo>
                    <a:pt x="117" y="23"/>
                  </a:lnTo>
                  <a:lnTo>
                    <a:pt x="112" y="20"/>
                  </a:lnTo>
                  <a:lnTo>
                    <a:pt x="109" y="18"/>
                  </a:lnTo>
                  <a:lnTo>
                    <a:pt x="103" y="20"/>
                  </a:lnTo>
                  <a:lnTo>
                    <a:pt x="100" y="20"/>
                  </a:lnTo>
                  <a:lnTo>
                    <a:pt x="97" y="15"/>
                  </a:lnTo>
                  <a:lnTo>
                    <a:pt x="94" y="20"/>
                  </a:lnTo>
                  <a:lnTo>
                    <a:pt x="92" y="18"/>
                  </a:lnTo>
                  <a:lnTo>
                    <a:pt x="86" y="15"/>
                  </a:lnTo>
                  <a:lnTo>
                    <a:pt x="77" y="18"/>
                  </a:lnTo>
                  <a:lnTo>
                    <a:pt x="71" y="18"/>
                  </a:lnTo>
                  <a:lnTo>
                    <a:pt x="69" y="12"/>
                  </a:lnTo>
                  <a:lnTo>
                    <a:pt x="60" y="12"/>
                  </a:lnTo>
                  <a:lnTo>
                    <a:pt x="51" y="9"/>
                  </a:lnTo>
                  <a:lnTo>
                    <a:pt x="48" y="9"/>
                  </a:lnTo>
                  <a:lnTo>
                    <a:pt x="34" y="12"/>
                  </a:lnTo>
                  <a:lnTo>
                    <a:pt x="28" y="12"/>
                  </a:lnTo>
                  <a:lnTo>
                    <a:pt x="25" y="18"/>
                  </a:lnTo>
                  <a:lnTo>
                    <a:pt x="23" y="18"/>
                  </a:lnTo>
                  <a:lnTo>
                    <a:pt x="20" y="15"/>
                  </a:lnTo>
                  <a:lnTo>
                    <a:pt x="25" y="26"/>
                  </a:lnTo>
                  <a:lnTo>
                    <a:pt x="28" y="35"/>
                  </a:lnTo>
                  <a:lnTo>
                    <a:pt x="20" y="40"/>
                  </a:lnTo>
                  <a:lnTo>
                    <a:pt x="14" y="46"/>
                  </a:lnTo>
                  <a:lnTo>
                    <a:pt x="8" y="55"/>
                  </a:lnTo>
                  <a:lnTo>
                    <a:pt x="11" y="63"/>
                  </a:lnTo>
                  <a:lnTo>
                    <a:pt x="14" y="66"/>
                  </a:lnTo>
                  <a:lnTo>
                    <a:pt x="8" y="66"/>
                  </a:lnTo>
                  <a:lnTo>
                    <a:pt x="5" y="63"/>
                  </a:lnTo>
                  <a:lnTo>
                    <a:pt x="3" y="69"/>
                  </a:lnTo>
                  <a:lnTo>
                    <a:pt x="0" y="72"/>
                  </a:lnTo>
                  <a:lnTo>
                    <a:pt x="3" y="75"/>
                  </a:lnTo>
                  <a:lnTo>
                    <a:pt x="11" y="78"/>
                  </a:lnTo>
                  <a:lnTo>
                    <a:pt x="14" y="81"/>
                  </a:lnTo>
                  <a:lnTo>
                    <a:pt x="20" y="78"/>
                  </a:lnTo>
                  <a:lnTo>
                    <a:pt x="25" y="81"/>
                  </a:lnTo>
                  <a:lnTo>
                    <a:pt x="31" y="81"/>
                  </a:lnTo>
                  <a:lnTo>
                    <a:pt x="37" y="78"/>
                  </a:lnTo>
                  <a:lnTo>
                    <a:pt x="46" y="86"/>
                  </a:lnTo>
                  <a:lnTo>
                    <a:pt x="48" y="84"/>
                  </a:lnTo>
                  <a:lnTo>
                    <a:pt x="60" y="81"/>
                  </a:lnTo>
                  <a:lnTo>
                    <a:pt x="66" y="75"/>
                  </a:lnTo>
                  <a:lnTo>
                    <a:pt x="71" y="75"/>
                  </a:lnTo>
                  <a:lnTo>
                    <a:pt x="74" y="75"/>
                  </a:lnTo>
                  <a:lnTo>
                    <a:pt x="83" y="72"/>
                  </a:lnTo>
                  <a:lnTo>
                    <a:pt x="97" y="78"/>
                  </a:lnTo>
                  <a:lnTo>
                    <a:pt x="103" y="78"/>
                  </a:lnTo>
                  <a:lnTo>
                    <a:pt x="112" y="86"/>
                  </a:lnTo>
                  <a:lnTo>
                    <a:pt x="109" y="89"/>
                  </a:lnTo>
                  <a:lnTo>
                    <a:pt x="109" y="92"/>
                  </a:lnTo>
                  <a:lnTo>
                    <a:pt x="117" y="101"/>
                  </a:lnTo>
                  <a:lnTo>
                    <a:pt x="123" y="109"/>
                  </a:lnTo>
                  <a:lnTo>
                    <a:pt x="123" y="112"/>
                  </a:lnTo>
                  <a:lnTo>
                    <a:pt x="123" y="115"/>
                  </a:lnTo>
                  <a:lnTo>
                    <a:pt x="112" y="112"/>
                  </a:lnTo>
                  <a:lnTo>
                    <a:pt x="109" y="115"/>
                  </a:lnTo>
                  <a:lnTo>
                    <a:pt x="109" y="118"/>
                  </a:lnTo>
                  <a:lnTo>
                    <a:pt x="109" y="121"/>
                  </a:lnTo>
                  <a:lnTo>
                    <a:pt x="103" y="127"/>
                  </a:lnTo>
                  <a:lnTo>
                    <a:pt x="100" y="132"/>
                  </a:lnTo>
                  <a:lnTo>
                    <a:pt x="103" y="132"/>
                  </a:lnTo>
                  <a:lnTo>
                    <a:pt x="114" y="129"/>
                  </a:lnTo>
                  <a:lnTo>
                    <a:pt x="120" y="138"/>
                  </a:lnTo>
                  <a:lnTo>
                    <a:pt x="120" y="132"/>
                  </a:lnTo>
                  <a:lnTo>
                    <a:pt x="123" y="127"/>
                  </a:lnTo>
                  <a:lnTo>
                    <a:pt x="132" y="121"/>
                  </a:lnTo>
                  <a:lnTo>
                    <a:pt x="135" y="115"/>
                  </a:lnTo>
                  <a:lnTo>
                    <a:pt x="137" y="112"/>
                  </a:lnTo>
                  <a:lnTo>
                    <a:pt x="143" y="109"/>
                  </a:lnTo>
                  <a:lnTo>
                    <a:pt x="149" y="109"/>
                  </a:lnTo>
                  <a:lnTo>
                    <a:pt x="152" y="112"/>
                  </a:lnTo>
                  <a:lnTo>
                    <a:pt x="155" y="118"/>
                  </a:lnTo>
                  <a:lnTo>
                    <a:pt x="169" y="118"/>
                  </a:lnTo>
                  <a:lnTo>
                    <a:pt x="181" y="118"/>
                  </a:lnTo>
                  <a:lnTo>
                    <a:pt x="189" y="118"/>
                  </a:lnTo>
                  <a:lnTo>
                    <a:pt x="201" y="115"/>
                  </a:lnTo>
                  <a:lnTo>
                    <a:pt x="209" y="112"/>
                  </a:lnTo>
                  <a:lnTo>
                    <a:pt x="221" y="107"/>
                  </a:lnTo>
                  <a:lnTo>
                    <a:pt x="232" y="104"/>
                  </a:lnTo>
                  <a:lnTo>
                    <a:pt x="244" y="101"/>
                  </a:lnTo>
                  <a:lnTo>
                    <a:pt x="247" y="89"/>
                  </a:lnTo>
                  <a:lnTo>
                    <a:pt x="255" y="84"/>
                  </a:lnTo>
                  <a:lnTo>
                    <a:pt x="267" y="84"/>
                  </a:lnTo>
                  <a:lnTo>
                    <a:pt x="269" y="78"/>
                  </a:lnTo>
                  <a:lnTo>
                    <a:pt x="261" y="69"/>
                  </a:lnTo>
                  <a:lnTo>
                    <a:pt x="264" y="69"/>
                  </a:lnTo>
                  <a:lnTo>
                    <a:pt x="267" y="66"/>
                  </a:lnTo>
                  <a:lnTo>
                    <a:pt x="264" y="63"/>
                  </a:lnTo>
                  <a:lnTo>
                    <a:pt x="269" y="58"/>
                  </a:lnTo>
                  <a:lnTo>
                    <a:pt x="267" y="52"/>
                  </a:lnTo>
                  <a:lnTo>
                    <a:pt x="252" y="52"/>
                  </a:lnTo>
                  <a:lnTo>
                    <a:pt x="241" y="46"/>
                  </a:lnTo>
                  <a:lnTo>
                    <a:pt x="238" y="49"/>
                  </a:lnTo>
                  <a:lnTo>
                    <a:pt x="226" y="38"/>
                  </a:lnTo>
                  <a:lnTo>
                    <a:pt x="212" y="43"/>
                  </a:lnTo>
                  <a:lnTo>
                    <a:pt x="203" y="38"/>
                  </a:lnTo>
                  <a:lnTo>
                    <a:pt x="201" y="40"/>
                  </a:lnTo>
                  <a:lnTo>
                    <a:pt x="201" y="38"/>
                  </a:lnTo>
                  <a:lnTo>
                    <a:pt x="198" y="35"/>
                  </a:lnTo>
                  <a:lnTo>
                    <a:pt x="192" y="29"/>
                  </a:lnTo>
                  <a:lnTo>
                    <a:pt x="189" y="26"/>
                  </a:lnTo>
                  <a:lnTo>
                    <a:pt x="189" y="23"/>
                  </a:lnTo>
                  <a:lnTo>
                    <a:pt x="186" y="23"/>
                  </a:lnTo>
                  <a:lnTo>
                    <a:pt x="172" y="20"/>
                  </a:lnTo>
                  <a:lnTo>
                    <a:pt x="169" y="15"/>
                  </a:lnTo>
                  <a:lnTo>
                    <a:pt x="172" y="12"/>
                  </a:lnTo>
                  <a:lnTo>
                    <a:pt x="175" y="9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23" name="Freeform 230"/>
            <p:cNvSpPr>
              <a:spLocks noChangeAspect="1"/>
            </p:cNvSpPr>
            <p:nvPr/>
          </p:nvSpPr>
          <p:spPr bwMode="gray">
            <a:xfrm>
              <a:off x="7806380" y="3139759"/>
              <a:ext cx="346142" cy="255873"/>
            </a:xfrm>
            <a:custGeom>
              <a:avLst/>
              <a:gdLst>
                <a:gd name="T0" fmla="*/ 2147483647 w 135"/>
                <a:gd name="T1" fmla="*/ 2147483647 h 89"/>
                <a:gd name="T2" fmla="*/ 2147483647 w 135"/>
                <a:gd name="T3" fmla="*/ 0 h 89"/>
                <a:gd name="T4" fmla="*/ 2147483647 w 135"/>
                <a:gd name="T5" fmla="*/ 2147483647 h 89"/>
                <a:gd name="T6" fmla="*/ 2147483647 w 135"/>
                <a:gd name="T7" fmla="*/ 2147483647 h 89"/>
                <a:gd name="T8" fmla="*/ 2147483647 w 135"/>
                <a:gd name="T9" fmla="*/ 2147483647 h 89"/>
                <a:gd name="T10" fmla="*/ 2147483647 w 135"/>
                <a:gd name="T11" fmla="*/ 2147483647 h 89"/>
                <a:gd name="T12" fmla="*/ 2147483647 w 135"/>
                <a:gd name="T13" fmla="*/ 2147483647 h 89"/>
                <a:gd name="T14" fmla="*/ 2147483647 w 135"/>
                <a:gd name="T15" fmla="*/ 2147483647 h 89"/>
                <a:gd name="T16" fmla="*/ 2147483647 w 135"/>
                <a:gd name="T17" fmla="*/ 2147483647 h 89"/>
                <a:gd name="T18" fmla="*/ 2147483647 w 135"/>
                <a:gd name="T19" fmla="*/ 2147483647 h 89"/>
                <a:gd name="T20" fmla="*/ 2147483647 w 135"/>
                <a:gd name="T21" fmla="*/ 2147483647 h 89"/>
                <a:gd name="T22" fmla="*/ 2147483647 w 135"/>
                <a:gd name="T23" fmla="*/ 2147483647 h 89"/>
                <a:gd name="T24" fmla="*/ 2147483647 w 135"/>
                <a:gd name="T25" fmla="*/ 2147483647 h 89"/>
                <a:gd name="T26" fmla="*/ 2147483647 w 135"/>
                <a:gd name="T27" fmla="*/ 2147483647 h 89"/>
                <a:gd name="T28" fmla="*/ 2147483647 w 135"/>
                <a:gd name="T29" fmla="*/ 2147483647 h 89"/>
                <a:gd name="T30" fmla="*/ 2147483647 w 135"/>
                <a:gd name="T31" fmla="*/ 2147483647 h 89"/>
                <a:gd name="T32" fmla="*/ 2147483647 w 135"/>
                <a:gd name="T33" fmla="*/ 2147483647 h 89"/>
                <a:gd name="T34" fmla="*/ 2147483647 w 135"/>
                <a:gd name="T35" fmla="*/ 2147483647 h 89"/>
                <a:gd name="T36" fmla="*/ 2147483647 w 135"/>
                <a:gd name="T37" fmla="*/ 2147483647 h 89"/>
                <a:gd name="T38" fmla="*/ 2147483647 w 135"/>
                <a:gd name="T39" fmla="*/ 2147483647 h 89"/>
                <a:gd name="T40" fmla="*/ 2147483647 w 135"/>
                <a:gd name="T41" fmla="*/ 2147483647 h 89"/>
                <a:gd name="T42" fmla="*/ 2147483647 w 135"/>
                <a:gd name="T43" fmla="*/ 2147483647 h 89"/>
                <a:gd name="T44" fmla="*/ 2147483647 w 135"/>
                <a:gd name="T45" fmla="*/ 2147483647 h 89"/>
                <a:gd name="T46" fmla="*/ 2147483647 w 135"/>
                <a:gd name="T47" fmla="*/ 2147483647 h 89"/>
                <a:gd name="T48" fmla="*/ 2147483647 w 135"/>
                <a:gd name="T49" fmla="*/ 2147483647 h 89"/>
                <a:gd name="T50" fmla="*/ 2147483647 w 135"/>
                <a:gd name="T51" fmla="*/ 2147483647 h 89"/>
                <a:gd name="T52" fmla="*/ 2147483647 w 135"/>
                <a:gd name="T53" fmla="*/ 2147483647 h 89"/>
                <a:gd name="T54" fmla="*/ 2147483647 w 135"/>
                <a:gd name="T55" fmla="*/ 2147483647 h 89"/>
                <a:gd name="T56" fmla="*/ 2147483647 w 135"/>
                <a:gd name="T57" fmla="*/ 2147483647 h 89"/>
                <a:gd name="T58" fmla="*/ 2147483647 w 135"/>
                <a:gd name="T59" fmla="*/ 2147483647 h 89"/>
                <a:gd name="T60" fmla="*/ 2147483647 w 135"/>
                <a:gd name="T61" fmla="*/ 2147483647 h 89"/>
                <a:gd name="T62" fmla="*/ 2147483647 w 135"/>
                <a:gd name="T63" fmla="*/ 2147483647 h 89"/>
                <a:gd name="T64" fmla="*/ 2147483647 w 135"/>
                <a:gd name="T65" fmla="*/ 2147483647 h 89"/>
                <a:gd name="T66" fmla="*/ 2147483647 w 135"/>
                <a:gd name="T67" fmla="*/ 2147483647 h 89"/>
                <a:gd name="T68" fmla="*/ 2147483647 w 135"/>
                <a:gd name="T69" fmla="*/ 2147483647 h 89"/>
                <a:gd name="T70" fmla="*/ 2147483647 w 135"/>
                <a:gd name="T71" fmla="*/ 2147483647 h 89"/>
                <a:gd name="T72" fmla="*/ 2147483647 w 135"/>
                <a:gd name="T73" fmla="*/ 2147483647 h 89"/>
                <a:gd name="T74" fmla="*/ 2147483647 w 135"/>
                <a:gd name="T75" fmla="*/ 2147483647 h 89"/>
                <a:gd name="T76" fmla="*/ 2147483647 w 135"/>
                <a:gd name="T77" fmla="*/ 2147483647 h 89"/>
                <a:gd name="T78" fmla="*/ 2147483647 w 135"/>
                <a:gd name="T79" fmla="*/ 2147483647 h 89"/>
                <a:gd name="T80" fmla="*/ 2147483647 w 135"/>
                <a:gd name="T81" fmla="*/ 2147483647 h 89"/>
                <a:gd name="T82" fmla="*/ 2147483647 w 135"/>
                <a:gd name="T83" fmla="*/ 2147483647 h 89"/>
                <a:gd name="T84" fmla="*/ 2147483647 w 135"/>
                <a:gd name="T85" fmla="*/ 2147483647 h 89"/>
                <a:gd name="T86" fmla="*/ 2147483647 w 135"/>
                <a:gd name="T87" fmla="*/ 2147483647 h 89"/>
                <a:gd name="T88" fmla="*/ 2147483647 w 135"/>
                <a:gd name="T89" fmla="*/ 2147483647 h 89"/>
                <a:gd name="T90" fmla="*/ 2147483647 w 135"/>
                <a:gd name="T91" fmla="*/ 2147483647 h 89"/>
                <a:gd name="T92" fmla="*/ 2147483647 w 135"/>
                <a:gd name="T93" fmla="*/ 2147483647 h 89"/>
                <a:gd name="T94" fmla="*/ 2147483647 w 135"/>
                <a:gd name="T95" fmla="*/ 2147483647 h 89"/>
                <a:gd name="T96" fmla="*/ 2147483647 w 135"/>
                <a:gd name="T97" fmla="*/ 2147483647 h 89"/>
                <a:gd name="T98" fmla="*/ 2147483647 w 135"/>
                <a:gd name="T99" fmla="*/ 2147483647 h 89"/>
                <a:gd name="T100" fmla="*/ 2147483647 w 135"/>
                <a:gd name="T101" fmla="*/ 2147483647 h 89"/>
                <a:gd name="T102" fmla="*/ 2147483647 w 135"/>
                <a:gd name="T103" fmla="*/ 2147483647 h 89"/>
                <a:gd name="T104" fmla="*/ 2147483647 w 135"/>
                <a:gd name="T105" fmla="*/ 2147483647 h 89"/>
                <a:gd name="T106" fmla="*/ 2147483647 w 135"/>
                <a:gd name="T107" fmla="*/ 2147483647 h 89"/>
                <a:gd name="T108" fmla="*/ 2147483647 w 135"/>
                <a:gd name="T109" fmla="*/ 2147483647 h 89"/>
                <a:gd name="T110" fmla="*/ 2147483647 w 135"/>
                <a:gd name="T111" fmla="*/ 2147483647 h 89"/>
                <a:gd name="T112" fmla="*/ 2147483647 w 135"/>
                <a:gd name="T113" fmla="*/ 2147483647 h 89"/>
                <a:gd name="T114" fmla="*/ 2147483647 w 135"/>
                <a:gd name="T115" fmla="*/ 2147483647 h 89"/>
                <a:gd name="T116" fmla="*/ 2147483647 w 135"/>
                <a:gd name="T117" fmla="*/ 2147483647 h 89"/>
                <a:gd name="T118" fmla="*/ 2147483647 w 135"/>
                <a:gd name="T119" fmla="*/ 2147483647 h 89"/>
                <a:gd name="T120" fmla="*/ 2147483647 w 135"/>
                <a:gd name="T121" fmla="*/ 2147483647 h 89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35"/>
                <a:gd name="T184" fmla="*/ 0 h 89"/>
                <a:gd name="T185" fmla="*/ 135 w 135"/>
                <a:gd name="T186" fmla="*/ 89 h 89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35" h="89">
                  <a:moveTo>
                    <a:pt x="78" y="3"/>
                  </a:moveTo>
                  <a:lnTo>
                    <a:pt x="72" y="3"/>
                  </a:lnTo>
                  <a:lnTo>
                    <a:pt x="69" y="0"/>
                  </a:lnTo>
                  <a:lnTo>
                    <a:pt x="66" y="3"/>
                  </a:lnTo>
                  <a:lnTo>
                    <a:pt x="58" y="6"/>
                  </a:lnTo>
                  <a:lnTo>
                    <a:pt x="43" y="9"/>
                  </a:lnTo>
                  <a:lnTo>
                    <a:pt x="43" y="12"/>
                  </a:lnTo>
                  <a:lnTo>
                    <a:pt x="49" y="12"/>
                  </a:lnTo>
                  <a:lnTo>
                    <a:pt x="49" y="15"/>
                  </a:lnTo>
                  <a:lnTo>
                    <a:pt x="46" y="20"/>
                  </a:lnTo>
                  <a:lnTo>
                    <a:pt x="43" y="20"/>
                  </a:lnTo>
                  <a:lnTo>
                    <a:pt x="40" y="20"/>
                  </a:lnTo>
                  <a:lnTo>
                    <a:pt x="35" y="23"/>
                  </a:lnTo>
                  <a:lnTo>
                    <a:pt x="35" y="29"/>
                  </a:lnTo>
                  <a:lnTo>
                    <a:pt x="37" y="35"/>
                  </a:lnTo>
                  <a:lnTo>
                    <a:pt x="29" y="38"/>
                  </a:lnTo>
                  <a:lnTo>
                    <a:pt x="29" y="35"/>
                  </a:lnTo>
                  <a:lnTo>
                    <a:pt x="26" y="38"/>
                  </a:lnTo>
                  <a:lnTo>
                    <a:pt x="23" y="38"/>
                  </a:lnTo>
                  <a:lnTo>
                    <a:pt x="20" y="43"/>
                  </a:lnTo>
                  <a:lnTo>
                    <a:pt x="17" y="43"/>
                  </a:lnTo>
                  <a:lnTo>
                    <a:pt x="9" y="41"/>
                  </a:lnTo>
                  <a:lnTo>
                    <a:pt x="3" y="43"/>
                  </a:lnTo>
                  <a:lnTo>
                    <a:pt x="12" y="58"/>
                  </a:lnTo>
                  <a:lnTo>
                    <a:pt x="9" y="64"/>
                  </a:lnTo>
                  <a:lnTo>
                    <a:pt x="0" y="72"/>
                  </a:lnTo>
                  <a:lnTo>
                    <a:pt x="6" y="81"/>
                  </a:lnTo>
                  <a:lnTo>
                    <a:pt x="12" y="84"/>
                  </a:lnTo>
                  <a:lnTo>
                    <a:pt x="14" y="78"/>
                  </a:lnTo>
                  <a:lnTo>
                    <a:pt x="23" y="78"/>
                  </a:lnTo>
                  <a:lnTo>
                    <a:pt x="37" y="75"/>
                  </a:lnTo>
                  <a:lnTo>
                    <a:pt x="40" y="75"/>
                  </a:lnTo>
                  <a:lnTo>
                    <a:pt x="58" y="78"/>
                  </a:lnTo>
                  <a:lnTo>
                    <a:pt x="58" y="81"/>
                  </a:lnTo>
                  <a:lnTo>
                    <a:pt x="60" y="84"/>
                  </a:lnTo>
                  <a:lnTo>
                    <a:pt x="66" y="84"/>
                  </a:lnTo>
                  <a:lnTo>
                    <a:pt x="75" y="81"/>
                  </a:lnTo>
                  <a:lnTo>
                    <a:pt x="81" y="84"/>
                  </a:lnTo>
                  <a:lnTo>
                    <a:pt x="86" y="81"/>
                  </a:lnTo>
                  <a:lnTo>
                    <a:pt x="89" y="81"/>
                  </a:lnTo>
                  <a:lnTo>
                    <a:pt x="92" y="87"/>
                  </a:lnTo>
                  <a:lnTo>
                    <a:pt x="95" y="87"/>
                  </a:lnTo>
                  <a:lnTo>
                    <a:pt x="95" y="84"/>
                  </a:lnTo>
                  <a:lnTo>
                    <a:pt x="98" y="84"/>
                  </a:lnTo>
                  <a:lnTo>
                    <a:pt x="103" y="87"/>
                  </a:lnTo>
                  <a:lnTo>
                    <a:pt x="106" y="89"/>
                  </a:lnTo>
                  <a:lnTo>
                    <a:pt x="109" y="87"/>
                  </a:lnTo>
                  <a:lnTo>
                    <a:pt x="106" y="84"/>
                  </a:lnTo>
                  <a:lnTo>
                    <a:pt x="112" y="75"/>
                  </a:lnTo>
                  <a:lnTo>
                    <a:pt x="121" y="72"/>
                  </a:lnTo>
                  <a:lnTo>
                    <a:pt x="115" y="61"/>
                  </a:lnTo>
                  <a:lnTo>
                    <a:pt x="115" y="58"/>
                  </a:lnTo>
                  <a:lnTo>
                    <a:pt x="118" y="52"/>
                  </a:lnTo>
                  <a:lnTo>
                    <a:pt x="121" y="52"/>
                  </a:lnTo>
                  <a:lnTo>
                    <a:pt x="124" y="55"/>
                  </a:lnTo>
                  <a:lnTo>
                    <a:pt x="129" y="55"/>
                  </a:lnTo>
                  <a:lnTo>
                    <a:pt x="132" y="52"/>
                  </a:lnTo>
                  <a:lnTo>
                    <a:pt x="135" y="49"/>
                  </a:lnTo>
                  <a:lnTo>
                    <a:pt x="132" y="49"/>
                  </a:lnTo>
                  <a:lnTo>
                    <a:pt x="132" y="46"/>
                  </a:lnTo>
                  <a:lnTo>
                    <a:pt x="129" y="43"/>
                  </a:lnTo>
                  <a:lnTo>
                    <a:pt x="124" y="43"/>
                  </a:lnTo>
                  <a:lnTo>
                    <a:pt x="121" y="38"/>
                  </a:lnTo>
                  <a:lnTo>
                    <a:pt x="112" y="35"/>
                  </a:lnTo>
                  <a:lnTo>
                    <a:pt x="106" y="26"/>
                  </a:lnTo>
                  <a:lnTo>
                    <a:pt x="103" y="23"/>
                  </a:lnTo>
                  <a:lnTo>
                    <a:pt x="106" y="20"/>
                  </a:lnTo>
                  <a:lnTo>
                    <a:pt x="103" y="18"/>
                  </a:lnTo>
                  <a:lnTo>
                    <a:pt x="103" y="9"/>
                  </a:lnTo>
                  <a:lnTo>
                    <a:pt x="95" y="6"/>
                  </a:lnTo>
                  <a:lnTo>
                    <a:pt x="92" y="3"/>
                  </a:lnTo>
                  <a:lnTo>
                    <a:pt x="89" y="6"/>
                  </a:lnTo>
                  <a:lnTo>
                    <a:pt x="89" y="9"/>
                  </a:lnTo>
                  <a:lnTo>
                    <a:pt x="86" y="9"/>
                  </a:lnTo>
                  <a:lnTo>
                    <a:pt x="83" y="9"/>
                  </a:lnTo>
                  <a:lnTo>
                    <a:pt x="81" y="6"/>
                  </a:lnTo>
                  <a:lnTo>
                    <a:pt x="81" y="3"/>
                  </a:lnTo>
                  <a:lnTo>
                    <a:pt x="78" y="3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24" name="Freeform 231"/>
            <p:cNvSpPr>
              <a:spLocks noChangeAspect="1"/>
            </p:cNvSpPr>
            <p:nvPr/>
          </p:nvSpPr>
          <p:spPr bwMode="gray">
            <a:xfrm>
              <a:off x="7785730" y="2958883"/>
              <a:ext cx="161271" cy="100364"/>
            </a:xfrm>
            <a:custGeom>
              <a:avLst/>
              <a:gdLst>
                <a:gd name="T0" fmla="*/ 2147483647 w 63"/>
                <a:gd name="T1" fmla="*/ 2147483647 h 35"/>
                <a:gd name="T2" fmla="*/ 2147483647 w 63"/>
                <a:gd name="T3" fmla="*/ 2147483647 h 35"/>
                <a:gd name="T4" fmla="*/ 2147483647 w 63"/>
                <a:gd name="T5" fmla="*/ 2147483647 h 35"/>
                <a:gd name="T6" fmla="*/ 2147483647 w 63"/>
                <a:gd name="T7" fmla="*/ 2147483647 h 35"/>
                <a:gd name="T8" fmla="*/ 2147483647 w 63"/>
                <a:gd name="T9" fmla="*/ 2147483647 h 35"/>
                <a:gd name="T10" fmla="*/ 2147483647 w 63"/>
                <a:gd name="T11" fmla="*/ 2147483647 h 35"/>
                <a:gd name="T12" fmla="*/ 2147483647 w 63"/>
                <a:gd name="T13" fmla="*/ 2147483647 h 35"/>
                <a:gd name="T14" fmla="*/ 2147483647 w 63"/>
                <a:gd name="T15" fmla="*/ 0 h 35"/>
                <a:gd name="T16" fmla="*/ 2147483647 w 63"/>
                <a:gd name="T17" fmla="*/ 0 h 35"/>
                <a:gd name="T18" fmla="*/ 2147483647 w 63"/>
                <a:gd name="T19" fmla="*/ 0 h 35"/>
                <a:gd name="T20" fmla="*/ 2147483647 w 63"/>
                <a:gd name="T21" fmla="*/ 2147483647 h 35"/>
                <a:gd name="T22" fmla="*/ 2147483647 w 63"/>
                <a:gd name="T23" fmla="*/ 2147483647 h 35"/>
                <a:gd name="T24" fmla="*/ 0 w 63"/>
                <a:gd name="T25" fmla="*/ 2147483647 h 35"/>
                <a:gd name="T26" fmla="*/ 0 w 63"/>
                <a:gd name="T27" fmla="*/ 2147483647 h 35"/>
                <a:gd name="T28" fmla="*/ 0 w 63"/>
                <a:gd name="T29" fmla="*/ 2147483647 h 35"/>
                <a:gd name="T30" fmla="*/ 0 w 63"/>
                <a:gd name="T31" fmla="*/ 2147483647 h 35"/>
                <a:gd name="T32" fmla="*/ 0 w 63"/>
                <a:gd name="T33" fmla="*/ 2147483647 h 35"/>
                <a:gd name="T34" fmla="*/ 2147483647 w 63"/>
                <a:gd name="T35" fmla="*/ 2147483647 h 35"/>
                <a:gd name="T36" fmla="*/ 2147483647 w 63"/>
                <a:gd name="T37" fmla="*/ 2147483647 h 35"/>
                <a:gd name="T38" fmla="*/ 2147483647 w 63"/>
                <a:gd name="T39" fmla="*/ 2147483647 h 35"/>
                <a:gd name="T40" fmla="*/ 2147483647 w 63"/>
                <a:gd name="T41" fmla="*/ 2147483647 h 35"/>
                <a:gd name="T42" fmla="*/ 2147483647 w 63"/>
                <a:gd name="T43" fmla="*/ 2147483647 h 35"/>
                <a:gd name="T44" fmla="*/ 2147483647 w 63"/>
                <a:gd name="T45" fmla="*/ 2147483647 h 35"/>
                <a:gd name="T46" fmla="*/ 2147483647 w 63"/>
                <a:gd name="T47" fmla="*/ 2147483647 h 35"/>
                <a:gd name="T48" fmla="*/ 2147483647 w 63"/>
                <a:gd name="T49" fmla="*/ 2147483647 h 35"/>
                <a:gd name="T50" fmla="*/ 2147483647 w 63"/>
                <a:gd name="T51" fmla="*/ 2147483647 h 35"/>
                <a:gd name="T52" fmla="*/ 2147483647 w 63"/>
                <a:gd name="T53" fmla="*/ 2147483647 h 35"/>
                <a:gd name="T54" fmla="*/ 2147483647 w 63"/>
                <a:gd name="T55" fmla="*/ 2147483647 h 35"/>
                <a:gd name="T56" fmla="*/ 2147483647 w 63"/>
                <a:gd name="T57" fmla="*/ 2147483647 h 35"/>
                <a:gd name="T58" fmla="*/ 2147483647 w 63"/>
                <a:gd name="T59" fmla="*/ 2147483647 h 35"/>
                <a:gd name="T60" fmla="*/ 2147483647 w 63"/>
                <a:gd name="T61" fmla="*/ 2147483647 h 35"/>
                <a:gd name="T62" fmla="*/ 2147483647 w 63"/>
                <a:gd name="T63" fmla="*/ 2147483647 h 35"/>
                <a:gd name="T64" fmla="*/ 2147483647 w 63"/>
                <a:gd name="T65" fmla="*/ 2147483647 h 35"/>
                <a:gd name="T66" fmla="*/ 2147483647 w 63"/>
                <a:gd name="T67" fmla="*/ 2147483647 h 35"/>
                <a:gd name="T68" fmla="*/ 2147483647 w 63"/>
                <a:gd name="T69" fmla="*/ 2147483647 h 35"/>
                <a:gd name="T70" fmla="*/ 2147483647 w 63"/>
                <a:gd name="T71" fmla="*/ 2147483647 h 35"/>
                <a:gd name="T72" fmla="*/ 2147483647 w 63"/>
                <a:gd name="T73" fmla="*/ 2147483647 h 35"/>
                <a:gd name="T74" fmla="*/ 2147483647 w 63"/>
                <a:gd name="T75" fmla="*/ 2147483647 h 35"/>
                <a:gd name="T76" fmla="*/ 2147483647 w 63"/>
                <a:gd name="T77" fmla="*/ 2147483647 h 35"/>
                <a:gd name="T78" fmla="*/ 2147483647 w 63"/>
                <a:gd name="T79" fmla="*/ 2147483647 h 35"/>
                <a:gd name="T80" fmla="*/ 2147483647 w 63"/>
                <a:gd name="T81" fmla="*/ 2147483647 h 35"/>
                <a:gd name="T82" fmla="*/ 2147483647 w 63"/>
                <a:gd name="T83" fmla="*/ 2147483647 h 35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63"/>
                <a:gd name="T127" fmla="*/ 0 h 35"/>
                <a:gd name="T128" fmla="*/ 63 w 63"/>
                <a:gd name="T129" fmla="*/ 35 h 35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63" h="35">
                  <a:moveTo>
                    <a:pt x="60" y="3"/>
                  </a:moveTo>
                  <a:lnTo>
                    <a:pt x="60" y="3"/>
                  </a:lnTo>
                  <a:lnTo>
                    <a:pt x="57" y="3"/>
                  </a:lnTo>
                  <a:lnTo>
                    <a:pt x="51" y="3"/>
                  </a:lnTo>
                  <a:lnTo>
                    <a:pt x="43" y="3"/>
                  </a:lnTo>
                  <a:lnTo>
                    <a:pt x="34" y="0"/>
                  </a:lnTo>
                  <a:lnTo>
                    <a:pt x="28" y="0"/>
                  </a:lnTo>
                  <a:lnTo>
                    <a:pt x="17" y="3"/>
                  </a:lnTo>
                  <a:lnTo>
                    <a:pt x="0" y="6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2" y="20"/>
                  </a:lnTo>
                  <a:lnTo>
                    <a:pt x="5" y="23"/>
                  </a:lnTo>
                  <a:lnTo>
                    <a:pt x="11" y="26"/>
                  </a:lnTo>
                  <a:lnTo>
                    <a:pt x="14" y="23"/>
                  </a:lnTo>
                  <a:lnTo>
                    <a:pt x="17" y="26"/>
                  </a:lnTo>
                  <a:lnTo>
                    <a:pt x="17" y="29"/>
                  </a:lnTo>
                  <a:lnTo>
                    <a:pt x="25" y="26"/>
                  </a:lnTo>
                  <a:lnTo>
                    <a:pt x="37" y="29"/>
                  </a:lnTo>
                  <a:lnTo>
                    <a:pt x="45" y="35"/>
                  </a:lnTo>
                  <a:lnTo>
                    <a:pt x="48" y="35"/>
                  </a:lnTo>
                  <a:lnTo>
                    <a:pt x="51" y="32"/>
                  </a:lnTo>
                  <a:lnTo>
                    <a:pt x="57" y="35"/>
                  </a:lnTo>
                  <a:lnTo>
                    <a:pt x="63" y="32"/>
                  </a:lnTo>
                  <a:lnTo>
                    <a:pt x="57" y="29"/>
                  </a:lnTo>
                  <a:lnTo>
                    <a:pt x="57" y="23"/>
                  </a:lnTo>
                  <a:lnTo>
                    <a:pt x="54" y="17"/>
                  </a:lnTo>
                  <a:lnTo>
                    <a:pt x="57" y="9"/>
                  </a:lnTo>
                  <a:lnTo>
                    <a:pt x="60" y="3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25" name="Freeform 232"/>
            <p:cNvSpPr>
              <a:spLocks noChangeAspect="1"/>
            </p:cNvSpPr>
            <p:nvPr/>
          </p:nvSpPr>
          <p:spPr bwMode="gray">
            <a:xfrm>
              <a:off x="7658876" y="2436109"/>
              <a:ext cx="383509" cy="506232"/>
            </a:xfrm>
            <a:custGeom>
              <a:avLst/>
              <a:gdLst>
                <a:gd name="T0" fmla="*/ 2147483647 w 149"/>
                <a:gd name="T1" fmla="*/ 2147483647 h 175"/>
                <a:gd name="T2" fmla="*/ 2147483647 w 149"/>
                <a:gd name="T3" fmla="*/ 2147483647 h 175"/>
                <a:gd name="T4" fmla="*/ 2147483647 w 149"/>
                <a:gd name="T5" fmla="*/ 2147483647 h 175"/>
                <a:gd name="T6" fmla="*/ 2147483647 w 149"/>
                <a:gd name="T7" fmla="*/ 2147483647 h 175"/>
                <a:gd name="T8" fmla="*/ 2147483647 w 149"/>
                <a:gd name="T9" fmla="*/ 2147483647 h 175"/>
                <a:gd name="T10" fmla="*/ 2147483647 w 149"/>
                <a:gd name="T11" fmla="*/ 2147483647 h 175"/>
                <a:gd name="T12" fmla="*/ 2147483647 w 149"/>
                <a:gd name="T13" fmla="*/ 2147483647 h 175"/>
                <a:gd name="T14" fmla="*/ 2147483647 w 149"/>
                <a:gd name="T15" fmla="*/ 2147483647 h 175"/>
                <a:gd name="T16" fmla="*/ 2147483647 w 149"/>
                <a:gd name="T17" fmla="*/ 2147483647 h 175"/>
                <a:gd name="T18" fmla="*/ 2147483647 w 149"/>
                <a:gd name="T19" fmla="*/ 2147483647 h 175"/>
                <a:gd name="T20" fmla="*/ 2147483647 w 149"/>
                <a:gd name="T21" fmla="*/ 2147483647 h 175"/>
                <a:gd name="T22" fmla="*/ 2147483647 w 149"/>
                <a:gd name="T23" fmla="*/ 2147483647 h 175"/>
                <a:gd name="T24" fmla="*/ 2147483647 w 149"/>
                <a:gd name="T25" fmla="*/ 2147483647 h 175"/>
                <a:gd name="T26" fmla="*/ 0 w 149"/>
                <a:gd name="T27" fmla="*/ 2147483647 h 175"/>
                <a:gd name="T28" fmla="*/ 2147483647 w 149"/>
                <a:gd name="T29" fmla="*/ 2147483647 h 175"/>
                <a:gd name="T30" fmla="*/ 2147483647 w 149"/>
                <a:gd name="T31" fmla="*/ 2147483647 h 175"/>
                <a:gd name="T32" fmla="*/ 2147483647 w 149"/>
                <a:gd name="T33" fmla="*/ 2147483647 h 175"/>
                <a:gd name="T34" fmla="*/ 2147483647 w 149"/>
                <a:gd name="T35" fmla="*/ 2147483647 h 175"/>
                <a:gd name="T36" fmla="*/ 2147483647 w 149"/>
                <a:gd name="T37" fmla="*/ 2147483647 h 175"/>
                <a:gd name="T38" fmla="*/ 2147483647 w 149"/>
                <a:gd name="T39" fmla="*/ 2147483647 h 175"/>
                <a:gd name="T40" fmla="*/ 2147483647 w 149"/>
                <a:gd name="T41" fmla="*/ 2147483647 h 175"/>
                <a:gd name="T42" fmla="*/ 2147483647 w 149"/>
                <a:gd name="T43" fmla="*/ 2147483647 h 175"/>
                <a:gd name="T44" fmla="*/ 2147483647 w 149"/>
                <a:gd name="T45" fmla="*/ 2147483647 h 175"/>
                <a:gd name="T46" fmla="*/ 2147483647 w 149"/>
                <a:gd name="T47" fmla="*/ 2147483647 h 175"/>
                <a:gd name="T48" fmla="*/ 2147483647 w 149"/>
                <a:gd name="T49" fmla="*/ 2147483647 h 175"/>
                <a:gd name="T50" fmla="*/ 2147483647 w 149"/>
                <a:gd name="T51" fmla="*/ 2147483647 h 175"/>
                <a:gd name="T52" fmla="*/ 2147483647 w 149"/>
                <a:gd name="T53" fmla="*/ 2147483647 h 175"/>
                <a:gd name="T54" fmla="*/ 2147483647 w 149"/>
                <a:gd name="T55" fmla="*/ 2147483647 h 175"/>
                <a:gd name="T56" fmla="*/ 2147483647 w 149"/>
                <a:gd name="T57" fmla="*/ 2147483647 h 175"/>
                <a:gd name="T58" fmla="*/ 2147483647 w 149"/>
                <a:gd name="T59" fmla="*/ 2147483647 h 175"/>
                <a:gd name="T60" fmla="*/ 2147483647 w 149"/>
                <a:gd name="T61" fmla="*/ 2147483647 h 175"/>
                <a:gd name="T62" fmla="*/ 2147483647 w 149"/>
                <a:gd name="T63" fmla="*/ 2147483647 h 175"/>
                <a:gd name="T64" fmla="*/ 2147483647 w 149"/>
                <a:gd name="T65" fmla="*/ 2147483647 h 175"/>
                <a:gd name="T66" fmla="*/ 2147483647 w 149"/>
                <a:gd name="T67" fmla="*/ 2147483647 h 175"/>
                <a:gd name="T68" fmla="*/ 2147483647 w 149"/>
                <a:gd name="T69" fmla="*/ 2147483647 h 175"/>
                <a:gd name="T70" fmla="*/ 2147483647 w 149"/>
                <a:gd name="T71" fmla="*/ 2147483647 h 175"/>
                <a:gd name="T72" fmla="*/ 2147483647 w 149"/>
                <a:gd name="T73" fmla="*/ 2147483647 h 175"/>
                <a:gd name="T74" fmla="*/ 2147483647 w 149"/>
                <a:gd name="T75" fmla="*/ 2147483647 h 175"/>
                <a:gd name="T76" fmla="*/ 2147483647 w 149"/>
                <a:gd name="T77" fmla="*/ 2147483647 h 175"/>
                <a:gd name="T78" fmla="*/ 2147483647 w 149"/>
                <a:gd name="T79" fmla="*/ 2147483647 h 175"/>
                <a:gd name="T80" fmla="*/ 2147483647 w 149"/>
                <a:gd name="T81" fmla="*/ 2147483647 h 175"/>
                <a:gd name="T82" fmla="*/ 2147483647 w 149"/>
                <a:gd name="T83" fmla="*/ 2147483647 h 175"/>
                <a:gd name="T84" fmla="*/ 2147483647 w 149"/>
                <a:gd name="T85" fmla="*/ 2147483647 h 175"/>
                <a:gd name="T86" fmla="*/ 2147483647 w 149"/>
                <a:gd name="T87" fmla="*/ 2147483647 h 175"/>
                <a:gd name="T88" fmla="*/ 2147483647 w 149"/>
                <a:gd name="T89" fmla="*/ 2147483647 h 175"/>
                <a:gd name="T90" fmla="*/ 2147483647 w 149"/>
                <a:gd name="T91" fmla="*/ 2147483647 h 175"/>
                <a:gd name="T92" fmla="*/ 2147483647 w 149"/>
                <a:gd name="T93" fmla="*/ 2147483647 h 175"/>
                <a:gd name="T94" fmla="*/ 2147483647 w 149"/>
                <a:gd name="T95" fmla="*/ 2147483647 h 175"/>
                <a:gd name="T96" fmla="*/ 2147483647 w 149"/>
                <a:gd name="T97" fmla="*/ 2147483647 h 175"/>
                <a:gd name="T98" fmla="*/ 2147483647 w 149"/>
                <a:gd name="T99" fmla="*/ 2147483647 h 175"/>
                <a:gd name="T100" fmla="*/ 2147483647 w 149"/>
                <a:gd name="T101" fmla="*/ 2147483647 h 175"/>
                <a:gd name="T102" fmla="*/ 2147483647 w 149"/>
                <a:gd name="T103" fmla="*/ 2147483647 h 175"/>
                <a:gd name="T104" fmla="*/ 2147483647 w 149"/>
                <a:gd name="T105" fmla="*/ 2147483647 h 175"/>
                <a:gd name="T106" fmla="*/ 2147483647 w 149"/>
                <a:gd name="T107" fmla="*/ 2147483647 h 175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149"/>
                <a:gd name="T163" fmla="*/ 0 h 175"/>
                <a:gd name="T164" fmla="*/ 149 w 149"/>
                <a:gd name="T165" fmla="*/ 175 h 175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149" h="175">
                  <a:moveTo>
                    <a:pt x="97" y="18"/>
                  </a:moveTo>
                  <a:lnTo>
                    <a:pt x="97" y="18"/>
                  </a:lnTo>
                  <a:lnTo>
                    <a:pt x="97" y="12"/>
                  </a:lnTo>
                  <a:lnTo>
                    <a:pt x="100" y="9"/>
                  </a:lnTo>
                  <a:lnTo>
                    <a:pt x="100" y="6"/>
                  </a:lnTo>
                  <a:lnTo>
                    <a:pt x="92" y="3"/>
                  </a:lnTo>
                  <a:lnTo>
                    <a:pt x="83" y="0"/>
                  </a:lnTo>
                  <a:lnTo>
                    <a:pt x="71" y="3"/>
                  </a:lnTo>
                  <a:lnTo>
                    <a:pt x="69" y="6"/>
                  </a:lnTo>
                  <a:lnTo>
                    <a:pt x="63" y="6"/>
                  </a:lnTo>
                  <a:lnTo>
                    <a:pt x="63" y="9"/>
                  </a:lnTo>
                  <a:lnTo>
                    <a:pt x="63" y="12"/>
                  </a:lnTo>
                  <a:lnTo>
                    <a:pt x="63" y="18"/>
                  </a:lnTo>
                  <a:lnTo>
                    <a:pt x="63" y="20"/>
                  </a:lnTo>
                  <a:lnTo>
                    <a:pt x="60" y="20"/>
                  </a:lnTo>
                  <a:lnTo>
                    <a:pt x="57" y="20"/>
                  </a:lnTo>
                  <a:lnTo>
                    <a:pt x="49" y="26"/>
                  </a:lnTo>
                  <a:lnTo>
                    <a:pt x="37" y="23"/>
                  </a:lnTo>
                  <a:lnTo>
                    <a:pt x="34" y="23"/>
                  </a:lnTo>
                  <a:lnTo>
                    <a:pt x="28" y="23"/>
                  </a:lnTo>
                  <a:lnTo>
                    <a:pt x="23" y="23"/>
                  </a:lnTo>
                  <a:lnTo>
                    <a:pt x="20" y="23"/>
                  </a:lnTo>
                  <a:lnTo>
                    <a:pt x="17" y="23"/>
                  </a:lnTo>
                  <a:lnTo>
                    <a:pt x="14" y="20"/>
                  </a:lnTo>
                  <a:lnTo>
                    <a:pt x="8" y="15"/>
                  </a:lnTo>
                  <a:lnTo>
                    <a:pt x="3" y="15"/>
                  </a:lnTo>
                  <a:lnTo>
                    <a:pt x="3" y="18"/>
                  </a:lnTo>
                  <a:lnTo>
                    <a:pt x="0" y="18"/>
                  </a:lnTo>
                  <a:lnTo>
                    <a:pt x="8" y="23"/>
                  </a:lnTo>
                  <a:lnTo>
                    <a:pt x="17" y="26"/>
                  </a:lnTo>
                  <a:lnTo>
                    <a:pt x="23" y="26"/>
                  </a:lnTo>
                  <a:lnTo>
                    <a:pt x="28" y="26"/>
                  </a:lnTo>
                  <a:lnTo>
                    <a:pt x="34" y="32"/>
                  </a:lnTo>
                  <a:lnTo>
                    <a:pt x="37" y="35"/>
                  </a:lnTo>
                  <a:lnTo>
                    <a:pt x="40" y="41"/>
                  </a:lnTo>
                  <a:lnTo>
                    <a:pt x="40" y="43"/>
                  </a:lnTo>
                  <a:lnTo>
                    <a:pt x="40" y="46"/>
                  </a:lnTo>
                  <a:lnTo>
                    <a:pt x="43" y="52"/>
                  </a:lnTo>
                  <a:lnTo>
                    <a:pt x="43" y="58"/>
                  </a:lnTo>
                  <a:lnTo>
                    <a:pt x="43" y="61"/>
                  </a:lnTo>
                  <a:lnTo>
                    <a:pt x="43" y="64"/>
                  </a:lnTo>
                  <a:lnTo>
                    <a:pt x="49" y="72"/>
                  </a:lnTo>
                  <a:lnTo>
                    <a:pt x="57" y="75"/>
                  </a:lnTo>
                  <a:lnTo>
                    <a:pt x="63" y="78"/>
                  </a:lnTo>
                  <a:lnTo>
                    <a:pt x="66" y="84"/>
                  </a:lnTo>
                  <a:lnTo>
                    <a:pt x="66" y="86"/>
                  </a:lnTo>
                  <a:lnTo>
                    <a:pt x="63" y="89"/>
                  </a:lnTo>
                  <a:lnTo>
                    <a:pt x="57" y="86"/>
                  </a:lnTo>
                  <a:lnTo>
                    <a:pt x="57" y="84"/>
                  </a:lnTo>
                  <a:lnTo>
                    <a:pt x="51" y="86"/>
                  </a:lnTo>
                  <a:lnTo>
                    <a:pt x="51" y="92"/>
                  </a:lnTo>
                  <a:lnTo>
                    <a:pt x="49" y="98"/>
                  </a:lnTo>
                  <a:lnTo>
                    <a:pt x="43" y="104"/>
                  </a:lnTo>
                  <a:lnTo>
                    <a:pt x="31" y="109"/>
                  </a:lnTo>
                  <a:lnTo>
                    <a:pt x="26" y="115"/>
                  </a:lnTo>
                  <a:lnTo>
                    <a:pt x="23" y="115"/>
                  </a:lnTo>
                  <a:lnTo>
                    <a:pt x="17" y="115"/>
                  </a:lnTo>
                  <a:lnTo>
                    <a:pt x="14" y="124"/>
                  </a:lnTo>
                  <a:lnTo>
                    <a:pt x="11" y="124"/>
                  </a:lnTo>
                  <a:lnTo>
                    <a:pt x="14" y="127"/>
                  </a:lnTo>
                  <a:lnTo>
                    <a:pt x="17" y="132"/>
                  </a:lnTo>
                  <a:lnTo>
                    <a:pt x="17" y="135"/>
                  </a:lnTo>
                  <a:lnTo>
                    <a:pt x="14" y="135"/>
                  </a:lnTo>
                  <a:lnTo>
                    <a:pt x="14" y="138"/>
                  </a:lnTo>
                  <a:lnTo>
                    <a:pt x="17" y="144"/>
                  </a:lnTo>
                  <a:lnTo>
                    <a:pt x="20" y="144"/>
                  </a:lnTo>
                  <a:lnTo>
                    <a:pt x="20" y="147"/>
                  </a:lnTo>
                  <a:lnTo>
                    <a:pt x="20" y="150"/>
                  </a:lnTo>
                  <a:lnTo>
                    <a:pt x="20" y="153"/>
                  </a:lnTo>
                  <a:lnTo>
                    <a:pt x="17" y="155"/>
                  </a:lnTo>
                  <a:lnTo>
                    <a:pt x="17" y="161"/>
                  </a:lnTo>
                  <a:lnTo>
                    <a:pt x="20" y="164"/>
                  </a:lnTo>
                  <a:lnTo>
                    <a:pt x="23" y="164"/>
                  </a:lnTo>
                  <a:lnTo>
                    <a:pt x="28" y="164"/>
                  </a:lnTo>
                  <a:lnTo>
                    <a:pt x="26" y="167"/>
                  </a:lnTo>
                  <a:lnTo>
                    <a:pt x="28" y="170"/>
                  </a:lnTo>
                  <a:lnTo>
                    <a:pt x="34" y="167"/>
                  </a:lnTo>
                  <a:lnTo>
                    <a:pt x="34" y="173"/>
                  </a:lnTo>
                  <a:lnTo>
                    <a:pt x="40" y="170"/>
                  </a:lnTo>
                  <a:lnTo>
                    <a:pt x="43" y="173"/>
                  </a:lnTo>
                  <a:lnTo>
                    <a:pt x="43" y="175"/>
                  </a:lnTo>
                  <a:lnTo>
                    <a:pt x="51" y="175"/>
                  </a:lnTo>
                  <a:lnTo>
                    <a:pt x="60" y="173"/>
                  </a:lnTo>
                  <a:lnTo>
                    <a:pt x="66" y="170"/>
                  </a:lnTo>
                  <a:lnTo>
                    <a:pt x="74" y="167"/>
                  </a:lnTo>
                  <a:lnTo>
                    <a:pt x="77" y="167"/>
                  </a:lnTo>
                  <a:lnTo>
                    <a:pt x="80" y="167"/>
                  </a:lnTo>
                  <a:lnTo>
                    <a:pt x="86" y="167"/>
                  </a:lnTo>
                  <a:lnTo>
                    <a:pt x="94" y="164"/>
                  </a:lnTo>
                  <a:lnTo>
                    <a:pt x="106" y="164"/>
                  </a:lnTo>
                  <a:lnTo>
                    <a:pt x="115" y="155"/>
                  </a:lnTo>
                  <a:lnTo>
                    <a:pt x="129" y="144"/>
                  </a:lnTo>
                  <a:lnTo>
                    <a:pt x="138" y="135"/>
                  </a:lnTo>
                  <a:lnTo>
                    <a:pt x="143" y="127"/>
                  </a:lnTo>
                  <a:lnTo>
                    <a:pt x="149" y="124"/>
                  </a:lnTo>
                  <a:lnTo>
                    <a:pt x="138" y="115"/>
                  </a:lnTo>
                  <a:lnTo>
                    <a:pt x="129" y="109"/>
                  </a:lnTo>
                  <a:lnTo>
                    <a:pt x="126" y="109"/>
                  </a:lnTo>
                  <a:lnTo>
                    <a:pt x="132" y="101"/>
                  </a:lnTo>
                  <a:lnTo>
                    <a:pt x="123" y="95"/>
                  </a:lnTo>
                  <a:lnTo>
                    <a:pt x="126" y="95"/>
                  </a:lnTo>
                  <a:lnTo>
                    <a:pt x="126" y="89"/>
                  </a:lnTo>
                  <a:lnTo>
                    <a:pt x="120" y="86"/>
                  </a:lnTo>
                  <a:lnTo>
                    <a:pt x="117" y="89"/>
                  </a:lnTo>
                  <a:lnTo>
                    <a:pt x="117" y="86"/>
                  </a:lnTo>
                  <a:lnTo>
                    <a:pt x="120" y="81"/>
                  </a:lnTo>
                  <a:lnTo>
                    <a:pt x="117" y="72"/>
                  </a:lnTo>
                  <a:lnTo>
                    <a:pt x="120" y="69"/>
                  </a:lnTo>
                  <a:lnTo>
                    <a:pt x="115" y="64"/>
                  </a:lnTo>
                  <a:lnTo>
                    <a:pt x="106" y="55"/>
                  </a:lnTo>
                  <a:lnTo>
                    <a:pt x="106" y="52"/>
                  </a:lnTo>
                  <a:lnTo>
                    <a:pt x="106" y="49"/>
                  </a:lnTo>
                  <a:lnTo>
                    <a:pt x="109" y="43"/>
                  </a:lnTo>
                  <a:lnTo>
                    <a:pt x="112" y="43"/>
                  </a:lnTo>
                  <a:lnTo>
                    <a:pt x="115" y="41"/>
                  </a:lnTo>
                  <a:lnTo>
                    <a:pt x="109" y="35"/>
                  </a:lnTo>
                  <a:lnTo>
                    <a:pt x="97" y="32"/>
                  </a:lnTo>
                  <a:lnTo>
                    <a:pt x="94" y="32"/>
                  </a:lnTo>
                  <a:lnTo>
                    <a:pt x="94" y="23"/>
                  </a:lnTo>
                  <a:lnTo>
                    <a:pt x="97" y="23"/>
                  </a:lnTo>
                  <a:lnTo>
                    <a:pt x="97" y="18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26" name="Freeform 233"/>
            <p:cNvSpPr>
              <a:spLocks noChangeAspect="1"/>
            </p:cNvSpPr>
            <p:nvPr/>
          </p:nvSpPr>
          <p:spPr bwMode="gray">
            <a:xfrm>
              <a:off x="7702145" y="3041602"/>
              <a:ext cx="264523" cy="114702"/>
            </a:xfrm>
            <a:custGeom>
              <a:avLst/>
              <a:gdLst>
                <a:gd name="T0" fmla="*/ 2147483647 w 103"/>
                <a:gd name="T1" fmla="*/ 2147483647 h 40"/>
                <a:gd name="T2" fmla="*/ 2147483647 w 103"/>
                <a:gd name="T3" fmla="*/ 2147483647 h 40"/>
                <a:gd name="T4" fmla="*/ 2147483647 w 103"/>
                <a:gd name="T5" fmla="*/ 2147483647 h 40"/>
                <a:gd name="T6" fmla="*/ 2147483647 w 103"/>
                <a:gd name="T7" fmla="*/ 2147483647 h 40"/>
                <a:gd name="T8" fmla="*/ 2147483647 w 103"/>
                <a:gd name="T9" fmla="*/ 2147483647 h 40"/>
                <a:gd name="T10" fmla="*/ 2147483647 w 103"/>
                <a:gd name="T11" fmla="*/ 2147483647 h 40"/>
                <a:gd name="T12" fmla="*/ 2147483647 w 103"/>
                <a:gd name="T13" fmla="*/ 2147483647 h 40"/>
                <a:gd name="T14" fmla="*/ 2147483647 w 103"/>
                <a:gd name="T15" fmla="*/ 2147483647 h 40"/>
                <a:gd name="T16" fmla="*/ 2147483647 w 103"/>
                <a:gd name="T17" fmla="*/ 2147483647 h 40"/>
                <a:gd name="T18" fmla="*/ 2147483647 w 103"/>
                <a:gd name="T19" fmla="*/ 2147483647 h 40"/>
                <a:gd name="T20" fmla="*/ 2147483647 w 103"/>
                <a:gd name="T21" fmla="*/ 2147483647 h 40"/>
                <a:gd name="T22" fmla="*/ 2147483647 w 103"/>
                <a:gd name="T23" fmla="*/ 2147483647 h 40"/>
                <a:gd name="T24" fmla="*/ 2147483647 w 103"/>
                <a:gd name="T25" fmla="*/ 2147483647 h 40"/>
                <a:gd name="T26" fmla="*/ 2147483647 w 103"/>
                <a:gd name="T27" fmla="*/ 2147483647 h 40"/>
                <a:gd name="T28" fmla="*/ 2147483647 w 103"/>
                <a:gd name="T29" fmla="*/ 2147483647 h 40"/>
                <a:gd name="T30" fmla="*/ 0 w 103"/>
                <a:gd name="T31" fmla="*/ 2147483647 h 40"/>
                <a:gd name="T32" fmla="*/ 2147483647 w 103"/>
                <a:gd name="T33" fmla="*/ 2147483647 h 40"/>
                <a:gd name="T34" fmla="*/ 2147483647 w 103"/>
                <a:gd name="T35" fmla="*/ 2147483647 h 40"/>
                <a:gd name="T36" fmla="*/ 2147483647 w 103"/>
                <a:gd name="T37" fmla="*/ 2147483647 h 40"/>
                <a:gd name="T38" fmla="*/ 2147483647 w 103"/>
                <a:gd name="T39" fmla="*/ 2147483647 h 40"/>
                <a:gd name="T40" fmla="*/ 2147483647 w 103"/>
                <a:gd name="T41" fmla="*/ 2147483647 h 40"/>
                <a:gd name="T42" fmla="*/ 2147483647 w 103"/>
                <a:gd name="T43" fmla="*/ 2147483647 h 40"/>
                <a:gd name="T44" fmla="*/ 2147483647 w 103"/>
                <a:gd name="T45" fmla="*/ 2147483647 h 40"/>
                <a:gd name="T46" fmla="*/ 2147483647 w 103"/>
                <a:gd name="T47" fmla="*/ 2147483647 h 40"/>
                <a:gd name="T48" fmla="*/ 2147483647 w 103"/>
                <a:gd name="T49" fmla="*/ 2147483647 h 40"/>
                <a:gd name="T50" fmla="*/ 2147483647 w 103"/>
                <a:gd name="T51" fmla="*/ 2147483647 h 40"/>
                <a:gd name="T52" fmla="*/ 2147483647 w 103"/>
                <a:gd name="T53" fmla="*/ 2147483647 h 40"/>
                <a:gd name="T54" fmla="*/ 2147483647 w 103"/>
                <a:gd name="T55" fmla="*/ 2147483647 h 40"/>
                <a:gd name="T56" fmla="*/ 2147483647 w 103"/>
                <a:gd name="T57" fmla="*/ 2147483647 h 40"/>
                <a:gd name="T58" fmla="*/ 2147483647 w 103"/>
                <a:gd name="T59" fmla="*/ 2147483647 h 40"/>
                <a:gd name="T60" fmla="*/ 2147483647 w 103"/>
                <a:gd name="T61" fmla="*/ 2147483647 h 40"/>
                <a:gd name="T62" fmla="*/ 2147483647 w 103"/>
                <a:gd name="T63" fmla="*/ 2147483647 h 40"/>
                <a:gd name="T64" fmla="*/ 2147483647 w 103"/>
                <a:gd name="T65" fmla="*/ 2147483647 h 40"/>
                <a:gd name="T66" fmla="*/ 2147483647 w 103"/>
                <a:gd name="T67" fmla="*/ 2147483647 h 40"/>
                <a:gd name="T68" fmla="*/ 2147483647 w 103"/>
                <a:gd name="T69" fmla="*/ 2147483647 h 40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03"/>
                <a:gd name="T106" fmla="*/ 0 h 40"/>
                <a:gd name="T107" fmla="*/ 103 w 103"/>
                <a:gd name="T108" fmla="*/ 40 h 40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03" h="40">
                  <a:moveTo>
                    <a:pt x="98" y="11"/>
                  </a:moveTo>
                  <a:lnTo>
                    <a:pt x="98" y="11"/>
                  </a:lnTo>
                  <a:lnTo>
                    <a:pt x="92" y="11"/>
                  </a:lnTo>
                  <a:lnTo>
                    <a:pt x="89" y="11"/>
                  </a:lnTo>
                  <a:lnTo>
                    <a:pt x="86" y="11"/>
                  </a:lnTo>
                  <a:lnTo>
                    <a:pt x="86" y="9"/>
                  </a:lnTo>
                  <a:lnTo>
                    <a:pt x="83" y="9"/>
                  </a:lnTo>
                  <a:lnTo>
                    <a:pt x="80" y="9"/>
                  </a:lnTo>
                  <a:lnTo>
                    <a:pt x="77" y="9"/>
                  </a:lnTo>
                  <a:lnTo>
                    <a:pt x="75" y="9"/>
                  </a:lnTo>
                  <a:lnTo>
                    <a:pt x="69" y="3"/>
                  </a:lnTo>
                  <a:lnTo>
                    <a:pt x="57" y="0"/>
                  </a:lnTo>
                  <a:lnTo>
                    <a:pt x="49" y="3"/>
                  </a:lnTo>
                  <a:lnTo>
                    <a:pt x="49" y="14"/>
                  </a:lnTo>
                  <a:lnTo>
                    <a:pt x="43" y="17"/>
                  </a:lnTo>
                  <a:lnTo>
                    <a:pt x="37" y="17"/>
                  </a:lnTo>
                  <a:lnTo>
                    <a:pt x="23" y="9"/>
                  </a:lnTo>
                  <a:lnTo>
                    <a:pt x="17" y="6"/>
                  </a:lnTo>
                  <a:lnTo>
                    <a:pt x="11" y="6"/>
                  </a:lnTo>
                  <a:lnTo>
                    <a:pt x="6" y="11"/>
                  </a:lnTo>
                  <a:lnTo>
                    <a:pt x="0" y="17"/>
                  </a:lnTo>
                  <a:lnTo>
                    <a:pt x="0" y="23"/>
                  </a:lnTo>
                  <a:lnTo>
                    <a:pt x="3" y="34"/>
                  </a:lnTo>
                  <a:lnTo>
                    <a:pt x="17" y="29"/>
                  </a:lnTo>
                  <a:lnTo>
                    <a:pt x="20" y="29"/>
                  </a:lnTo>
                  <a:lnTo>
                    <a:pt x="32" y="29"/>
                  </a:lnTo>
                  <a:lnTo>
                    <a:pt x="34" y="29"/>
                  </a:lnTo>
                  <a:lnTo>
                    <a:pt x="46" y="26"/>
                  </a:lnTo>
                  <a:lnTo>
                    <a:pt x="57" y="26"/>
                  </a:lnTo>
                  <a:lnTo>
                    <a:pt x="63" y="32"/>
                  </a:lnTo>
                  <a:lnTo>
                    <a:pt x="69" y="34"/>
                  </a:lnTo>
                  <a:lnTo>
                    <a:pt x="83" y="40"/>
                  </a:lnTo>
                  <a:lnTo>
                    <a:pt x="98" y="37"/>
                  </a:lnTo>
                  <a:lnTo>
                    <a:pt x="103" y="34"/>
                  </a:lnTo>
                  <a:lnTo>
                    <a:pt x="100" y="26"/>
                  </a:lnTo>
                  <a:lnTo>
                    <a:pt x="95" y="23"/>
                  </a:lnTo>
                  <a:lnTo>
                    <a:pt x="95" y="20"/>
                  </a:lnTo>
                  <a:lnTo>
                    <a:pt x="98" y="1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27" name="Freeform 235"/>
            <p:cNvSpPr>
              <a:spLocks noChangeAspect="1"/>
            </p:cNvSpPr>
            <p:nvPr/>
          </p:nvSpPr>
          <p:spPr bwMode="gray">
            <a:xfrm>
              <a:off x="7953884" y="4051858"/>
              <a:ext cx="4917" cy="17646"/>
            </a:xfrm>
            <a:custGeom>
              <a:avLst/>
              <a:gdLst>
                <a:gd name="T0" fmla="*/ 2147483647 w 2"/>
                <a:gd name="T1" fmla="*/ 2147483647 h 6"/>
                <a:gd name="T2" fmla="*/ 2147483647 w 2"/>
                <a:gd name="T3" fmla="*/ 0 h 6"/>
                <a:gd name="T4" fmla="*/ 0 w 2"/>
                <a:gd name="T5" fmla="*/ 2147483647 h 6"/>
                <a:gd name="T6" fmla="*/ 2147483647 w 2"/>
                <a:gd name="T7" fmla="*/ 2147483647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"/>
                <a:gd name="T13" fmla="*/ 0 h 6"/>
                <a:gd name="T14" fmla="*/ 2 w 2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" h="6">
                  <a:moveTo>
                    <a:pt x="2" y="6"/>
                  </a:moveTo>
                  <a:lnTo>
                    <a:pt x="2" y="0"/>
                  </a:lnTo>
                  <a:lnTo>
                    <a:pt x="0" y="6"/>
                  </a:lnTo>
                  <a:lnTo>
                    <a:pt x="2" y="6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28" name="Freeform 236"/>
            <p:cNvSpPr>
              <a:spLocks noChangeAspect="1"/>
            </p:cNvSpPr>
            <p:nvPr/>
          </p:nvSpPr>
          <p:spPr bwMode="gray">
            <a:xfrm>
              <a:off x="7966668" y="4143399"/>
              <a:ext cx="14751" cy="17646"/>
            </a:xfrm>
            <a:custGeom>
              <a:avLst/>
              <a:gdLst>
                <a:gd name="T0" fmla="*/ 0 w 6"/>
                <a:gd name="T1" fmla="*/ 2147483647 h 6"/>
                <a:gd name="T2" fmla="*/ 0 w 6"/>
                <a:gd name="T3" fmla="*/ 2147483647 h 6"/>
                <a:gd name="T4" fmla="*/ 2147483647 w 6"/>
                <a:gd name="T5" fmla="*/ 2147483647 h 6"/>
                <a:gd name="T6" fmla="*/ 2147483647 w 6"/>
                <a:gd name="T7" fmla="*/ 0 h 6"/>
                <a:gd name="T8" fmla="*/ 0 w 6"/>
                <a:gd name="T9" fmla="*/ 2147483647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0" y="3"/>
                  </a:moveTo>
                  <a:lnTo>
                    <a:pt x="0" y="6"/>
                  </a:lnTo>
                  <a:lnTo>
                    <a:pt x="6" y="6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29" name="Freeform 237"/>
            <p:cNvSpPr>
              <a:spLocks noChangeAspect="1"/>
            </p:cNvSpPr>
            <p:nvPr/>
          </p:nvSpPr>
          <p:spPr bwMode="gray">
            <a:xfrm>
              <a:off x="7724762" y="3564376"/>
              <a:ext cx="360891" cy="248152"/>
            </a:xfrm>
            <a:custGeom>
              <a:avLst/>
              <a:gdLst>
                <a:gd name="T0" fmla="*/ 2147483647 w 140"/>
                <a:gd name="T1" fmla="*/ 2147483647 h 86"/>
                <a:gd name="T2" fmla="*/ 2147483647 w 140"/>
                <a:gd name="T3" fmla="*/ 2147483647 h 86"/>
                <a:gd name="T4" fmla="*/ 2147483647 w 140"/>
                <a:gd name="T5" fmla="*/ 2147483647 h 86"/>
                <a:gd name="T6" fmla="*/ 2147483647 w 140"/>
                <a:gd name="T7" fmla="*/ 2147483647 h 86"/>
                <a:gd name="T8" fmla="*/ 2147483647 w 140"/>
                <a:gd name="T9" fmla="*/ 2147483647 h 86"/>
                <a:gd name="T10" fmla="*/ 2147483647 w 140"/>
                <a:gd name="T11" fmla="*/ 2147483647 h 86"/>
                <a:gd name="T12" fmla="*/ 2147483647 w 140"/>
                <a:gd name="T13" fmla="*/ 2147483647 h 86"/>
                <a:gd name="T14" fmla="*/ 2147483647 w 140"/>
                <a:gd name="T15" fmla="*/ 2147483647 h 86"/>
                <a:gd name="T16" fmla="*/ 2147483647 w 140"/>
                <a:gd name="T17" fmla="*/ 2147483647 h 86"/>
                <a:gd name="T18" fmla="*/ 2147483647 w 140"/>
                <a:gd name="T19" fmla="*/ 2147483647 h 86"/>
                <a:gd name="T20" fmla="*/ 2147483647 w 140"/>
                <a:gd name="T21" fmla="*/ 2147483647 h 86"/>
                <a:gd name="T22" fmla="*/ 2147483647 w 140"/>
                <a:gd name="T23" fmla="*/ 2147483647 h 86"/>
                <a:gd name="T24" fmla="*/ 2147483647 w 140"/>
                <a:gd name="T25" fmla="*/ 2147483647 h 86"/>
                <a:gd name="T26" fmla="*/ 2147483647 w 140"/>
                <a:gd name="T27" fmla="*/ 2147483647 h 86"/>
                <a:gd name="T28" fmla="*/ 2147483647 w 140"/>
                <a:gd name="T29" fmla="*/ 2147483647 h 86"/>
                <a:gd name="T30" fmla="*/ 2147483647 w 140"/>
                <a:gd name="T31" fmla="*/ 0 h 86"/>
                <a:gd name="T32" fmla="*/ 2147483647 w 140"/>
                <a:gd name="T33" fmla="*/ 2147483647 h 86"/>
                <a:gd name="T34" fmla="*/ 2147483647 w 140"/>
                <a:gd name="T35" fmla="*/ 2147483647 h 86"/>
                <a:gd name="T36" fmla="*/ 2147483647 w 140"/>
                <a:gd name="T37" fmla="*/ 2147483647 h 86"/>
                <a:gd name="T38" fmla="*/ 2147483647 w 140"/>
                <a:gd name="T39" fmla="*/ 2147483647 h 86"/>
                <a:gd name="T40" fmla="*/ 2147483647 w 140"/>
                <a:gd name="T41" fmla="*/ 2147483647 h 86"/>
                <a:gd name="T42" fmla="*/ 2147483647 w 140"/>
                <a:gd name="T43" fmla="*/ 2147483647 h 86"/>
                <a:gd name="T44" fmla="*/ 2147483647 w 140"/>
                <a:gd name="T45" fmla="*/ 2147483647 h 86"/>
                <a:gd name="T46" fmla="*/ 2147483647 w 140"/>
                <a:gd name="T47" fmla="*/ 2147483647 h 86"/>
                <a:gd name="T48" fmla="*/ 2147483647 w 140"/>
                <a:gd name="T49" fmla="*/ 2147483647 h 86"/>
                <a:gd name="T50" fmla="*/ 2147483647 w 140"/>
                <a:gd name="T51" fmla="*/ 2147483647 h 86"/>
                <a:gd name="T52" fmla="*/ 2147483647 w 140"/>
                <a:gd name="T53" fmla="*/ 2147483647 h 86"/>
                <a:gd name="T54" fmla="*/ 2147483647 w 140"/>
                <a:gd name="T55" fmla="*/ 2147483647 h 86"/>
                <a:gd name="T56" fmla="*/ 2147483647 w 140"/>
                <a:gd name="T57" fmla="*/ 2147483647 h 86"/>
                <a:gd name="T58" fmla="*/ 2147483647 w 140"/>
                <a:gd name="T59" fmla="*/ 2147483647 h 86"/>
                <a:gd name="T60" fmla="*/ 2147483647 w 140"/>
                <a:gd name="T61" fmla="*/ 2147483647 h 86"/>
                <a:gd name="T62" fmla="*/ 2147483647 w 140"/>
                <a:gd name="T63" fmla="*/ 2147483647 h 86"/>
                <a:gd name="T64" fmla="*/ 2147483647 w 140"/>
                <a:gd name="T65" fmla="*/ 2147483647 h 86"/>
                <a:gd name="T66" fmla="*/ 2147483647 w 140"/>
                <a:gd name="T67" fmla="*/ 2147483647 h 86"/>
                <a:gd name="T68" fmla="*/ 2147483647 w 140"/>
                <a:gd name="T69" fmla="*/ 2147483647 h 86"/>
                <a:gd name="T70" fmla="*/ 2147483647 w 140"/>
                <a:gd name="T71" fmla="*/ 2147483647 h 86"/>
                <a:gd name="T72" fmla="*/ 2147483647 w 140"/>
                <a:gd name="T73" fmla="*/ 2147483647 h 86"/>
                <a:gd name="T74" fmla="*/ 2147483647 w 140"/>
                <a:gd name="T75" fmla="*/ 2147483647 h 86"/>
                <a:gd name="T76" fmla="*/ 0 w 140"/>
                <a:gd name="T77" fmla="*/ 2147483647 h 86"/>
                <a:gd name="T78" fmla="*/ 0 w 140"/>
                <a:gd name="T79" fmla="*/ 2147483647 h 86"/>
                <a:gd name="T80" fmla="*/ 2147483647 w 140"/>
                <a:gd name="T81" fmla="*/ 2147483647 h 86"/>
                <a:gd name="T82" fmla="*/ 2147483647 w 140"/>
                <a:gd name="T83" fmla="*/ 2147483647 h 86"/>
                <a:gd name="T84" fmla="*/ 2147483647 w 140"/>
                <a:gd name="T85" fmla="*/ 2147483647 h 86"/>
                <a:gd name="T86" fmla="*/ 2147483647 w 140"/>
                <a:gd name="T87" fmla="*/ 2147483647 h 86"/>
                <a:gd name="T88" fmla="*/ 2147483647 w 140"/>
                <a:gd name="T89" fmla="*/ 2147483647 h 86"/>
                <a:gd name="T90" fmla="*/ 2147483647 w 140"/>
                <a:gd name="T91" fmla="*/ 2147483647 h 86"/>
                <a:gd name="T92" fmla="*/ 2147483647 w 140"/>
                <a:gd name="T93" fmla="*/ 2147483647 h 86"/>
                <a:gd name="T94" fmla="*/ 2147483647 w 140"/>
                <a:gd name="T95" fmla="*/ 2147483647 h 86"/>
                <a:gd name="T96" fmla="*/ 2147483647 w 140"/>
                <a:gd name="T97" fmla="*/ 2147483647 h 86"/>
                <a:gd name="T98" fmla="*/ 2147483647 w 140"/>
                <a:gd name="T99" fmla="*/ 2147483647 h 86"/>
                <a:gd name="T100" fmla="*/ 2147483647 w 140"/>
                <a:gd name="T101" fmla="*/ 2147483647 h 86"/>
                <a:gd name="T102" fmla="*/ 2147483647 w 140"/>
                <a:gd name="T103" fmla="*/ 2147483647 h 86"/>
                <a:gd name="T104" fmla="*/ 2147483647 w 140"/>
                <a:gd name="T105" fmla="*/ 2147483647 h 86"/>
                <a:gd name="T106" fmla="*/ 2147483647 w 140"/>
                <a:gd name="T107" fmla="*/ 2147483647 h 86"/>
                <a:gd name="T108" fmla="*/ 2147483647 w 140"/>
                <a:gd name="T109" fmla="*/ 2147483647 h 86"/>
                <a:gd name="T110" fmla="*/ 2147483647 w 140"/>
                <a:gd name="T111" fmla="*/ 2147483647 h 86"/>
                <a:gd name="T112" fmla="*/ 2147483647 w 140"/>
                <a:gd name="T113" fmla="*/ 2147483647 h 86"/>
                <a:gd name="T114" fmla="*/ 2147483647 w 140"/>
                <a:gd name="T115" fmla="*/ 2147483647 h 86"/>
                <a:gd name="T116" fmla="*/ 2147483647 w 140"/>
                <a:gd name="T117" fmla="*/ 2147483647 h 86"/>
                <a:gd name="T118" fmla="*/ 2147483647 w 140"/>
                <a:gd name="T119" fmla="*/ 2147483647 h 86"/>
                <a:gd name="T120" fmla="*/ 2147483647 w 140"/>
                <a:gd name="T121" fmla="*/ 2147483647 h 86"/>
                <a:gd name="T122" fmla="*/ 2147483647 w 140"/>
                <a:gd name="T123" fmla="*/ 2147483647 h 8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40"/>
                <a:gd name="T187" fmla="*/ 0 h 86"/>
                <a:gd name="T188" fmla="*/ 140 w 140"/>
                <a:gd name="T189" fmla="*/ 86 h 8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40" h="86">
                  <a:moveTo>
                    <a:pt x="126" y="83"/>
                  </a:moveTo>
                  <a:lnTo>
                    <a:pt x="126" y="83"/>
                  </a:lnTo>
                  <a:lnTo>
                    <a:pt x="129" y="77"/>
                  </a:lnTo>
                  <a:lnTo>
                    <a:pt x="132" y="69"/>
                  </a:lnTo>
                  <a:lnTo>
                    <a:pt x="132" y="66"/>
                  </a:lnTo>
                  <a:lnTo>
                    <a:pt x="137" y="66"/>
                  </a:lnTo>
                  <a:lnTo>
                    <a:pt x="140" y="63"/>
                  </a:lnTo>
                  <a:lnTo>
                    <a:pt x="134" y="57"/>
                  </a:lnTo>
                  <a:lnTo>
                    <a:pt x="123" y="57"/>
                  </a:lnTo>
                  <a:lnTo>
                    <a:pt x="112" y="51"/>
                  </a:lnTo>
                  <a:lnTo>
                    <a:pt x="114" y="37"/>
                  </a:lnTo>
                  <a:lnTo>
                    <a:pt x="114" y="31"/>
                  </a:lnTo>
                  <a:lnTo>
                    <a:pt x="106" y="20"/>
                  </a:lnTo>
                  <a:lnTo>
                    <a:pt x="91" y="0"/>
                  </a:lnTo>
                  <a:lnTo>
                    <a:pt x="89" y="3"/>
                  </a:lnTo>
                  <a:lnTo>
                    <a:pt x="80" y="6"/>
                  </a:lnTo>
                  <a:lnTo>
                    <a:pt x="68" y="8"/>
                  </a:lnTo>
                  <a:lnTo>
                    <a:pt x="66" y="14"/>
                  </a:lnTo>
                  <a:lnTo>
                    <a:pt x="57" y="6"/>
                  </a:lnTo>
                  <a:lnTo>
                    <a:pt x="54" y="8"/>
                  </a:lnTo>
                  <a:lnTo>
                    <a:pt x="45" y="8"/>
                  </a:lnTo>
                  <a:lnTo>
                    <a:pt x="37" y="3"/>
                  </a:lnTo>
                  <a:lnTo>
                    <a:pt x="34" y="6"/>
                  </a:lnTo>
                  <a:lnTo>
                    <a:pt x="31" y="8"/>
                  </a:lnTo>
                  <a:lnTo>
                    <a:pt x="23" y="11"/>
                  </a:lnTo>
                  <a:lnTo>
                    <a:pt x="20" y="14"/>
                  </a:lnTo>
                  <a:lnTo>
                    <a:pt x="23" y="20"/>
                  </a:lnTo>
                  <a:lnTo>
                    <a:pt x="20" y="23"/>
                  </a:lnTo>
                  <a:lnTo>
                    <a:pt x="17" y="26"/>
                  </a:lnTo>
                  <a:lnTo>
                    <a:pt x="11" y="31"/>
                  </a:lnTo>
                  <a:lnTo>
                    <a:pt x="5" y="37"/>
                  </a:lnTo>
                  <a:lnTo>
                    <a:pt x="2" y="37"/>
                  </a:lnTo>
                  <a:lnTo>
                    <a:pt x="0" y="40"/>
                  </a:lnTo>
                  <a:lnTo>
                    <a:pt x="5" y="46"/>
                  </a:lnTo>
                  <a:lnTo>
                    <a:pt x="5" y="49"/>
                  </a:lnTo>
                  <a:lnTo>
                    <a:pt x="2" y="51"/>
                  </a:lnTo>
                  <a:lnTo>
                    <a:pt x="14" y="63"/>
                  </a:lnTo>
                  <a:lnTo>
                    <a:pt x="17" y="66"/>
                  </a:lnTo>
                  <a:lnTo>
                    <a:pt x="23" y="69"/>
                  </a:lnTo>
                  <a:lnTo>
                    <a:pt x="25" y="63"/>
                  </a:lnTo>
                  <a:lnTo>
                    <a:pt x="37" y="69"/>
                  </a:lnTo>
                  <a:lnTo>
                    <a:pt x="37" y="72"/>
                  </a:lnTo>
                  <a:lnTo>
                    <a:pt x="31" y="74"/>
                  </a:lnTo>
                  <a:lnTo>
                    <a:pt x="40" y="77"/>
                  </a:lnTo>
                  <a:lnTo>
                    <a:pt x="37" y="80"/>
                  </a:lnTo>
                  <a:lnTo>
                    <a:pt x="57" y="86"/>
                  </a:lnTo>
                  <a:lnTo>
                    <a:pt x="60" y="83"/>
                  </a:lnTo>
                  <a:lnTo>
                    <a:pt x="77" y="86"/>
                  </a:lnTo>
                  <a:lnTo>
                    <a:pt x="86" y="80"/>
                  </a:lnTo>
                  <a:lnTo>
                    <a:pt x="97" y="77"/>
                  </a:lnTo>
                  <a:lnTo>
                    <a:pt x="109" y="77"/>
                  </a:lnTo>
                  <a:lnTo>
                    <a:pt x="120" y="83"/>
                  </a:lnTo>
                  <a:lnTo>
                    <a:pt x="126" y="86"/>
                  </a:lnTo>
                  <a:lnTo>
                    <a:pt x="126" y="83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30" name="Freeform 238"/>
            <p:cNvSpPr>
              <a:spLocks noChangeAspect="1"/>
            </p:cNvSpPr>
            <p:nvPr/>
          </p:nvSpPr>
          <p:spPr bwMode="gray">
            <a:xfrm>
              <a:off x="7966668" y="3555552"/>
              <a:ext cx="118986" cy="154406"/>
            </a:xfrm>
            <a:custGeom>
              <a:avLst/>
              <a:gdLst>
                <a:gd name="T0" fmla="*/ 2147483647 w 46"/>
                <a:gd name="T1" fmla="*/ 2147483647 h 54"/>
                <a:gd name="T2" fmla="*/ 2147483647 w 46"/>
                <a:gd name="T3" fmla="*/ 2147483647 h 54"/>
                <a:gd name="T4" fmla="*/ 2147483647 w 46"/>
                <a:gd name="T5" fmla="*/ 0 h 54"/>
                <a:gd name="T6" fmla="*/ 0 w 46"/>
                <a:gd name="T7" fmla="*/ 2147483647 h 54"/>
                <a:gd name="T8" fmla="*/ 0 w 46"/>
                <a:gd name="T9" fmla="*/ 2147483647 h 54"/>
                <a:gd name="T10" fmla="*/ 2147483647 w 46"/>
                <a:gd name="T11" fmla="*/ 2147483647 h 54"/>
                <a:gd name="T12" fmla="*/ 2147483647 w 46"/>
                <a:gd name="T13" fmla="*/ 2147483647 h 54"/>
                <a:gd name="T14" fmla="*/ 2147483647 w 46"/>
                <a:gd name="T15" fmla="*/ 2147483647 h 54"/>
                <a:gd name="T16" fmla="*/ 2147483647 w 46"/>
                <a:gd name="T17" fmla="*/ 2147483647 h 54"/>
                <a:gd name="T18" fmla="*/ 2147483647 w 46"/>
                <a:gd name="T19" fmla="*/ 2147483647 h 54"/>
                <a:gd name="T20" fmla="*/ 2147483647 w 46"/>
                <a:gd name="T21" fmla="*/ 2147483647 h 54"/>
                <a:gd name="T22" fmla="*/ 2147483647 w 46"/>
                <a:gd name="T23" fmla="*/ 2147483647 h 54"/>
                <a:gd name="T24" fmla="*/ 2147483647 w 46"/>
                <a:gd name="T25" fmla="*/ 2147483647 h 54"/>
                <a:gd name="T26" fmla="*/ 2147483647 w 46"/>
                <a:gd name="T27" fmla="*/ 2147483647 h 54"/>
                <a:gd name="T28" fmla="*/ 2147483647 w 46"/>
                <a:gd name="T29" fmla="*/ 2147483647 h 54"/>
                <a:gd name="T30" fmla="*/ 2147483647 w 46"/>
                <a:gd name="T31" fmla="*/ 2147483647 h 54"/>
                <a:gd name="T32" fmla="*/ 2147483647 w 46"/>
                <a:gd name="T33" fmla="*/ 2147483647 h 54"/>
                <a:gd name="T34" fmla="*/ 2147483647 w 46"/>
                <a:gd name="T35" fmla="*/ 2147483647 h 54"/>
                <a:gd name="T36" fmla="*/ 2147483647 w 46"/>
                <a:gd name="T37" fmla="*/ 2147483647 h 54"/>
                <a:gd name="T38" fmla="*/ 2147483647 w 46"/>
                <a:gd name="T39" fmla="*/ 2147483647 h 54"/>
                <a:gd name="T40" fmla="*/ 2147483647 w 46"/>
                <a:gd name="T41" fmla="*/ 2147483647 h 54"/>
                <a:gd name="T42" fmla="*/ 2147483647 w 46"/>
                <a:gd name="T43" fmla="*/ 2147483647 h 54"/>
                <a:gd name="T44" fmla="*/ 2147483647 w 46"/>
                <a:gd name="T45" fmla="*/ 2147483647 h 54"/>
                <a:gd name="T46" fmla="*/ 2147483647 w 46"/>
                <a:gd name="T47" fmla="*/ 2147483647 h 54"/>
                <a:gd name="T48" fmla="*/ 2147483647 w 46"/>
                <a:gd name="T49" fmla="*/ 2147483647 h 54"/>
                <a:gd name="T50" fmla="*/ 2147483647 w 46"/>
                <a:gd name="T51" fmla="*/ 2147483647 h 54"/>
                <a:gd name="T52" fmla="*/ 2147483647 w 46"/>
                <a:gd name="T53" fmla="*/ 2147483647 h 54"/>
                <a:gd name="T54" fmla="*/ 2147483647 w 46"/>
                <a:gd name="T55" fmla="*/ 2147483647 h 54"/>
                <a:gd name="T56" fmla="*/ 2147483647 w 46"/>
                <a:gd name="T57" fmla="*/ 2147483647 h 54"/>
                <a:gd name="T58" fmla="*/ 2147483647 w 46"/>
                <a:gd name="T59" fmla="*/ 2147483647 h 54"/>
                <a:gd name="T60" fmla="*/ 2147483647 w 46"/>
                <a:gd name="T61" fmla="*/ 2147483647 h 54"/>
                <a:gd name="T62" fmla="*/ 2147483647 w 46"/>
                <a:gd name="T63" fmla="*/ 2147483647 h 54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46"/>
                <a:gd name="T97" fmla="*/ 0 h 54"/>
                <a:gd name="T98" fmla="*/ 46 w 46"/>
                <a:gd name="T99" fmla="*/ 54 h 54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46" h="54">
                  <a:moveTo>
                    <a:pt x="26" y="6"/>
                  </a:moveTo>
                  <a:lnTo>
                    <a:pt x="20" y="6"/>
                  </a:lnTo>
                  <a:lnTo>
                    <a:pt x="9" y="0"/>
                  </a:lnTo>
                  <a:lnTo>
                    <a:pt x="0" y="3"/>
                  </a:lnTo>
                  <a:lnTo>
                    <a:pt x="15" y="23"/>
                  </a:lnTo>
                  <a:lnTo>
                    <a:pt x="23" y="34"/>
                  </a:lnTo>
                  <a:lnTo>
                    <a:pt x="23" y="40"/>
                  </a:lnTo>
                  <a:lnTo>
                    <a:pt x="20" y="52"/>
                  </a:lnTo>
                  <a:lnTo>
                    <a:pt x="23" y="54"/>
                  </a:lnTo>
                  <a:lnTo>
                    <a:pt x="26" y="49"/>
                  </a:lnTo>
                  <a:lnTo>
                    <a:pt x="32" y="43"/>
                  </a:lnTo>
                  <a:lnTo>
                    <a:pt x="29" y="37"/>
                  </a:lnTo>
                  <a:lnTo>
                    <a:pt x="32" y="37"/>
                  </a:lnTo>
                  <a:lnTo>
                    <a:pt x="38" y="34"/>
                  </a:lnTo>
                  <a:lnTo>
                    <a:pt x="46" y="37"/>
                  </a:lnTo>
                  <a:lnTo>
                    <a:pt x="43" y="29"/>
                  </a:lnTo>
                  <a:lnTo>
                    <a:pt x="32" y="17"/>
                  </a:lnTo>
                  <a:lnTo>
                    <a:pt x="32" y="14"/>
                  </a:lnTo>
                  <a:lnTo>
                    <a:pt x="35" y="11"/>
                  </a:lnTo>
                  <a:lnTo>
                    <a:pt x="26" y="6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31" name="Freeform 239"/>
            <p:cNvSpPr>
              <a:spLocks noChangeAspect="1"/>
            </p:cNvSpPr>
            <p:nvPr/>
          </p:nvSpPr>
          <p:spPr bwMode="gray">
            <a:xfrm>
              <a:off x="7894882" y="4199647"/>
              <a:ext cx="12784" cy="9926"/>
            </a:xfrm>
            <a:custGeom>
              <a:avLst/>
              <a:gdLst>
                <a:gd name="T0" fmla="*/ 2147483647 w 5"/>
                <a:gd name="T1" fmla="*/ 2147483647 h 3"/>
                <a:gd name="T2" fmla="*/ 2147483647 w 5"/>
                <a:gd name="T3" fmla="*/ 0 h 3"/>
                <a:gd name="T4" fmla="*/ 0 w 5"/>
                <a:gd name="T5" fmla="*/ 0 h 3"/>
                <a:gd name="T6" fmla="*/ 2147483647 w 5"/>
                <a:gd name="T7" fmla="*/ 2147483647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"/>
                <a:gd name="T13" fmla="*/ 0 h 3"/>
                <a:gd name="T14" fmla="*/ 5 w 5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" h="3">
                  <a:moveTo>
                    <a:pt x="5" y="3"/>
                  </a:moveTo>
                  <a:lnTo>
                    <a:pt x="5" y="0"/>
                  </a:lnTo>
                  <a:lnTo>
                    <a:pt x="0" y="0"/>
                  </a:lnTo>
                  <a:lnTo>
                    <a:pt x="5" y="3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32" name="Rectangle 240"/>
            <p:cNvSpPr>
              <a:spLocks noChangeAspect="1" noChangeArrowheads="1"/>
            </p:cNvSpPr>
            <p:nvPr/>
          </p:nvSpPr>
          <p:spPr bwMode="gray">
            <a:xfrm>
              <a:off x="7894882" y="4152222"/>
              <a:ext cx="4917" cy="8823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SzPct val="75000"/>
              </a:pPr>
              <a:endParaRPr lang="de-DE"/>
            </a:p>
          </p:txBody>
        </p:sp>
        <p:sp>
          <p:nvSpPr>
            <p:cNvPr id="33" name="Rectangle 241"/>
            <p:cNvSpPr>
              <a:spLocks noChangeAspect="1" noChangeArrowheads="1"/>
            </p:cNvSpPr>
            <p:nvPr/>
          </p:nvSpPr>
          <p:spPr bwMode="gray">
            <a:xfrm>
              <a:off x="7973550" y="4209572"/>
              <a:ext cx="15733" cy="8823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SzPct val="75000"/>
              </a:pPr>
              <a:endParaRPr lang="de-DE"/>
            </a:p>
          </p:txBody>
        </p:sp>
        <p:sp>
          <p:nvSpPr>
            <p:cNvPr id="34" name="Rectangle 242"/>
            <p:cNvSpPr>
              <a:spLocks noChangeAspect="1" noChangeArrowheads="1"/>
            </p:cNvSpPr>
            <p:nvPr/>
          </p:nvSpPr>
          <p:spPr bwMode="gray">
            <a:xfrm>
              <a:off x="7243900" y="3207036"/>
              <a:ext cx="1967" cy="4412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SzPct val="75000"/>
              </a:pPr>
              <a:endParaRPr lang="de-DE"/>
            </a:p>
          </p:txBody>
        </p:sp>
        <p:sp>
          <p:nvSpPr>
            <p:cNvPr id="35" name="Freeform 245"/>
            <p:cNvSpPr>
              <a:spLocks noChangeAspect="1"/>
            </p:cNvSpPr>
            <p:nvPr/>
          </p:nvSpPr>
          <p:spPr bwMode="gray">
            <a:xfrm>
              <a:off x="6516216" y="3909584"/>
              <a:ext cx="129803" cy="282342"/>
            </a:xfrm>
            <a:custGeom>
              <a:avLst/>
              <a:gdLst>
                <a:gd name="T0" fmla="*/ 0 w 51"/>
                <a:gd name="T1" fmla="*/ 2147483647 h 98"/>
                <a:gd name="T2" fmla="*/ 2147483647 w 51"/>
                <a:gd name="T3" fmla="*/ 2147483647 h 98"/>
                <a:gd name="T4" fmla="*/ 2147483647 w 51"/>
                <a:gd name="T5" fmla="*/ 2147483647 h 98"/>
                <a:gd name="T6" fmla="*/ 2147483647 w 51"/>
                <a:gd name="T7" fmla="*/ 2147483647 h 98"/>
                <a:gd name="T8" fmla="*/ 2147483647 w 51"/>
                <a:gd name="T9" fmla="*/ 2147483647 h 98"/>
                <a:gd name="T10" fmla="*/ 2147483647 w 51"/>
                <a:gd name="T11" fmla="*/ 2147483647 h 98"/>
                <a:gd name="T12" fmla="*/ 2147483647 w 51"/>
                <a:gd name="T13" fmla="*/ 2147483647 h 98"/>
                <a:gd name="T14" fmla="*/ 2147483647 w 51"/>
                <a:gd name="T15" fmla="*/ 2147483647 h 98"/>
                <a:gd name="T16" fmla="*/ 2147483647 w 51"/>
                <a:gd name="T17" fmla="*/ 2147483647 h 98"/>
                <a:gd name="T18" fmla="*/ 2147483647 w 51"/>
                <a:gd name="T19" fmla="*/ 2147483647 h 98"/>
                <a:gd name="T20" fmla="*/ 2147483647 w 51"/>
                <a:gd name="T21" fmla="*/ 2147483647 h 98"/>
                <a:gd name="T22" fmla="*/ 2147483647 w 51"/>
                <a:gd name="T23" fmla="*/ 2147483647 h 98"/>
                <a:gd name="T24" fmla="*/ 2147483647 w 51"/>
                <a:gd name="T25" fmla="*/ 2147483647 h 98"/>
                <a:gd name="T26" fmla="*/ 2147483647 w 51"/>
                <a:gd name="T27" fmla="*/ 2147483647 h 98"/>
                <a:gd name="T28" fmla="*/ 2147483647 w 51"/>
                <a:gd name="T29" fmla="*/ 2147483647 h 98"/>
                <a:gd name="T30" fmla="*/ 2147483647 w 51"/>
                <a:gd name="T31" fmla="*/ 2147483647 h 98"/>
                <a:gd name="T32" fmla="*/ 2147483647 w 51"/>
                <a:gd name="T33" fmla="*/ 2147483647 h 98"/>
                <a:gd name="T34" fmla="*/ 2147483647 w 51"/>
                <a:gd name="T35" fmla="*/ 2147483647 h 98"/>
                <a:gd name="T36" fmla="*/ 2147483647 w 51"/>
                <a:gd name="T37" fmla="*/ 2147483647 h 98"/>
                <a:gd name="T38" fmla="*/ 2147483647 w 51"/>
                <a:gd name="T39" fmla="*/ 2147483647 h 98"/>
                <a:gd name="T40" fmla="*/ 2147483647 w 51"/>
                <a:gd name="T41" fmla="*/ 2147483647 h 98"/>
                <a:gd name="T42" fmla="*/ 2147483647 w 51"/>
                <a:gd name="T43" fmla="*/ 2147483647 h 98"/>
                <a:gd name="T44" fmla="*/ 2147483647 w 51"/>
                <a:gd name="T45" fmla="*/ 2147483647 h 98"/>
                <a:gd name="T46" fmla="*/ 2147483647 w 51"/>
                <a:gd name="T47" fmla="*/ 2147483647 h 98"/>
                <a:gd name="T48" fmla="*/ 2147483647 w 51"/>
                <a:gd name="T49" fmla="*/ 2147483647 h 98"/>
                <a:gd name="T50" fmla="*/ 2147483647 w 51"/>
                <a:gd name="T51" fmla="*/ 2147483647 h 98"/>
                <a:gd name="T52" fmla="*/ 2147483647 w 51"/>
                <a:gd name="T53" fmla="*/ 2147483647 h 98"/>
                <a:gd name="T54" fmla="*/ 2147483647 w 51"/>
                <a:gd name="T55" fmla="*/ 2147483647 h 98"/>
                <a:gd name="T56" fmla="*/ 2147483647 w 51"/>
                <a:gd name="T57" fmla="*/ 2147483647 h 98"/>
                <a:gd name="T58" fmla="*/ 2147483647 w 51"/>
                <a:gd name="T59" fmla="*/ 2147483647 h 98"/>
                <a:gd name="T60" fmla="*/ 2147483647 w 51"/>
                <a:gd name="T61" fmla="*/ 2147483647 h 98"/>
                <a:gd name="T62" fmla="*/ 2147483647 w 51"/>
                <a:gd name="T63" fmla="*/ 2147483647 h 98"/>
                <a:gd name="T64" fmla="*/ 2147483647 w 51"/>
                <a:gd name="T65" fmla="*/ 2147483647 h 98"/>
                <a:gd name="T66" fmla="*/ 2147483647 w 51"/>
                <a:gd name="T67" fmla="*/ 2147483647 h 98"/>
                <a:gd name="T68" fmla="*/ 2147483647 w 51"/>
                <a:gd name="T69" fmla="*/ 2147483647 h 98"/>
                <a:gd name="T70" fmla="*/ 2147483647 w 51"/>
                <a:gd name="T71" fmla="*/ 2147483647 h 98"/>
                <a:gd name="T72" fmla="*/ 2147483647 w 51"/>
                <a:gd name="T73" fmla="*/ 2147483647 h 98"/>
                <a:gd name="T74" fmla="*/ 2147483647 w 51"/>
                <a:gd name="T75" fmla="*/ 0 h 98"/>
                <a:gd name="T76" fmla="*/ 2147483647 w 51"/>
                <a:gd name="T77" fmla="*/ 2147483647 h 98"/>
                <a:gd name="T78" fmla="*/ 2147483647 w 51"/>
                <a:gd name="T79" fmla="*/ 2147483647 h 98"/>
                <a:gd name="T80" fmla="*/ 2147483647 w 51"/>
                <a:gd name="T81" fmla="*/ 2147483647 h 98"/>
                <a:gd name="T82" fmla="*/ 2147483647 w 51"/>
                <a:gd name="T83" fmla="*/ 2147483647 h 98"/>
                <a:gd name="T84" fmla="*/ 2147483647 w 51"/>
                <a:gd name="T85" fmla="*/ 2147483647 h 98"/>
                <a:gd name="T86" fmla="*/ 2147483647 w 51"/>
                <a:gd name="T87" fmla="*/ 2147483647 h 98"/>
                <a:gd name="T88" fmla="*/ 2147483647 w 51"/>
                <a:gd name="T89" fmla="*/ 2147483647 h 98"/>
                <a:gd name="T90" fmla="*/ 2147483647 w 51"/>
                <a:gd name="T91" fmla="*/ 2147483647 h 98"/>
                <a:gd name="T92" fmla="*/ 2147483647 w 51"/>
                <a:gd name="T93" fmla="*/ 2147483647 h 98"/>
                <a:gd name="T94" fmla="*/ 2147483647 w 51"/>
                <a:gd name="T95" fmla="*/ 2147483647 h 98"/>
                <a:gd name="T96" fmla="*/ 0 w 51"/>
                <a:gd name="T97" fmla="*/ 2147483647 h 98"/>
                <a:gd name="T98" fmla="*/ 0 w 51"/>
                <a:gd name="T99" fmla="*/ 2147483647 h 98"/>
                <a:gd name="T100" fmla="*/ 0 w 51"/>
                <a:gd name="T101" fmla="*/ 2147483647 h 98"/>
                <a:gd name="T102" fmla="*/ 0 w 51"/>
                <a:gd name="T103" fmla="*/ 2147483647 h 98"/>
                <a:gd name="T104" fmla="*/ 0 w 51"/>
                <a:gd name="T105" fmla="*/ 2147483647 h 98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51"/>
                <a:gd name="T160" fmla="*/ 0 h 98"/>
                <a:gd name="T161" fmla="*/ 51 w 51"/>
                <a:gd name="T162" fmla="*/ 98 h 98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51" h="98">
                  <a:moveTo>
                    <a:pt x="0" y="64"/>
                  </a:moveTo>
                  <a:lnTo>
                    <a:pt x="3" y="69"/>
                  </a:lnTo>
                  <a:lnTo>
                    <a:pt x="6" y="66"/>
                  </a:lnTo>
                  <a:lnTo>
                    <a:pt x="6" y="75"/>
                  </a:lnTo>
                  <a:lnTo>
                    <a:pt x="6" y="92"/>
                  </a:lnTo>
                  <a:lnTo>
                    <a:pt x="6" y="98"/>
                  </a:lnTo>
                  <a:lnTo>
                    <a:pt x="8" y="95"/>
                  </a:lnTo>
                  <a:lnTo>
                    <a:pt x="14" y="98"/>
                  </a:lnTo>
                  <a:lnTo>
                    <a:pt x="23" y="95"/>
                  </a:lnTo>
                  <a:lnTo>
                    <a:pt x="26" y="95"/>
                  </a:lnTo>
                  <a:lnTo>
                    <a:pt x="26" y="87"/>
                  </a:lnTo>
                  <a:lnTo>
                    <a:pt x="28" y="81"/>
                  </a:lnTo>
                  <a:lnTo>
                    <a:pt x="34" y="75"/>
                  </a:lnTo>
                  <a:lnTo>
                    <a:pt x="31" y="66"/>
                  </a:lnTo>
                  <a:lnTo>
                    <a:pt x="34" y="58"/>
                  </a:lnTo>
                  <a:lnTo>
                    <a:pt x="28" y="46"/>
                  </a:lnTo>
                  <a:lnTo>
                    <a:pt x="37" y="41"/>
                  </a:lnTo>
                  <a:lnTo>
                    <a:pt x="34" y="35"/>
                  </a:lnTo>
                  <a:lnTo>
                    <a:pt x="37" y="32"/>
                  </a:lnTo>
                  <a:lnTo>
                    <a:pt x="40" y="29"/>
                  </a:lnTo>
                  <a:lnTo>
                    <a:pt x="43" y="15"/>
                  </a:lnTo>
                  <a:lnTo>
                    <a:pt x="51" y="6"/>
                  </a:lnTo>
                  <a:lnTo>
                    <a:pt x="49" y="3"/>
                  </a:lnTo>
                  <a:lnTo>
                    <a:pt x="40" y="3"/>
                  </a:lnTo>
                  <a:lnTo>
                    <a:pt x="37" y="6"/>
                  </a:lnTo>
                  <a:lnTo>
                    <a:pt x="34" y="6"/>
                  </a:lnTo>
                  <a:lnTo>
                    <a:pt x="28" y="3"/>
                  </a:lnTo>
                  <a:lnTo>
                    <a:pt x="23" y="6"/>
                  </a:lnTo>
                  <a:lnTo>
                    <a:pt x="20" y="0"/>
                  </a:lnTo>
                  <a:lnTo>
                    <a:pt x="11" y="3"/>
                  </a:lnTo>
                  <a:lnTo>
                    <a:pt x="11" y="9"/>
                  </a:lnTo>
                  <a:lnTo>
                    <a:pt x="11" y="18"/>
                  </a:lnTo>
                  <a:lnTo>
                    <a:pt x="11" y="26"/>
                  </a:lnTo>
                  <a:lnTo>
                    <a:pt x="8" y="35"/>
                  </a:lnTo>
                  <a:lnTo>
                    <a:pt x="6" y="43"/>
                  </a:lnTo>
                  <a:lnTo>
                    <a:pt x="0" y="52"/>
                  </a:lnTo>
                  <a:lnTo>
                    <a:pt x="0" y="58"/>
                  </a:lnTo>
                  <a:lnTo>
                    <a:pt x="0" y="64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36" name="Freeform 247"/>
            <p:cNvSpPr>
              <a:spLocks noChangeAspect="1"/>
            </p:cNvSpPr>
            <p:nvPr/>
          </p:nvSpPr>
          <p:spPr bwMode="gray">
            <a:xfrm>
              <a:off x="7487925" y="3786832"/>
              <a:ext cx="22119" cy="7443"/>
            </a:xfrm>
            <a:custGeom>
              <a:avLst/>
              <a:gdLst>
                <a:gd name="T0" fmla="*/ 0 w 8"/>
                <a:gd name="T1" fmla="*/ 0 h 3"/>
                <a:gd name="T2" fmla="*/ 2147483647 w 8"/>
                <a:gd name="T3" fmla="*/ 2147483647 h 3"/>
                <a:gd name="T4" fmla="*/ 2147483647 w 8"/>
                <a:gd name="T5" fmla="*/ 0 h 3"/>
                <a:gd name="T6" fmla="*/ 0 w 8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"/>
                <a:gd name="T13" fmla="*/ 0 h 3"/>
                <a:gd name="T14" fmla="*/ 8 w 8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" h="3">
                  <a:moveTo>
                    <a:pt x="0" y="0"/>
                  </a:moveTo>
                  <a:lnTo>
                    <a:pt x="8" y="3"/>
                  </a:lnTo>
                  <a:lnTo>
                    <a:pt x="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de-DE">
                <a:latin typeface="Tele-GroteskFet" charset="0"/>
              </a:endParaRPr>
            </a:p>
          </p:txBody>
        </p:sp>
        <p:sp>
          <p:nvSpPr>
            <p:cNvPr id="37" name="Freeform 250"/>
            <p:cNvSpPr>
              <a:spLocks noChangeAspect="1"/>
            </p:cNvSpPr>
            <p:nvPr/>
          </p:nvSpPr>
          <p:spPr bwMode="gray">
            <a:xfrm>
              <a:off x="7894882" y="4077225"/>
              <a:ext cx="12784" cy="8823"/>
            </a:xfrm>
            <a:custGeom>
              <a:avLst/>
              <a:gdLst>
                <a:gd name="T0" fmla="*/ 0 w 5"/>
                <a:gd name="T1" fmla="*/ 2147483647 h 3"/>
                <a:gd name="T2" fmla="*/ 2147483647 w 5"/>
                <a:gd name="T3" fmla="*/ 2147483647 h 3"/>
                <a:gd name="T4" fmla="*/ 2147483647 w 5"/>
                <a:gd name="T5" fmla="*/ 2147483647 h 3"/>
                <a:gd name="T6" fmla="*/ 2147483647 w 5"/>
                <a:gd name="T7" fmla="*/ 0 h 3"/>
                <a:gd name="T8" fmla="*/ 0 w 5"/>
                <a:gd name="T9" fmla="*/ 2147483647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3"/>
                <a:gd name="T17" fmla="*/ 5 w 5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3">
                  <a:moveTo>
                    <a:pt x="0" y="3"/>
                  </a:moveTo>
                  <a:lnTo>
                    <a:pt x="5" y="3"/>
                  </a:lnTo>
                  <a:lnTo>
                    <a:pt x="2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38" name="Freeform 252"/>
            <p:cNvSpPr>
              <a:spLocks noChangeAspect="1"/>
            </p:cNvSpPr>
            <p:nvPr/>
          </p:nvSpPr>
          <p:spPr bwMode="gray">
            <a:xfrm>
              <a:off x="7671660" y="3183875"/>
              <a:ext cx="107186" cy="49631"/>
            </a:xfrm>
            <a:custGeom>
              <a:avLst/>
              <a:gdLst>
                <a:gd name="T0" fmla="*/ 2147483647 w 41"/>
                <a:gd name="T1" fmla="*/ 0 h 17"/>
                <a:gd name="T2" fmla="*/ 2147483647 w 41"/>
                <a:gd name="T3" fmla="*/ 0 h 17"/>
                <a:gd name="T4" fmla="*/ 2147483647 w 41"/>
                <a:gd name="T5" fmla="*/ 2147483647 h 17"/>
                <a:gd name="T6" fmla="*/ 2147483647 w 41"/>
                <a:gd name="T7" fmla="*/ 2147483647 h 17"/>
                <a:gd name="T8" fmla="*/ 2147483647 w 41"/>
                <a:gd name="T9" fmla="*/ 2147483647 h 17"/>
                <a:gd name="T10" fmla="*/ 2147483647 w 41"/>
                <a:gd name="T11" fmla="*/ 2147483647 h 17"/>
                <a:gd name="T12" fmla="*/ 0 w 41"/>
                <a:gd name="T13" fmla="*/ 2147483647 h 17"/>
                <a:gd name="T14" fmla="*/ 0 w 41"/>
                <a:gd name="T15" fmla="*/ 2147483647 h 17"/>
                <a:gd name="T16" fmla="*/ 2147483647 w 41"/>
                <a:gd name="T17" fmla="*/ 2147483647 h 17"/>
                <a:gd name="T18" fmla="*/ 2147483647 w 41"/>
                <a:gd name="T19" fmla="*/ 2147483647 h 17"/>
                <a:gd name="T20" fmla="*/ 2147483647 w 41"/>
                <a:gd name="T21" fmla="*/ 2147483647 h 17"/>
                <a:gd name="T22" fmla="*/ 2147483647 w 41"/>
                <a:gd name="T23" fmla="*/ 2147483647 h 17"/>
                <a:gd name="T24" fmla="*/ 2147483647 w 41"/>
                <a:gd name="T25" fmla="*/ 2147483647 h 17"/>
                <a:gd name="T26" fmla="*/ 2147483647 w 41"/>
                <a:gd name="T27" fmla="*/ 2147483647 h 17"/>
                <a:gd name="T28" fmla="*/ 2147483647 w 41"/>
                <a:gd name="T29" fmla="*/ 2147483647 h 17"/>
                <a:gd name="T30" fmla="*/ 2147483647 w 41"/>
                <a:gd name="T31" fmla="*/ 2147483647 h 17"/>
                <a:gd name="T32" fmla="*/ 2147483647 w 41"/>
                <a:gd name="T33" fmla="*/ 2147483647 h 17"/>
                <a:gd name="T34" fmla="*/ 2147483647 w 41"/>
                <a:gd name="T35" fmla="*/ 2147483647 h 17"/>
                <a:gd name="T36" fmla="*/ 2147483647 w 41"/>
                <a:gd name="T37" fmla="*/ 2147483647 h 17"/>
                <a:gd name="T38" fmla="*/ 2147483647 w 41"/>
                <a:gd name="T39" fmla="*/ 2147483647 h 17"/>
                <a:gd name="T40" fmla="*/ 2147483647 w 41"/>
                <a:gd name="T41" fmla="*/ 2147483647 h 17"/>
                <a:gd name="T42" fmla="*/ 2147483647 w 41"/>
                <a:gd name="T43" fmla="*/ 2147483647 h 17"/>
                <a:gd name="T44" fmla="*/ 2147483647 w 41"/>
                <a:gd name="T45" fmla="*/ 2147483647 h 17"/>
                <a:gd name="T46" fmla="*/ 2147483647 w 41"/>
                <a:gd name="T47" fmla="*/ 2147483647 h 17"/>
                <a:gd name="T48" fmla="*/ 2147483647 w 41"/>
                <a:gd name="T49" fmla="*/ 2147483647 h 17"/>
                <a:gd name="T50" fmla="*/ 2147483647 w 41"/>
                <a:gd name="T51" fmla="*/ 2147483647 h 17"/>
                <a:gd name="T52" fmla="*/ 2147483647 w 41"/>
                <a:gd name="T53" fmla="*/ 2147483647 h 17"/>
                <a:gd name="T54" fmla="*/ 2147483647 w 41"/>
                <a:gd name="T55" fmla="*/ 2147483647 h 17"/>
                <a:gd name="T56" fmla="*/ 2147483647 w 41"/>
                <a:gd name="T57" fmla="*/ 2147483647 h 17"/>
                <a:gd name="T58" fmla="*/ 2147483647 w 41"/>
                <a:gd name="T59" fmla="*/ 0 h 17"/>
                <a:gd name="T60" fmla="*/ 2147483647 w 41"/>
                <a:gd name="T61" fmla="*/ 0 h 17"/>
                <a:gd name="T62" fmla="*/ 2147483647 w 41"/>
                <a:gd name="T63" fmla="*/ 0 h 17"/>
                <a:gd name="T64" fmla="*/ 2147483647 w 41"/>
                <a:gd name="T65" fmla="*/ 0 h 1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41"/>
                <a:gd name="T100" fmla="*/ 0 h 17"/>
                <a:gd name="T101" fmla="*/ 41 w 41"/>
                <a:gd name="T102" fmla="*/ 17 h 17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41" h="17">
                  <a:moveTo>
                    <a:pt x="15" y="0"/>
                  </a:moveTo>
                  <a:lnTo>
                    <a:pt x="15" y="0"/>
                  </a:lnTo>
                  <a:lnTo>
                    <a:pt x="12" y="3"/>
                  </a:lnTo>
                  <a:lnTo>
                    <a:pt x="6" y="5"/>
                  </a:lnTo>
                  <a:lnTo>
                    <a:pt x="3" y="5"/>
                  </a:lnTo>
                  <a:lnTo>
                    <a:pt x="0" y="14"/>
                  </a:lnTo>
                  <a:lnTo>
                    <a:pt x="3" y="14"/>
                  </a:lnTo>
                  <a:lnTo>
                    <a:pt x="18" y="17"/>
                  </a:lnTo>
                  <a:lnTo>
                    <a:pt x="21" y="17"/>
                  </a:lnTo>
                  <a:lnTo>
                    <a:pt x="41" y="14"/>
                  </a:lnTo>
                  <a:lnTo>
                    <a:pt x="41" y="11"/>
                  </a:lnTo>
                  <a:lnTo>
                    <a:pt x="38" y="5"/>
                  </a:lnTo>
                  <a:lnTo>
                    <a:pt x="32" y="5"/>
                  </a:lnTo>
                  <a:lnTo>
                    <a:pt x="29" y="5"/>
                  </a:lnTo>
                  <a:lnTo>
                    <a:pt x="18" y="3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39" name="Freeform 255"/>
            <p:cNvSpPr>
              <a:spLocks noChangeAspect="1"/>
            </p:cNvSpPr>
            <p:nvPr/>
          </p:nvSpPr>
          <p:spPr bwMode="gray">
            <a:xfrm>
              <a:off x="7702478" y="4032469"/>
              <a:ext cx="14376" cy="8684"/>
            </a:xfrm>
            <a:custGeom>
              <a:avLst/>
              <a:gdLst>
                <a:gd name="T0" fmla="*/ 2147483647 w 6"/>
                <a:gd name="T1" fmla="*/ 0 h 3"/>
                <a:gd name="T2" fmla="*/ 0 w 6"/>
                <a:gd name="T3" fmla="*/ 0 h 3"/>
                <a:gd name="T4" fmla="*/ 0 w 6"/>
                <a:gd name="T5" fmla="*/ 0 h 3"/>
                <a:gd name="T6" fmla="*/ 2147483647 w 6"/>
                <a:gd name="T7" fmla="*/ 2147483647 h 3"/>
                <a:gd name="T8" fmla="*/ 2147483647 w 6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3"/>
                <a:gd name="T17" fmla="*/ 6 w 6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3">
                  <a:moveTo>
                    <a:pt x="6" y="0"/>
                  </a:moveTo>
                  <a:lnTo>
                    <a:pt x="0" y="0"/>
                  </a:lnTo>
                  <a:lnTo>
                    <a:pt x="3" y="3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de-DE">
                <a:latin typeface="Tele-GroteskFet" charset="0"/>
              </a:endParaRPr>
            </a:p>
          </p:txBody>
        </p:sp>
        <p:sp>
          <p:nvSpPr>
            <p:cNvPr id="40" name="Rectangle 256"/>
            <p:cNvSpPr>
              <a:spLocks noChangeAspect="1" noChangeArrowheads="1"/>
            </p:cNvSpPr>
            <p:nvPr/>
          </p:nvSpPr>
          <p:spPr bwMode="gray">
            <a:xfrm>
              <a:off x="7702145" y="4040828"/>
              <a:ext cx="6884" cy="11029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SzPct val="75000"/>
              </a:pPr>
              <a:endParaRPr lang="de-DE"/>
            </a:p>
          </p:txBody>
        </p:sp>
        <p:sp>
          <p:nvSpPr>
            <p:cNvPr id="41" name="Freeform 257"/>
            <p:cNvSpPr>
              <a:spLocks noChangeAspect="1"/>
            </p:cNvSpPr>
            <p:nvPr/>
          </p:nvSpPr>
          <p:spPr bwMode="gray">
            <a:xfrm>
              <a:off x="7694278" y="4026492"/>
              <a:ext cx="7867" cy="5515"/>
            </a:xfrm>
            <a:custGeom>
              <a:avLst/>
              <a:gdLst>
                <a:gd name="T0" fmla="*/ 0 w 3"/>
                <a:gd name="T1" fmla="*/ 0 h 2"/>
                <a:gd name="T2" fmla="*/ 2147483647 w 3"/>
                <a:gd name="T3" fmla="*/ 2147483647 h 2"/>
                <a:gd name="T4" fmla="*/ 2147483647 w 3"/>
                <a:gd name="T5" fmla="*/ 2147483647 h 2"/>
                <a:gd name="T6" fmla="*/ 0 w 3"/>
                <a:gd name="T7" fmla="*/ 0 h 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2"/>
                <a:gd name="T14" fmla="*/ 3 w 3"/>
                <a:gd name="T15" fmla="*/ 2 h 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2">
                  <a:moveTo>
                    <a:pt x="0" y="0"/>
                  </a:moveTo>
                  <a:lnTo>
                    <a:pt x="3" y="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42" name="Freeform 258"/>
            <p:cNvSpPr>
              <a:spLocks noChangeAspect="1"/>
            </p:cNvSpPr>
            <p:nvPr/>
          </p:nvSpPr>
          <p:spPr bwMode="gray">
            <a:xfrm>
              <a:off x="7907666" y="4183104"/>
              <a:ext cx="7867" cy="8823"/>
            </a:xfrm>
            <a:custGeom>
              <a:avLst/>
              <a:gdLst>
                <a:gd name="T0" fmla="*/ 2147483647 w 3"/>
                <a:gd name="T1" fmla="*/ 0 h 3"/>
                <a:gd name="T2" fmla="*/ 0 w 3"/>
                <a:gd name="T3" fmla="*/ 0 h 3"/>
                <a:gd name="T4" fmla="*/ 2147483647 w 3"/>
                <a:gd name="T5" fmla="*/ 2147483647 h 3"/>
                <a:gd name="T6" fmla="*/ 2147483647 w 3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3" y="0"/>
                  </a:moveTo>
                  <a:lnTo>
                    <a:pt x="0" y="0"/>
                  </a:lnTo>
                  <a:lnTo>
                    <a:pt x="3" y="3"/>
                  </a:lnTo>
                  <a:lnTo>
                    <a:pt x="3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43" name="Freeform 259"/>
            <p:cNvSpPr>
              <a:spLocks noChangeAspect="1"/>
            </p:cNvSpPr>
            <p:nvPr/>
          </p:nvSpPr>
          <p:spPr bwMode="gray">
            <a:xfrm>
              <a:off x="7709028" y="3124318"/>
              <a:ext cx="206504" cy="134555"/>
            </a:xfrm>
            <a:custGeom>
              <a:avLst/>
              <a:gdLst>
                <a:gd name="T0" fmla="*/ 2147483647 w 80"/>
                <a:gd name="T1" fmla="*/ 2147483647 h 46"/>
                <a:gd name="T2" fmla="*/ 0 w 80"/>
                <a:gd name="T3" fmla="*/ 2147483647 h 46"/>
                <a:gd name="T4" fmla="*/ 0 w 80"/>
                <a:gd name="T5" fmla="*/ 2147483647 h 46"/>
                <a:gd name="T6" fmla="*/ 2147483647 w 80"/>
                <a:gd name="T7" fmla="*/ 2147483647 h 46"/>
                <a:gd name="T8" fmla="*/ 2147483647 w 80"/>
                <a:gd name="T9" fmla="*/ 2147483647 h 46"/>
                <a:gd name="T10" fmla="*/ 2147483647 w 80"/>
                <a:gd name="T11" fmla="*/ 2147483647 h 46"/>
                <a:gd name="T12" fmla="*/ 2147483647 w 80"/>
                <a:gd name="T13" fmla="*/ 2147483647 h 46"/>
                <a:gd name="T14" fmla="*/ 2147483647 w 80"/>
                <a:gd name="T15" fmla="*/ 2147483647 h 46"/>
                <a:gd name="T16" fmla="*/ 2147483647 w 80"/>
                <a:gd name="T17" fmla="*/ 2147483647 h 46"/>
                <a:gd name="T18" fmla="*/ 2147483647 w 80"/>
                <a:gd name="T19" fmla="*/ 2147483647 h 46"/>
                <a:gd name="T20" fmla="*/ 2147483647 w 80"/>
                <a:gd name="T21" fmla="*/ 2147483647 h 46"/>
                <a:gd name="T22" fmla="*/ 2147483647 w 80"/>
                <a:gd name="T23" fmla="*/ 2147483647 h 46"/>
                <a:gd name="T24" fmla="*/ 2147483647 w 80"/>
                <a:gd name="T25" fmla="*/ 2147483647 h 46"/>
                <a:gd name="T26" fmla="*/ 2147483647 w 80"/>
                <a:gd name="T27" fmla="*/ 2147483647 h 46"/>
                <a:gd name="T28" fmla="*/ 2147483647 w 80"/>
                <a:gd name="T29" fmla="*/ 2147483647 h 46"/>
                <a:gd name="T30" fmla="*/ 2147483647 w 80"/>
                <a:gd name="T31" fmla="*/ 2147483647 h 46"/>
                <a:gd name="T32" fmla="*/ 2147483647 w 80"/>
                <a:gd name="T33" fmla="*/ 2147483647 h 46"/>
                <a:gd name="T34" fmla="*/ 2147483647 w 80"/>
                <a:gd name="T35" fmla="*/ 2147483647 h 46"/>
                <a:gd name="T36" fmla="*/ 2147483647 w 80"/>
                <a:gd name="T37" fmla="*/ 2147483647 h 46"/>
                <a:gd name="T38" fmla="*/ 2147483647 w 80"/>
                <a:gd name="T39" fmla="*/ 2147483647 h 46"/>
                <a:gd name="T40" fmla="*/ 2147483647 w 80"/>
                <a:gd name="T41" fmla="*/ 2147483647 h 46"/>
                <a:gd name="T42" fmla="*/ 2147483647 w 80"/>
                <a:gd name="T43" fmla="*/ 2147483647 h 46"/>
                <a:gd name="T44" fmla="*/ 2147483647 w 80"/>
                <a:gd name="T45" fmla="*/ 2147483647 h 46"/>
                <a:gd name="T46" fmla="*/ 2147483647 w 80"/>
                <a:gd name="T47" fmla="*/ 0 h 46"/>
                <a:gd name="T48" fmla="*/ 2147483647 w 80"/>
                <a:gd name="T49" fmla="*/ 0 h 46"/>
                <a:gd name="T50" fmla="*/ 2147483647 w 80"/>
                <a:gd name="T51" fmla="*/ 2147483647 h 46"/>
                <a:gd name="T52" fmla="*/ 2147483647 w 80"/>
                <a:gd name="T53" fmla="*/ 2147483647 h 46"/>
                <a:gd name="T54" fmla="*/ 2147483647 w 80"/>
                <a:gd name="T55" fmla="*/ 2147483647 h 46"/>
                <a:gd name="T56" fmla="*/ 2147483647 w 80"/>
                <a:gd name="T57" fmla="*/ 2147483647 h 46"/>
                <a:gd name="T58" fmla="*/ 2147483647 w 80"/>
                <a:gd name="T59" fmla="*/ 2147483647 h 46"/>
                <a:gd name="T60" fmla="*/ 2147483647 w 80"/>
                <a:gd name="T61" fmla="*/ 2147483647 h 46"/>
                <a:gd name="T62" fmla="*/ 2147483647 w 80"/>
                <a:gd name="T63" fmla="*/ 2147483647 h 4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80"/>
                <a:gd name="T97" fmla="*/ 0 h 46"/>
                <a:gd name="T98" fmla="*/ 80 w 80"/>
                <a:gd name="T99" fmla="*/ 46 h 4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80" h="46">
                  <a:moveTo>
                    <a:pt x="6" y="5"/>
                  </a:moveTo>
                  <a:lnTo>
                    <a:pt x="6" y="5"/>
                  </a:lnTo>
                  <a:lnTo>
                    <a:pt x="0" y="8"/>
                  </a:lnTo>
                  <a:lnTo>
                    <a:pt x="0" y="11"/>
                  </a:lnTo>
                  <a:lnTo>
                    <a:pt x="3" y="17"/>
                  </a:lnTo>
                  <a:lnTo>
                    <a:pt x="6" y="20"/>
                  </a:lnTo>
                  <a:lnTo>
                    <a:pt x="8" y="20"/>
                  </a:lnTo>
                  <a:lnTo>
                    <a:pt x="14" y="23"/>
                  </a:lnTo>
                  <a:lnTo>
                    <a:pt x="17" y="23"/>
                  </a:lnTo>
                  <a:lnTo>
                    <a:pt x="23" y="23"/>
                  </a:lnTo>
                  <a:lnTo>
                    <a:pt x="26" y="25"/>
                  </a:lnTo>
                  <a:lnTo>
                    <a:pt x="29" y="28"/>
                  </a:lnTo>
                  <a:lnTo>
                    <a:pt x="31" y="28"/>
                  </a:lnTo>
                  <a:lnTo>
                    <a:pt x="31" y="31"/>
                  </a:lnTo>
                  <a:lnTo>
                    <a:pt x="29" y="37"/>
                  </a:lnTo>
                  <a:lnTo>
                    <a:pt x="37" y="40"/>
                  </a:lnTo>
                  <a:lnTo>
                    <a:pt x="40" y="46"/>
                  </a:lnTo>
                  <a:lnTo>
                    <a:pt x="46" y="43"/>
                  </a:lnTo>
                  <a:lnTo>
                    <a:pt x="54" y="43"/>
                  </a:lnTo>
                  <a:lnTo>
                    <a:pt x="57" y="40"/>
                  </a:lnTo>
                  <a:lnTo>
                    <a:pt x="60" y="40"/>
                  </a:lnTo>
                  <a:lnTo>
                    <a:pt x="66" y="37"/>
                  </a:lnTo>
                  <a:lnTo>
                    <a:pt x="66" y="40"/>
                  </a:lnTo>
                  <a:lnTo>
                    <a:pt x="69" y="37"/>
                  </a:lnTo>
                  <a:lnTo>
                    <a:pt x="66" y="34"/>
                  </a:lnTo>
                  <a:lnTo>
                    <a:pt x="69" y="25"/>
                  </a:lnTo>
                  <a:lnTo>
                    <a:pt x="74" y="23"/>
                  </a:lnTo>
                  <a:lnTo>
                    <a:pt x="80" y="23"/>
                  </a:lnTo>
                  <a:lnTo>
                    <a:pt x="80" y="20"/>
                  </a:lnTo>
                  <a:lnTo>
                    <a:pt x="77" y="17"/>
                  </a:lnTo>
                  <a:lnTo>
                    <a:pt x="77" y="14"/>
                  </a:lnTo>
                  <a:lnTo>
                    <a:pt x="66" y="8"/>
                  </a:lnTo>
                  <a:lnTo>
                    <a:pt x="57" y="5"/>
                  </a:lnTo>
                  <a:lnTo>
                    <a:pt x="51" y="0"/>
                  </a:lnTo>
                  <a:lnTo>
                    <a:pt x="43" y="0"/>
                  </a:lnTo>
                  <a:lnTo>
                    <a:pt x="31" y="3"/>
                  </a:lnTo>
                  <a:lnTo>
                    <a:pt x="29" y="3"/>
                  </a:lnTo>
                  <a:lnTo>
                    <a:pt x="17" y="3"/>
                  </a:lnTo>
                  <a:lnTo>
                    <a:pt x="14" y="3"/>
                  </a:lnTo>
                  <a:lnTo>
                    <a:pt x="6" y="5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44" name="Freeform 260"/>
            <p:cNvSpPr>
              <a:spLocks noChangeAspect="1"/>
            </p:cNvSpPr>
            <p:nvPr/>
          </p:nvSpPr>
          <p:spPr bwMode="gray">
            <a:xfrm>
              <a:off x="7930283" y="4174279"/>
              <a:ext cx="23600" cy="17646"/>
            </a:xfrm>
            <a:custGeom>
              <a:avLst/>
              <a:gdLst>
                <a:gd name="T0" fmla="*/ 2147483647 w 9"/>
                <a:gd name="T1" fmla="*/ 0 h 6"/>
                <a:gd name="T2" fmla="*/ 0 w 9"/>
                <a:gd name="T3" fmla="*/ 2147483647 h 6"/>
                <a:gd name="T4" fmla="*/ 2147483647 w 9"/>
                <a:gd name="T5" fmla="*/ 2147483647 h 6"/>
                <a:gd name="T6" fmla="*/ 2147483647 w 9"/>
                <a:gd name="T7" fmla="*/ 0 h 6"/>
                <a:gd name="T8" fmla="*/ 2147483647 w 9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"/>
                <a:gd name="T16" fmla="*/ 0 h 6"/>
                <a:gd name="T17" fmla="*/ 9 w 9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" h="6">
                  <a:moveTo>
                    <a:pt x="3" y="0"/>
                  </a:moveTo>
                  <a:lnTo>
                    <a:pt x="0" y="3"/>
                  </a:lnTo>
                  <a:lnTo>
                    <a:pt x="6" y="6"/>
                  </a:lnTo>
                  <a:lnTo>
                    <a:pt x="9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45" name="Freeform 261"/>
            <p:cNvSpPr>
              <a:spLocks noChangeAspect="1"/>
            </p:cNvSpPr>
            <p:nvPr/>
          </p:nvSpPr>
          <p:spPr bwMode="gray">
            <a:xfrm>
              <a:off x="7907666" y="4134575"/>
              <a:ext cx="22617" cy="26470"/>
            </a:xfrm>
            <a:custGeom>
              <a:avLst/>
              <a:gdLst>
                <a:gd name="T0" fmla="*/ 2147483647 w 9"/>
                <a:gd name="T1" fmla="*/ 2147483647 h 9"/>
                <a:gd name="T2" fmla="*/ 2147483647 w 9"/>
                <a:gd name="T3" fmla="*/ 2147483647 h 9"/>
                <a:gd name="T4" fmla="*/ 2147483647 w 9"/>
                <a:gd name="T5" fmla="*/ 2147483647 h 9"/>
                <a:gd name="T6" fmla="*/ 2147483647 w 9"/>
                <a:gd name="T7" fmla="*/ 2147483647 h 9"/>
                <a:gd name="T8" fmla="*/ 2147483647 w 9"/>
                <a:gd name="T9" fmla="*/ 0 h 9"/>
                <a:gd name="T10" fmla="*/ 0 w 9"/>
                <a:gd name="T11" fmla="*/ 2147483647 h 9"/>
                <a:gd name="T12" fmla="*/ 2147483647 w 9"/>
                <a:gd name="T13" fmla="*/ 2147483647 h 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"/>
                <a:gd name="T22" fmla="*/ 0 h 9"/>
                <a:gd name="T23" fmla="*/ 9 w 9"/>
                <a:gd name="T24" fmla="*/ 9 h 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" h="9">
                  <a:moveTo>
                    <a:pt x="6" y="9"/>
                  </a:moveTo>
                  <a:lnTo>
                    <a:pt x="9" y="6"/>
                  </a:lnTo>
                  <a:lnTo>
                    <a:pt x="9" y="3"/>
                  </a:lnTo>
                  <a:lnTo>
                    <a:pt x="3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6" y="9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46" name="Freeform 262"/>
            <p:cNvSpPr>
              <a:spLocks noChangeAspect="1"/>
            </p:cNvSpPr>
            <p:nvPr/>
          </p:nvSpPr>
          <p:spPr bwMode="gray">
            <a:xfrm>
              <a:off x="7915533" y="4040828"/>
              <a:ext cx="7867" cy="11029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2147483647 h 3"/>
                <a:gd name="T4" fmla="*/ 2147483647 w 3"/>
                <a:gd name="T5" fmla="*/ 2147483647 h 3"/>
                <a:gd name="T6" fmla="*/ 0 w 3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47" name="Freeform 263"/>
            <p:cNvSpPr>
              <a:spLocks noChangeAspect="1"/>
            </p:cNvSpPr>
            <p:nvPr/>
          </p:nvSpPr>
          <p:spPr bwMode="gray">
            <a:xfrm>
              <a:off x="7939134" y="4199647"/>
              <a:ext cx="7867" cy="9926"/>
            </a:xfrm>
            <a:custGeom>
              <a:avLst/>
              <a:gdLst>
                <a:gd name="T0" fmla="*/ 0 w 3"/>
                <a:gd name="T1" fmla="*/ 2147483647 h 3"/>
                <a:gd name="T2" fmla="*/ 2147483647 w 3"/>
                <a:gd name="T3" fmla="*/ 0 h 3"/>
                <a:gd name="T4" fmla="*/ 0 w 3"/>
                <a:gd name="T5" fmla="*/ 0 h 3"/>
                <a:gd name="T6" fmla="*/ 0 w 3"/>
                <a:gd name="T7" fmla="*/ 2147483647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0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48" name="Freeform 264"/>
            <p:cNvSpPr>
              <a:spLocks noChangeAspect="1"/>
            </p:cNvSpPr>
            <p:nvPr/>
          </p:nvSpPr>
          <p:spPr bwMode="gray">
            <a:xfrm>
              <a:off x="7835881" y="4218396"/>
              <a:ext cx="13767" cy="13234"/>
            </a:xfrm>
            <a:custGeom>
              <a:avLst/>
              <a:gdLst>
                <a:gd name="T0" fmla="*/ 0 w 5"/>
                <a:gd name="T1" fmla="*/ 2147483647 h 5"/>
                <a:gd name="T2" fmla="*/ 2147483647 w 5"/>
                <a:gd name="T3" fmla="*/ 2147483647 h 5"/>
                <a:gd name="T4" fmla="*/ 2147483647 w 5"/>
                <a:gd name="T5" fmla="*/ 0 h 5"/>
                <a:gd name="T6" fmla="*/ 0 w 5"/>
                <a:gd name="T7" fmla="*/ 2147483647 h 5"/>
                <a:gd name="T8" fmla="*/ 0 w 5"/>
                <a:gd name="T9" fmla="*/ 2147483647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"/>
                <a:gd name="T16" fmla="*/ 0 h 5"/>
                <a:gd name="T17" fmla="*/ 5 w 5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" h="5">
                  <a:moveTo>
                    <a:pt x="0" y="5"/>
                  </a:moveTo>
                  <a:lnTo>
                    <a:pt x="5" y="5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5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49" name="Freeform 265"/>
            <p:cNvSpPr>
              <a:spLocks noChangeAspect="1"/>
            </p:cNvSpPr>
            <p:nvPr/>
          </p:nvSpPr>
          <p:spPr bwMode="gray">
            <a:xfrm>
              <a:off x="7671660" y="3878702"/>
              <a:ext cx="81618" cy="153304"/>
            </a:xfrm>
            <a:custGeom>
              <a:avLst/>
              <a:gdLst>
                <a:gd name="T0" fmla="*/ 2147483647 w 32"/>
                <a:gd name="T1" fmla="*/ 2147483647 h 54"/>
                <a:gd name="T2" fmla="*/ 2147483647 w 32"/>
                <a:gd name="T3" fmla="*/ 2147483647 h 54"/>
                <a:gd name="T4" fmla="*/ 2147483647 w 32"/>
                <a:gd name="T5" fmla="*/ 2147483647 h 54"/>
                <a:gd name="T6" fmla="*/ 2147483647 w 32"/>
                <a:gd name="T7" fmla="*/ 2147483647 h 54"/>
                <a:gd name="T8" fmla="*/ 2147483647 w 32"/>
                <a:gd name="T9" fmla="*/ 2147483647 h 54"/>
                <a:gd name="T10" fmla="*/ 2147483647 w 32"/>
                <a:gd name="T11" fmla="*/ 2147483647 h 54"/>
                <a:gd name="T12" fmla="*/ 2147483647 w 32"/>
                <a:gd name="T13" fmla="*/ 2147483647 h 54"/>
                <a:gd name="T14" fmla="*/ 2147483647 w 32"/>
                <a:gd name="T15" fmla="*/ 2147483647 h 54"/>
                <a:gd name="T16" fmla="*/ 2147483647 w 32"/>
                <a:gd name="T17" fmla="*/ 2147483647 h 54"/>
                <a:gd name="T18" fmla="*/ 2147483647 w 32"/>
                <a:gd name="T19" fmla="*/ 2147483647 h 54"/>
                <a:gd name="T20" fmla="*/ 2147483647 w 32"/>
                <a:gd name="T21" fmla="*/ 2147483647 h 54"/>
                <a:gd name="T22" fmla="*/ 2147483647 w 32"/>
                <a:gd name="T23" fmla="*/ 0 h 54"/>
                <a:gd name="T24" fmla="*/ 2147483647 w 32"/>
                <a:gd name="T25" fmla="*/ 2147483647 h 54"/>
                <a:gd name="T26" fmla="*/ 2147483647 w 32"/>
                <a:gd name="T27" fmla="*/ 2147483647 h 54"/>
                <a:gd name="T28" fmla="*/ 2147483647 w 32"/>
                <a:gd name="T29" fmla="*/ 2147483647 h 54"/>
                <a:gd name="T30" fmla="*/ 2147483647 w 32"/>
                <a:gd name="T31" fmla="*/ 2147483647 h 54"/>
                <a:gd name="T32" fmla="*/ 0 w 32"/>
                <a:gd name="T33" fmla="*/ 2147483647 h 54"/>
                <a:gd name="T34" fmla="*/ 2147483647 w 32"/>
                <a:gd name="T35" fmla="*/ 2147483647 h 54"/>
                <a:gd name="T36" fmla="*/ 2147483647 w 32"/>
                <a:gd name="T37" fmla="*/ 2147483647 h 54"/>
                <a:gd name="T38" fmla="*/ 2147483647 w 32"/>
                <a:gd name="T39" fmla="*/ 2147483647 h 54"/>
                <a:gd name="T40" fmla="*/ 2147483647 w 32"/>
                <a:gd name="T41" fmla="*/ 2147483647 h 54"/>
                <a:gd name="T42" fmla="*/ 2147483647 w 32"/>
                <a:gd name="T43" fmla="*/ 2147483647 h 54"/>
                <a:gd name="T44" fmla="*/ 2147483647 w 32"/>
                <a:gd name="T45" fmla="*/ 2147483647 h 54"/>
                <a:gd name="T46" fmla="*/ 2147483647 w 32"/>
                <a:gd name="T47" fmla="*/ 2147483647 h 54"/>
                <a:gd name="T48" fmla="*/ 2147483647 w 32"/>
                <a:gd name="T49" fmla="*/ 2147483647 h 5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32"/>
                <a:gd name="T76" fmla="*/ 0 h 54"/>
                <a:gd name="T77" fmla="*/ 32 w 32"/>
                <a:gd name="T78" fmla="*/ 54 h 54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32" h="54">
                  <a:moveTo>
                    <a:pt x="18" y="54"/>
                  </a:moveTo>
                  <a:lnTo>
                    <a:pt x="21" y="49"/>
                  </a:lnTo>
                  <a:lnTo>
                    <a:pt x="23" y="43"/>
                  </a:lnTo>
                  <a:lnTo>
                    <a:pt x="32" y="37"/>
                  </a:lnTo>
                  <a:lnTo>
                    <a:pt x="32" y="34"/>
                  </a:lnTo>
                  <a:lnTo>
                    <a:pt x="29" y="34"/>
                  </a:lnTo>
                  <a:lnTo>
                    <a:pt x="23" y="29"/>
                  </a:lnTo>
                  <a:lnTo>
                    <a:pt x="23" y="20"/>
                  </a:lnTo>
                  <a:lnTo>
                    <a:pt x="23" y="11"/>
                  </a:lnTo>
                  <a:lnTo>
                    <a:pt x="18" y="6"/>
                  </a:lnTo>
                  <a:lnTo>
                    <a:pt x="15" y="0"/>
                  </a:lnTo>
                  <a:lnTo>
                    <a:pt x="9" y="6"/>
                  </a:lnTo>
                  <a:lnTo>
                    <a:pt x="9" y="3"/>
                  </a:lnTo>
                  <a:lnTo>
                    <a:pt x="6" y="6"/>
                  </a:lnTo>
                  <a:lnTo>
                    <a:pt x="0" y="11"/>
                  </a:lnTo>
                  <a:lnTo>
                    <a:pt x="6" y="14"/>
                  </a:lnTo>
                  <a:lnTo>
                    <a:pt x="6" y="20"/>
                  </a:lnTo>
                  <a:lnTo>
                    <a:pt x="6" y="34"/>
                  </a:lnTo>
                  <a:lnTo>
                    <a:pt x="6" y="46"/>
                  </a:lnTo>
                  <a:lnTo>
                    <a:pt x="12" y="46"/>
                  </a:lnTo>
                  <a:lnTo>
                    <a:pt x="15" y="52"/>
                  </a:lnTo>
                  <a:lnTo>
                    <a:pt x="18" y="54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50" name="Freeform 266"/>
            <p:cNvSpPr>
              <a:spLocks noChangeAspect="1"/>
            </p:cNvSpPr>
            <p:nvPr/>
          </p:nvSpPr>
          <p:spPr bwMode="gray">
            <a:xfrm>
              <a:off x="7737545" y="3904069"/>
              <a:ext cx="83585" cy="62865"/>
            </a:xfrm>
            <a:custGeom>
              <a:avLst/>
              <a:gdLst>
                <a:gd name="T0" fmla="*/ 2147483647 w 32"/>
                <a:gd name="T1" fmla="*/ 2147483647 h 22"/>
                <a:gd name="T2" fmla="*/ 2147483647 w 32"/>
                <a:gd name="T3" fmla="*/ 2147483647 h 22"/>
                <a:gd name="T4" fmla="*/ 2147483647 w 32"/>
                <a:gd name="T5" fmla="*/ 2147483647 h 22"/>
                <a:gd name="T6" fmla="*/ 2147483647 w 32"/>
                <a:gd name="T7" fmla="*/ 2147483647 h 22"/>
                <a:gd name="T8" fmla="*/ 2147483647 w 32"/>
                <a:gd name="T9" fmla="*/ 0 h 22"/>
                <a:gd name="T10" fmla="*/ 2147483647 w 32"/>
                <a:gd name="T11" fmla="*/ 0 h 22"/>
                <a:gd name="T12" fmla="*/ 2147483647 w 32"/>
                <a:gd name="T13" fmla="*/ 0 h 22"/>
                <a:gd name="T14" fmla="*/ 0 w 32"/>
                <a:gd name="T15" fmla="*/ 2147483647 h 22"/>
                <a:gd name="T16" fmla="*/ 0 w 32"/>
                <a:gd name="T17" fmla="*/ 2147483647 h 22"/>
                <a:gd name="T18" fmla="*/ 2147483647 w 32"/>
                <a:gd name="T19" fmla="*/ 2147483647 h 22"/>
                <a:gd name="T20" fmla="*/ 2147483647 w 32"/>
                <a:gd name="T21" fmla="*/ 2147483647 h 22"/>
                <a:gd name="T22" fmla="*/ 2147483647 w 32"/>
                <a:gd name="T23" fmla="*/ 2147483647 h 22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32"/>
                <a:gd name="T37" fmla="*/ 0 h 22"/>
                <a:gd name="T38" fmla="*/ 32 w 32"/>
                <a:gd name="T39" fmla="*/ 22 h 22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32" h="22">
                  <a:moveTo>
                    <a:pt x="20" y="17"/>
                  </a:moveTo>
                  <a:lnTo>
                    <a:pt x="32" y="14"/>
                  </a:lnTo>
                  <a:lnTo>
                    <a:pt x="32" y="8"/>
                  </a:lnTo>
                  <a:lnTo>
                    <a:pt x="32" y="2"/>
                  </a:lnTo>
                  <a:lnTo>
                    <a:pt x="23" y="0"/>
                  </a:lnTo>
                  <a:lnTo>
                    <a:pt x="15" y="0"/>
                  </a:lnTo>
                  <a:lnTo>
                    <a:pt x="9" y="0"/>
                  </a:lnTo>
                  <a:lnTo>
                    <a:pt x="0" y="2"/>
                  </a:lnTo>
                  <a:lnTo>
                    <a:pt x="0" y="20"/>
                  </a:lnTo>
                  <a:lnTo>
                    <a:pt x="6" y="22"/>
                  </a:lnTo>
                  <a:lnTo>
                    <a:pt x="15" y="22"/>
                  </a:lnTo>
                  <a:lnTo>
                    <a:pt x="20" y="17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51" name="Freeform 267"/>
            <p:cNvSpPr>
              <a:spLocks noChangeAspect="1"/>
            </p:cNvSpPr>
            <p:nvPr/>
          </p:nvSpPr>
          <p:spPr bwMode="gray">
            <a:xfrm>
              <a:off x="7730663" y="4101487"/>
              <a:ext cx="22617" cy="24264"/>
            </a:xfrm>
            <a:custGeom>
              <a:avLst/>
              <a:gdLst>
                <a:gd name="T0" fmla="*/ 2147483647 w 9"/>
                <a:gd name="T1" fmla="*/ 2147483647 h 9"/>
                <a:gd name="T2" fmla="*/ 2147483647 w 9"/>
                <a:gd name="T3" fmla="*/ 0 h 9"/>
                <a:gd name="T4" fmla="*/ 0 w 9"/>
                <a:gd name="T5" fmla="*/ 2147483647 h 9"/>
                <a:gd name="T6" fmla="*/ 2147483647 w 9"/>
                <a:gd name="T7" fmla="*/ 2147483647 h 9"/>
                <a:gd name="T8" fmla="*/ 2147483647 w 9"/>
                <a:gd name="T9" fmla="*/ 2147483647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9"/>
                <a:gd name="T16" fmla="*/ 0 h 9"/>
                <a:gd name="T17" fmla="*/ 9 w 9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9" h="9">
                  <a:moveTo>
                    <a:pt x="9" y="9"/>
                  </a:moveTo>
                  <a:lnTo>
                    <a:pt x="3" y="0"/>
                  </a:lnTo>
                  <a:lnTo>
                    <a:pt x="0" y="6"/>
                  </a:lnTo>
                  <a:lnTo>
                    <a:pt x="6" y="9"/>
                  </a:lnTo>
                  <a:lnTo>
                    <a:pt x="9" y="9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52" name="Freeform 268"/>
            <p:cNvSpPr>
              <a:spLocks noChangeAspect="1"/>
            </p:cNvSpPr>
            <p:nvPr/>
          </p:nvSpPr>
          <p:spPr bwMode="gray">
            <a:xfrm>
              <a:off x="7770980" y="4118031"/>
              <a:ext cx="86535" cy="100364"/>
            </a:xfrm>
            <a:custGeom>
              <a:avLst/>
              <a:gdLst>
                <a:gd name="T0" fmla="*/ 2147483647 w 34"/>
                <a:gd name="T1" fmla="*/ 2147483647 h 35"/>
                <a:gd name="T2" fmla="*/ 2147483647 w 34"/>
                <a:gd name="T3" fmla="*/ 2147483647 h 35"/>
                <a:gd name="T4" fmla="*/ 2147483647 w 34"/>
                <a:gd name="T5" fmla="*/ 2147483647 h 35"/>
                <a:gd name="T6" fmla="*/ 2147483647 w 34"/>
                <a:gd name="T7" fmla="*/ 2147483647 h 35"/>
                <a:gd name="T8" fmla="*/ 2147483647 w 34"/>
                <a:gd name="T9" fmla="*/ 2147483647 h 35"/>
                <a:gd name="T10" fmla="*/ 2147483647 w 34"/>
                <a:gd name="T11" fmla="*/ 0 h 35"/>
                <a:gd name="T12" fmla="*/ 2147483647 w 34"/>
                <a:gd name="T13" fmla="*/ 0 h 35"/>
                <a:gd name="T14" fmla="*/ 2147483647 w 34"/>
                <a:gd name="T15" fmla="*/ 0 h 35"/>
                <a:gd name="T16" fmla="*/ 2147483647 w 34"/>
                <a:gd name="T17" fmla="*/ 0 h 35"/>
                <a:gd name="T18" fmla="*/ 2147483647 w 34"/>
                <a:gd name="T19" fmla="*/ 2147483647 h 35"/>
                <a:gd name="T20" fmla="*/ 0 w 34"/>
                <a:gd name="T21" fmla="*/ 2147483647 h 35"/>
                <a:gd name="T22" fmla="*/ 0 w 34"/>
                <a:gd name="T23" fmla="*/ 2147483647 h 35"/>
                <a:gd name="T24" fmla="*/ 2147483647 w 34"/>
                <a:gd name="T25" fmla="*/ 2147483647 h 35"/>
                <a:gd name="T26" fmla="*/ 2147483647 w 34"/>
                <a:gd name="T27" fmla="*/ 2147483647 h 35"/>
                <a:gd name="T28" fmla="*/ 2147483647 w 34"/>
                <a:gd name="T29" fmla="*/ 2147483647 h 35"/>
                <a:gd name="T30" fmla="*/ 2147483647 w 34"/>
                <a:gd name="T31" fmla="*/ 2147483647 h 35"/>
                <a:gd name="T32" fmla="*/ 2147483647 w 34"/>
                <a:gd name="T33" fmla="*/ 2147483647 h 35"/>
                <a:gd name="T34" fmla="*/ 2147483647 w 34"/>
                <a:gd name="T35" fmla="*/ 2147483647 h 35"/>
                <a:gd name="T36" fmla="*/ 2147483647 w 34"/>
                <a:gd name="T37" fmla="*/ 2147483647 h 35"/>
                <a:gd name="T38" fmla="*/ 2147483647 w 34"/>
                <a:gd name="T39" fmla="*/ 2147483647 h 35"/>
                <a:gd name="T40" fmla="*/ 2147483647 w 34"/>
                <a:gd name="T41" fmla="*/ 2147483647 h 35"/>
                <a:gd name="T42" fmla="*/ 2147483647 w 34"/>
                <a:gd name="T43" fmla="*/ 2147483647 h 35"/>
                <a:gd name="T44" fmla="*/ 2147483647 w 34"/>
                <a:gd name="T45" fmla="*/ 2147483647 h 35"/>
                <a:gd name="T46" fmla="*/ 2147483647 w 34"/>
                <a:gd name="T47" fmla="*/ 2147483647 h 35"/>
                <a:gd name="T48" fmla="*/ 2147483647 w 34"/>
                <a:gd name="T49" fmla="*/ 2147483647 h 35"/>
                <a:gd name="T50" fmla="*/ 2147483647 w 34"/>
                <a:gd name="T51" fmla="*/ 2147483647 h 35"/>
                <a:gd name="T52" fmla="*/ 2147483647 w 34"/>
                <a:gd name="T53" fmla="*/ 2147483647 h 35"/>
                <a:gd name="T54" fmla="*/ 2147483647 w 34"/>
                <a:gd name="T55" fmla="*/ 2147483647 h 35"/>
                <a:gd name="T56" fmla="*/ 2147483647 w 34"/>
                <a:gd name="T57" fmla="*/ 2147483647 h 35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34"/>
                <a:gd name="T88" fmla="*/ 0 h 35"/>
                <a:gd name="T89" fmla="*/ 34 w 34"/>
                <a:gd name="T90" fmla="*/ 35 h 35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34" h="35">
                  <a:moveTo>
                    <a:pt x="34" y="15"/>
                  </a:moveTo>
                  <a:lnTo>
                    <a:pt x="34" y="15"/>
                  </a:lnTo>
                  <a:lnTo>
                    <a:pt x="31" y="12"/>
                  </a:lnTo>
                  <a:lnTo>
                    <a:pt x="26" y="6"/>
                  </a:lnTo>
                  <a:lnTo>
                    <a:pt x="17" y="0"/>
                  </a:lnTo>
                  <a:lnTo>
                    <a:pt x="14" y="0"/>
                  </a:lnTo>
                  <a:lnTo>
                    <a:pt x="8" y="0"/>
                  </a:lnTo>
                  <a:lnTo>
                    <a:pt x="3" y="3"/>
                  </a:lnTo>
                  <a:lnTo>
                    <a:pt x="0" y="9"/>
                  </a:lnTo>
                  <a:lnTo>
                    <a:pt x="3" y="9"/>
                  </a:lnTo>
                  <a:lnTo>
                    <a:pt x="6" y="9"/>
                  </a:lnTo>
                  <a:lnTo>
                    <a:pt x="6" y="12"/>
                  </a:lnTo>
                  <a:lnTo>
                    <a:pt x="8" y="17"/>
                  </a:lnTo>
                  <a:lnTo>
                    <a:pt x="6" y="20"/>
                  </a:lnTo>
                  <a:lnTo>
                    <a:pt x="8" y="29"/>
                  </a:lnTo>
                  <a:lnTo>
                    <a:pt x="14" y="20"/>
                  </a:lnTo>
                  <a:lnTo>
                    <a:pt x="17" y="32"/>
                  </a:lnTo>
                  <a:lnTo>
                    <a:pt x="20" y="26"/>
                  </a:lnTo>
                  <a:lnTo>
                    <a:pt x="23" y="29"/>
                  </a:lnTo>
                  <a:lnTo>
                    <a:pt x="28" y="35"/>
                  </a:lnTo>
                  <a:lnTo>
                    <a:pt x="34" y="35"/>
                  </a:lnTo>
                  <a:lnTo>
                    <a:pt x="28" y="23"/>
                  </a:lnTo>
                  <a:lnTo>
                    <a:pt x="26" y="17"/>
                  </a:lnTo>
                  <a:lnTo>
                    <a:pt x="26" y="15"/>
                  </a:lnTo>
                  <a:lnTo>
                    <a:pt x="34" y="15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53" name="Freeform 304"/>
            <p:cNvSpPr>
              <a:spLocks noChangeAspect="1"/>
            </p:cNvSpPr>
            <p:nvPr/>
          </p:nvSpPr>
          <p:spPr bwMode="gray">
            <a:xfrm>
              <a:off x="6530967" y="3193802"/>
              <a:ext cx="174054" cy="196316"/>
            </a:xfrm>
            <a:custGeom>
              <a:avLst/>
              <a:gdLst>
                <a:gd name="T0" fmla="*/ 0 w 68"/>
                <a:gd name="T1" fmla="*/ 2147483647 h 69"/>
                <a:gd name="T2" fmla="*/ 2147483647 w 68"/>
                <a:gd name="T3" fmla="*/ 2147483647 h 69"/>
                <a:gd name="T4" fmla="*/ 2147483647 w 68"/>
                <a:gd name="T5" fmla="*/ 2147483647 h 69"/>
                <a:gd name="T6" fmla="*/ 2147483647 w 68"/>
                <a:gd name="T7" fmla="*/ 2147483647 h 69"/>
                <a:gd name="T8" fmla="*/ 2147483647 w 68"/>
                <a:gd name="T9" fmla="*/ 2147483647 h 69"/>
                <a:gd name="T10" fmla="*/ 2147483647 w 68"/>
                <a:gd name="T11" fmla="*/ 2147483647 h 69"/>
                <a:gd name="T12" fmla="*/ 2147483647 w 68"/>
                <a:gd name="T13" fmla="*/ 2147483647 h 69"/>
                <a:gd name="T14" fmla="*/ 2147483647 w 68"/>
                <a:gd name="T15" fmla="*/ 2147483647 h 69"/>
                <a:gd name="T16" fmla="*/ 2147483647 w 68"/>
                <a:gd name="T17" fmla="*/ 2147483647 h 69"/>
                <a:gd name="T18" fmla="*/ 2147483647 w 68"/>
                <a:gd name="T19" fmla="*/ 2147483647 h 69"/>
                <a:gd name="T20" fmla="*/ 2147483647 w 68"/>
                <a:gd name="T21" fmla="*/ 2147483647 h 69"/>
                <a:gd name="T22" fmla="*/ 2147483647 w 68"/>
                <a:gd name="T23" fmla="*/ 2147483647 h 69"/>
                <a:gd name="T24" fmla="*/ 2147483647 w 68"/>
                <a:gd name="T25" fmla="*/ 2147483647 h 69"/>
                <a:gd name="T26" fmla="*/ 2147483647 w 68"/>
                <a:gd name="T27" fmla="*/ 2147483647 h 69"/>
                <a:gd name="T28" fmla="*/ 2147483647 w 68"/>
                <a:gd name="T29" fmla="*/ 2147483647 h 69"/>
                <a:gd name="T30" fmla="*/ 2147483647 w 68"/>
                <a:gd name="T31" fmla="*/ 2147483647 h 69"/>
                <a:gd name="T32" fmla="*/ 2147483647 w 68"/>
                <a:gd name="T33" fmla="*/ 2147483647 h 69"/>
                <a:gd name="T34" fmla="*/ 2147483647 w 68"/>
                <a:gd name="T35" fmla="*/ 2147483647 h 69"/>
                <a:gd name="T36" fmla="*/ 2147483647 w 68"/>
                <a:gd name="T37" fmla="*/ 2147483647 h 69"/>
                <a:gd name="T38" fmla="*/ 2147483647 w 68"/>
                <a:gd name="T39" fmla="*/ 0 h 69"/>
                <a:gd name="T40" fmla="*/ 2147483647 w 68"/>
                <a:gd name="T41" fmla="*/ 2147483647 h 69"/>
                <a:gd name="T42" fmla="*/ 2147483647 w 68"/>
                <a:gd name="T43" fmla="*/ 2147483647 h 69"/>
                <a:gd name="T44" fmla="*/ 2147483647 w 68"/>
                <a:gd name="T45" fmla="*/ 2147483647 h 69"/>
                <a:gd name="T46" fmla="*/ 2147483647 w 68"/>
                <a:gd name="T47" fmla="*/ 2147483647 h 69"/>
                <a:gd name="T48" fmla="*/ 2147483647 w 68"/>
                <a:gd name="T49" fmla="*/ 2147483647 h 69"/>
                <a:gd name="T50" fmla="*/ 2147483647 w 68"/>
                <a:gd name="T51" fmla="*/ 2147483647 h 69"/>
                <a:gd name="T52" fmla="*/ 2147483647 w 68"/>
                <a:gd name="T53" fmla="*/ 2147483647 h 69"/>
                <a:gd name="T54" fmla="*/ 2147483647 w 68"/>
                <a:gd name="T55" fmla="*/ 2147483647 h 69"/>
                <a:gd name="T56" fmla="*/ 2147483647 w 68"/>
                <a:gd name="T57" fmla="*/ 2147483647 h 69"/>
                <a:gd name="T58" fmla="*/ 2147483647 w 68"/>
                <a:gd name="T59" fmla="*/ 2147483647 h 69"/>
                <a:gd name="T60" fmla="*/ 2147483647 w 68"/>
                <a:gd name="T61" fmla="*/ 2147483647 h 69"/>
                <a:gd name="T62" fmla="*/ 2147483647 w 68"/>
                <a:gd name="T63" fmla="*/ 2147483647 h 69"/>
                <a:gd name="T64" fmla="*/ 2147483647 w 68"/>
                <a:gd name="T65" fmla="*/ 2147483647 h 69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68"/>
                <a:gd name="T100" fmla="*/ 0 h 69"/>
                <a:gd name="T101" fmla="*/ 68 w 68"/>
                <a:gd name="T102" fmla="*/ 69 h 69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68" h="69">
                  <a:moveTo>
                    <a:pt x="8" y="48"/>
                  </a:moveTo>
                  <a:lnTo>
                    <a:pt x="0" y="57"/>
                  </a:lnTo>
                  <a:lnTo>
                    <a:pt x="5" y="66"/>
                  </a:lnTo>
                  <a:lnTo>
                    <a:pt x="11" y="60"/>
                  </a:lnTo>
                  <a:lnTo>
                    <a:pt x="11" y="66"/>
                  </a:lnTo>
                  <a:lnTo>
                    <a:pt x="20" y="69"/>
                  </a:lnTo>
                  <a:lnTo>
                    <a:pt x="31" y="66"/>
                  </a:lnTo>
                  <a:lnTo>
                    <a:pt x="40" y="60"/>
                  </a:lnTo>
                  <a:lnTo>
                    <a:pt x="45" y="57"/>
                  </a:lnTo>
                  <a:lnTo>
                    <a:pt x="48" y="54"/>
                  </a:lnTo>
                  <a:lnTo>
                    <a:pt x="57" y="54"/>
                  </a:lnTo>
                  <a:lnTo>
                    <a:pt x="60" y="54"/>
                  </a:lnTo>
                  <a:lnTo>
                    <a:pt x="66" y="43"/>
                  </a:lnTo>
                  <a:lnTo>
                    <a:pt x="68" y="37"/>
                  </a:lnTo>
                  <a:lnTo>
                    <a:pt x="66" y="31"/>
                  </a:lnTo>
                  <a:lnTo>
                    <a:pt x="66" y="23"/>
                  </a:lnTo>
                  <a:lnTo>
                    <a:pt x="63" y="20"/>
                  </a:lnTo>
                  <a:lnTo>
                    <a:pt x="57" y="20"/>
                  </a:lnTo>
                  <a:lnTo>
                    <a:pt x="57" y="17"/>
                  </a:lnTo>
                  <a:lnTo>
                    <a:pt x="54" y="20"/>
                  </a:lnTo>
                  <a:lnTo>
                    <a:pt x="45" y="23"/>
                  </a:lnTo>
                  <a:lnTo>
                    <a:pt x="40" y="20"/>
                  </a:lnTo>
                  <a:lnTo>
                    <a:pt x="40" y="17"/>
                  </a:lnTo>
                  <a:lnTo>
                    <a:pt x="40" y="14"/>
                  </a:lnTo>
                  <a:lnTo>
                    <a:pt x="43" y="8"/>
                  </a:lnTo>
                  <a:lnTo>
                    <a:pt x="48" y="5"/>
                  </a:lnTo>
                  <a:lnTo>
                    <a:pt x="48" y="0"/>
                  </a:lnTo>
                  <a:lnTo>
                    <a:pt x="40" y="0"/>
                  </a:lnTo>
                  <a:lnTo>
                    <a:pt x="37" y="2"/>
                  </a:lnTo>
                  <a:lnTo>
                    <a:pt x="31" y="8"/>
                  </a:lnTo>
                  <a:lnTo>
                    <a:pt x="34" y="11"/>
                  </a:lnTo>
                  <a:lnTo>
                    <a:pt x="34" y="14"/>
                  </a:lnTo>
                  <a:lnTo>
                    <a:pt x="34" y="17"/>
                  </a:lnTo>
                  <a:lnTo>
                    <a:pt x="28" y="17"/>
                  </a:lnTo>
                  <a:lnTo>
                    <a:pt x="20" y="17"/>
                  </a:lnTo>
                  <a:lnTo>
                    <a:pt x="14" y="17"/>
                  </a:lnTo>
                  <a:lnTo>
                    <a:pt x="11" y="20"/>
                  </a:lnTo>
                  <a:lnTo>
                    <a:pt x="11" y="23"/>
                  </a:lnTo>
                  <a:lnTo>
                    <a:pt x="11" y="28"/>
                  </a:lnTo>
                  <a:lnTo>
                    <a:pt x="14" y="34"/>
                  </a:lnTo>
                  <a:lnTo>
                    <a:pt x="20" y="37"/>
                  </a:lnTo>
                  <a:lnTo>
                    <a:pt x="22" y="37"/>
                  </a:lnTo>
                  <a:lnTo>
                    <a:pt x="17" y="43"/>
                  </a:lnTo>
                  <a:lnTo>
                    <a:pt x="11" y="46"/>
                  </a:lnTo>
                  <a:lnTo>
                    <a:pt x="20" y="46"/>
                  </a:lnTo>
                  <a:lnTo>
                    <a:pt x="14" y="51"/>
                  </a:lnTo>
                  <a:lnTo>
                    <a:pt x="8" y="48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54" name="Freeform 309"/>
            <p:cNvSpPr>
              <a:spLocks noChangeAspect="1"/>
            </p:cNvSpPr>
            <p:nvPr/>
          </p:nvSpPr>
          <p:spPr bwMode="gray">
            <a:xfrm>
              <a:off x="6711904" y="3081306"/>
              <a:ext cx="8851" cy="8823"/>
            </a:xfrm>
            <a:custGeom>
              <a:avLst/>
              <a:gdLst>
                <a:gd name="T0" fmla="*/ 0 w 3"/>
                <a:gd name="T1" fmla="*/ 2147483647 h 3"/>
                <a:gd name="T2" fmla="*/ 2147483647 w 3"/>
                <a:gd name="T3" fmla="*/ 0 h 3"/>
                <a:gd name="T4" fmla="*/ 0 w 3"/>
                <a:gd name="T5" fmla="*/ 2147483647 h 3"/>
                <a:gd name="T6" fmla="*/ 0 w 3"/>
                <a:gd name="T7" fmla="*/ 2147483647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0" y="3"/>
                  </a:move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55" name="Freeform 246"/>
            <p:cNvSpPr>
              <a:spLocks noChangeAspect="1"/>
            </p:cNvSpPr>
            <p:nvPr/>
          </p:nvSpPr>
          <p:spPr bwMode="gray">
            <a:xfrm>
              <a:off x="6956760" y="3869880"/>
              <a:ext cx="22617" cy="16544"/>
            </a:xfrm>
            <a:custGeom>
              <a:avLst/>
              <a:gdLst>
                <a:gd name="T0" fmla="*/ 2147483647 w 9"/>
                <a:gd name="T1" fmla="*/ 2147483647 h 6"/>
                <a:gd name="T2" fmla="*/ 2147483647 w 9"/>
                <a:gd name="T3" fmla="*/ 2147483647 h 6"/>
                <a:gd name="T4" fmla="*/ 2147483647 w 9"/>
                <a:gd name="T5" fmla="*/ 0 h 6"/>
                <a:gd name="T6" fmla="*/ 0 w 9"/>
                <a:gd name="T7" fmla="*/ 0 h 6"/>
                <a:gd name="T8" fmla="*/ 0 w 9"/>
                <a:gd name="T9" fmla="*/ 0 h 6"/>
                <a:gd name="T10" fmla="*/ 2147483647 w 9"/>
                <a:gd name="T11" fmla="*/ 2147483647 h 6"/>
                <a:gd name="T12" fmla="*/ 2147483647 w 9"/>
                <a:gd name="T13" fmla="*/ 2147483647 h 6"/>
                <a:gd name="T14" fmla="*/ 2147483647 w 9"/>
                <a:gd name="T15" fmla="*/ 2147483647 h 6"/>
                <a:gd name="T16" fmla="*/ 2147483647 w 9"/>
                <a:gd name="T17" fmla="*/ 2147483647 h 6"/>
                <a:gd name="T18" fmla="*/ 2147483647 w 9"/>
                <a:gd name="T19" fmla="*/ 2147483647 h 6"/>
                <a:gd name="T20" fmla="*/ 2147483647 w 9"/>
                <a:gd name="T21" fmla="*/ 2147483647 h 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9"/>
                <a:gd name="T34" fmla="*/ 0 h 6"/>
                <a:gd name="T35" fmla="*/ 9 w 9"/>
                <a:gd name="T36" fmla="*/ 6 h 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9" h="6">
                  <a:moveTo>
                    <a:pt x="3" y="6"/>
                  </a:moveTo>
                  <a:lnTo>
                    <a:pt x="9" y="3"/>
                  </a:lnTo>
                  <a:lnTo>
                    <a:pt x="6" y="0"/>
                  </a:lnTo>
                  <a:lnTo>
                    <a:pt x="0" y="0"/>
                  </a:lnTo>
                  <a:lnTo>
                    <a:pt x="3" y="6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56" name="Freeform 248"/>
            <p:cNvSpPr>
              <a:spLocks noChangeAspect="1"/>
            </p:cNvSpPr>
            <p:nvPr/>
          </p:nvSpPr>
          <p:spPr bwMode="gray">
            <a:xfrm>
              <a:off x="7150482" y="3586434"/>
              <a:ext cx="182904" cy="100364"/>
            </a:xfrm>
            <a:custGeom>
              <a:avLst/>
              <a:gdLst>
                <a:gd name="T0" fmla="*/ 2147483647 w 71"/>
                <a:gd name="T1" fmla="*/ 2147483647 h 35"/>
                <a:gd name="T2" fmla="*/ 2147483647 w 71"/>
                <a:gd name="T3" fmla="*/ 2147483647 h 35"/>
                <a:gd name="T4" fmla="*/ 2147483647 w 71"/>
                <a:gd name="T5" fmla="*/ 2147483647 h 35"/>
                <a:gd name="T6" fmla="*/ 2147483647 w 71"/>
                <a:gd name="T7" fmla="*/ 2147483647 h 35"/>
                <a:gd name="T8" fmla="*/ 2147483647 w 71"/>
                <a:gd name="T9" fmla="*/ 2147483647 h 35"/>
                <a:gd name="T10" fmla="*/ 0 w 71"/>
                <a:gd name="T11" fmla="*/ 2147483647 h 35"/>
                <a:gd name="T12" fmla="*/ 2147483647 w 71"/>
                <a:gd name="T13" fmla="*/ 2147483647 h 35"/>
                <a:gd name="T14" fmla="*/ 2147483647 w 71"/>
                <a:gd name="T15" fmla="*/ 2147483647 h 35"/>
                <a:gd name="T16" fmla="*/ 2147483647 w 71"/>
                <a:gd name="T17" fmla="*/ 2147483647 h 35"/>
                <a:gd name="T18" fmla="*/ 2147483647 w 71"/>
                <a:gd name="T19" fmla="*/ 2147483647 h 35"/>
                <a:gd name="T20" fmla="*/ 2147483647 w 71"/>
                <a:gd name="T21" fmla="*/ 2147483647 h 35"/>
                <a:gd name="T22" fmla="*/ 2147483647 w 71"/>
                <a:gd name="T23" fmla="*/ 2147483647 h 35"/>
                <a:gd name="T24" fmla="*/ 2147483647 w 71"/>
                <a:gd name="T25" fmla="*/ 2147483647 h 35"/>
                <a:gd name="T26" fmla="*/ 2147483647 w 71"/>
                <a:gd name="T27" fmla="*/ 2147483647 h 35"/>
                <a:gd name="T28" fmla="*/ 2147483647 w 71"/>
                <a:gd name="T29" fmla="*/ 2147483647 h 35"/>
                <a:gd name="T30" fmla="*/ 2147483647 w 71"/>
                <a:gd name="T31" fmla="*/ 2147483647 h 35"/>
                <a:gd name="T32" fmla="*/ 2147483647 w 71"/>
                <a:gd name="T33" fmla="*/ 2147483647 h 35"/>
                <a:gd name="T34" fmla="*/ 2147483647 w 71"/>
                <a:gd name="T35" fmla="*/ 2147483647 h 35"/>
                <a:gd name="T36" fmla="*/ 2147483647 w 71"/>
                <a:gd name="T37" fmla="*/ 2147483647 h 35"/>
                <a:gd name="T38" fmla="*/ 2147483647 w 71"/>
                <a:gd name="T39" fmla="*/ 2147483647 h 35"/>
                <a:gd name="T40" fmla="*/ 2147483647 w 71"/>
                <a:gd name="T41" fmla="*/ 2147483647 h 35"/>
                <a:gd name="T42" fmla="*/ 2147483647 w 71"/>
                <a:gd name="T43" fmla="*/ 2147483647 h 35"/>
                <a:gd name="T44" fmla="*/ 2147483647 w 71"/>
                <a:gd name="T45" fmla="*/ 2147483647 h 35"/>
                <a:gd name="T46" fmla="*/ 2147483647 w 71"/>
                <a:gd name="T47" fmla="*/ 2147483647 h 35"/>
                <a:gd name="T48" fmla="*/ 2147483647 w 71"/>
                <a:gd name="T49" fmla="*/ 2147483647 h 35"/>
                <a:gd name="T50" fmla="*/ 2147483647 w 71"/>
                <a:gd name="T51" fmla="*/ 2147483647 h 35"/>
                <a:gd name="T52" fmla="*/ 2147483647 w 71"/>
                <a:gd name="T53" fmla="*/ 2147483647 h 35"/>
                <a:gd name="T54" fmla="*/ 2147483647 w 71"/>
                <a:gd name="T55" fmla="*/ 2147483647 h 35"/>
                <a:gd name="T56" fmla="*/ 2147483647 w 71"/>
                <a:gd name="T57" fmla="*/ 2147483647 h 35"/>
                <a:gd name="T58" fmla="*/ 2147483647 w 71"/>
                <a:gd name="T59" fmla="*/ 2147483647 h 35"/>
                <a:gd name="T60" fmla="*/ 2147483647 w 71"/>
                <a:gd name="T61" fmla="*/ 2147483647 h 35"/>
                <a:gd name="T62" fmla="*/ 2147483647 w 71"/>
                <a:gd name="T63" fmla="*/ 2147483647 h 35"/>
                <a:gd name="T64" fmla="*/ 2147483647 w 71"/>
                <a:gd name="T65" fmla="*/ 2147483647 h 35"/>
                <a:gd name="T66" fmla="*/ 2147483647 w 71"/>
                <a:gd name="T67" fmla="*/ 2147483647 h 35"/>
                <a:gd name="T68" fmla="*/ 2147483647 w 71"/>
                <a:gd name="T69" fmla="*/ 2147483647 h 35"/>
                <a:gd name="T70" fmla="*/ 2147483647 w 71"/>
                <a:gd name="T71" fmla="*/ 2147483647 h 35"/>
                <a:gd name="T72" fmla="*/ 2147483647 w 71"/>
                <a:gd name="T73" fmla="*/ 2147483647 h 35"/>
                <a:gd name="T74" fmla="*/ 2147483647 w 71"/>
                <a:gd name="T75" fmla="*/ 0 h 35"/>
                <a:gd name="T76" fmla="*/ 2147483647 w 71"/>
                <a:gd name="T77" fmla="*/ 2147483647 h 35"/>
                <a:gd name="T78" fmla="*/ 2147483647 w 71"/>
                <a:gd name="T79" fmla="*/ 2147483647 h 35"/>
                <a:gd name="T80" fmla="*/ 2147483647 w 71"/>
                <a:gd name="T81" fmla="*/ 2147483647 h 35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71"/>
                <a:gd name="T124" fmla="*/ 0 h 35"/>
                <a:gd name="T125" fmla="*/ 71 w 71"/>
                <a:gd name="T126" fmla="*/ 35 h 35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71" h="35">
                  <a:moveTo>
                    <a:pt x="20" y="9"/>
                  </a:moveTo>
                  <a:lnTo>
                    <a:pt x="20" y="9"/>
                  </a:lnTo>
                  <a:lnTo>
                    <a:pt x="17" y="9"/>
                  </a:lnTo>
                  <a:lnTo>
                    <a:pt x="14" y="12"/>
                  </a:lnTo>
                  <a:lnTo>
                    <a:pt x="5" y="23"/>
                  </a:lnTo>
                  <a:lnTo>
                    <a:pt x="0" y="29"/>
                  </a:lnTo>
                  <a:lnTo>
                    <a:pt x="3" y="32"/>
                  </a:lnTo>
                  <a:lnTo>
                    <a:pt x="8" y="21"/>
                  </a:lnTo>
                  <a:lnTo>
                    <a:pt x="14" y="32"/>
                  </a:lnTo>
                  <a:lnTo>
                    <a:pt x="17" y="35"/>
                  </a:lnTo>
                  <a:lnTo>
                    <a:pt x="23" y="32"/>
                  </a:lnTo>
                  <a:lnTo>
                    <a:pt x="28" y="35"/>
                  </a:lnTo>
                  <a:lnTo>
                    <a:pt x="28" y="26"/>
                  </a:lnTo>
                  <a:lnTo>
                    <a:pt x="31" y="26"/>
                  </a:lnTo>
                  <a:lnTo>
                    <a:pt x="37" y="26"/>
                  </a:lnTo>
                  <a:lnTo>
                    <a:pt x="46" y="35"/>
                  </a:lnTo>
                  <a:lnTo>
                    <a:pt x="51" y="23"/>
                  </a:lnTo>
                  <a:lnTo>
                    <a:pt x="51" y="26"/>
                  </a:lnTo>
                  <a:lnTo>
                    <a:pt x="54" y="29"/>
                  </a:lnTo>
                  <a:lnTo>
                    <a:pt x="60" y="23"/>
                  </a:lnTo>
                  <a:lnTo>
                    <a:pt x="60" y="26"/>
                  </a:lnTo>
                  <a:lnTo>
                    <a:pt x="63" y="21"/>
                  </a:lnTo>
                  <a:lnTo>
                    <a:pt x="66" y="23"/>
                  </a:lnTo>
                  <a:lnTo>
                    <a:pt x="69" y="15"/>
                  </a:lnTo>
                  <a:lnTo>
                    <a:pt x="71" y="15"/>
                  </a:lnTo>
                  <a:lnTo>
                    <a:pt x="71" y="6"/>
                  </a:lnTo>
                  <a:lnTo>
                    <a:pt x="69" y="6"/>
                  </a:lnTo>
                  <a:lnTo>
                    <a:pt x="66" y="9"/>
                  </a:lnTo>
                  <a:lnTo>
                    <a:pt x="60" y="6"/>
                  </a:lnTo>
                  <a:lnTo>
                    <a:pt x="54" y="6"/>
                  </a:lnTo>
                  <a:lnTo>
                    <a:pt x="46" y="3"/>
                  </a:lnTo>
                  <a:lnTo>
                    <a:pt x="40" y="0"/>
                  </a:lnTo>
                  <a:lnTo>
                    <a:pt x="34" y="6"/>
                  </a:lnTo>
                  <a:lnTo>
                    <a:pt x="23" y="6"/>
                  </a:lnTo>
                  <a:lnTo>
                    <a:pt x="20" y="9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57" name="Freeform 287"/>
            <p:cNvSpPr>
              <a:spLocks noChangeAspect="1"/>
            </p:cNvSpPr>
            <p:nvPr/>
          </p:nvSpPr>
          <p:spPr bwMode="gray">
            <a:xfrm>
              <a:off x="6816140" y="3638270"/>
              <a:ext cx="8851" cy="14339"/>
            </a:xfrm>
            <a:custGeom>
              <a:avLst/>
              <a:gdLst>
                <a:gd name="T0" fmla="*/ 0 w 3"/>
                <a:gd name="T1" fmla="*/ 0 h 5"/>
                <a:gd name="T2" fmla="*/ 0 w 3"/>
                <a:gd name="T3" fmla="*/ 2147483647 h 5"/>
                <a:gd name="T4" fmla="*/ 2147483647 w 3"/>
                <a:gd name="T5" fmla="*/ 2147483647 h 5"/>
                <a:gd name="T6" fmla="*/ 0 w 3"/>
                <a:gd name="T7" fmla="*/ 0 h 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5"/>
                <a:gd name="T14" fmla="*/ 3 w 3"/>
                <a:gd name="T15" fmla="*/ 5 h 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5">
                  <a:moveTo>
                    <a:pt x="0" y="0"/>
                  </a:moveTo>
                  <a:lnTo>
                    <a:pt x="0" y="5"/>
                  </a:lnTo>
                  <a:lnTo>
                    <a:pt x="3" y="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58" name="Freeform 303"/>
            <p:cNvSpPr>
              <a:spLocks noChangeAspect="1"/>
            </p:cNvSpPr>
            <p:nvPr/>
          </p:nvSpPr>
          <p:spPr bwMode="gray">
            <a:xfrm>
              <a:off x="6699120" y="3068070"/>
              <a:ext cx="5900" cy="13234"/>
            </a:xfrm>
            <a:custGeom>
              <a:avLst/>
              <a:gdLst>
                <a:gd name="T0" fmla="*/ 2147483647 w 2"/>
                <a:gd name="T1" fmla="*/ 0 h 5"/>
                <a:gd name="T2" fmla="*/ 0 w 2"/>
                <a:gd name="T3" fmla="*/ 2147483647 h 5"/>
                <a:gd name="T4" fmla="*/ 0 w 2"/>
                <a:gd name="T5" fmla="*/ 2147483647 h 5"/>
                <a:gd name="T6" fmla="*/ 2147483647 w 2"/>
                <a:gd name="T7" fmla="*/ 2147483647 h 5"/>
                <a:gd name="T8" fmla="*/ 2147483647 w 2"/>
                <a:gd name="T9" fmla="*/ 0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"/>
                <a:gd name="T16" fmla="*/ 0 h 5"/>
                <a:gd name="T17" fmla="*/ 2 w 2"/>
                <a:gd name="T18" fmla="*/ 5 h 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" h="5">
                  <a:moveTo>
                    <a:pt x="2" y="0"/>
                  </a:moveTo>
                  <a:lnTo>
                    <a:pt x="0" y="2"/>
                  </a:lnTo>
                  <a:lnTo>
                    <a:pt x="0" y="5"/>
                  </a:lnTo>
                  <a:lnTo>
                    <a:pt x="2" y="5"/>
                  </a:lnTo>
                  <a:lnTo>
                    <a:pt x="2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59" name="Freeform 308"/>
            <p:cNvSpPr>
              <a:spLocks noChangeAspect="1"/>
            </p:cNvSpPr>
            <p:nvPr/>
          </p:nvSpPr>
          <p:spPr bwMode="gray">
            <a:xfrm>
              <a:off x="6720755" y="3564376"/>
              <a:ext cx="14751" cy="17646"/>
            </a:xfrm>
            <a:custGeom>
              <a:avLst/>
              <a:gdLst>
                <a:gd name="T0" fmla="*/ 2147483647 w 6"/>
                <a:gd name="T1" fmla="*/ 0 h 6"/>
                <a:gd name="T2" fmla="*/ 0 w 6"/>
                <a:gd name="T3" fmla="*/ 2147483647 h 6"/>
                <a:gd name="T4" fmla="*/ 2147483647 w 6"/>
                <a:gd name="T5" fmla="*/ 2147483647 h 6"/>
                <a:gd name="T6" fmla="*/ 2147483647 w 6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6"/>
                <a:gd name="T14" fmla="*/ 6 w 6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6">
                  <a:moveTo>
                    <a:pt x="6" y="0"/>
                  </a:moveTo>
                  <a:lnTo>
                    <a:pt x="0" y="3"/>
                  </a:lnTo>
                  <a:lnTo>
                    <a:pt x="6" y="6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60" name="Freeform 312"/>
            <p:cNvSpPr>
              <a:spLocks noChangeAspect="1"/>
            </p:cNvSpPr>
            <p:nvPr/>
          </p:nvSpPr>
          <p:spPr bwMode="gray">
            <a:xfrm>
              <a:off x="6780739" y="3604080"/>
              <a:ext cx="15733" cy="16543"/>
            </a:xfrm>
            <a:custGeom>
              <a:avLst/>
              <a:gdLst>
                <a:gd name="T0" fmla="*/ 2147483647 w 6"/>
                <a:gd name="T1" fmla="*/ 0 h 6"/>
                <a:gd name="T2" fmla="*/ 0 w 6"/>
                <a:gd name="T3" fmla="*/ 2147483647 h 6"/>
                <a:gd name="T4" fmla="*/ 2147483647 w 6"/>
                <a:gd name="T5" fmla="*/ 2147483647 h 6"/>
                <a:gd name="T6" fmla="*/ 2147483647 w 6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6"/>
                <a:gd name="T14" fmla="*/ 6 w 6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6">
                  <a:moveTo>
                    <a:pt x="6" y="0"/>
                  </a:moveTo>
                  <a:lnTo>
                    <a:pt x="0" y="6"/>
                  </a:lnTo>
                  <a:lnTo>
                    <a:pt x="6" y="6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61" name="Rectangle 316"/>
            <p:cNvSpPr>
              <a:spLocks noChangeAspect="1" noChangeArrowheads="1"/>
            </p:cNvSpPr>
            <p:nvPr/>
          </p:nvSpPr>
          <p:spPr bwMode="gray">
            <a:xfrm>
              <a:off x="6705021" y="3090129"/>
              <a:ext cx="6884" cy="8823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SzPct val="75000"/>
              </a:pPr>
              <a:endParaRPr lang="de-DE"/>
            </a:p>
          </p:txBody>
        </p:sp>
        <p:sp>
          <p:nvSpPr>
            <p:cNvPr id="62" name="Rectangle 317"/>
            <p:cNvSpPr>
              <a:spLocks noChangeAspect="1" noChangeArrowheads="1"/>
            </p:cNvSpPr>
            <p:nvPr/>
          </p:nvSpPr>
          <p:spPr bwMode="gray">
            <a:xfrm>
              <a:off x="6720755" y="3068070"/>
              <a:ext cx="6884" cy="13234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SzPct val="75000"/>
              </a:pPr>
              <a:endParaRPr lang="de-DE"/>
            </a:p>
          </p:txBody>
        </p:sp>
        <p:sp>
          <p:nvSpPr>
            <p:cNvPr id="63" name="Freeform 216"/>
            <p:cNvSpPr>
              <a:spLocks noChangeAspect="1"/>
            </p:cNvSpPr>
            <p:nvPr/>
          </p:nvSpPr>
          <p:spPr bwMode="gray">
            <a:xfrm>
              <a:off x="7437621" y="3662533"/>
              <a:ext cx="234039" cy="157716"/>
            </a:xfrm>
            <a:custGeom>
              <a:avLst/>
              <a:gdLst>
                <a:gd name="T0" fmla="*/ 2147483647 w 345"/>
                <a:gd name="T1" fmla="*/ 2147483647 h 208"/>
                <a:gd name="T2" fmla="*/ 2147483647 w 345"/>
                <a:gd name="T3" fmla="*/ 2147483647 h 208"/>
                <a:gd name="T4" fmla="*/ 2147483647 w 345"/>
                <a:gd name="T5" fmla="*/ 2147483647 h 208"/>
                <a:gd name="T6" fmla="*/ 2147483647 w 345"/>
                <a:gd name="T7" fmla="*/ 2147483647 h 208"/>
                <a:gd name="T8" fmla="*/ 2147483647 w 345"/>
                <a:gd name="T9" fmla="*/ 2147483647 h 208"/>
                <a:gd name="T10" fmla="*/ 2147483647 w 345"/>
                <a:gd name="T11" fmla="*/ 2147483647 h 208"/>
                <a:gd name="T12" fmla="*/ 2147483647 w 345"/>
                <a:gd name="T13" fmla="*/ 2147483647 h 208"/>
                <a:gd name="T14" fmla="*/ 2147483647 w 345"/>
                <a:gd name="T15" fmla="*/ 2147483647 h 208"/>
                <a:gd name="T16" fmla="*/ 2147483647 w 345"/>
                <a:gd name="T17" fmla="*/ 2147483647 h 208"/>
                <a:gd name="T18" fmla="*/ 2147483647 w 345"/>
                <a:gd name="T19" fmla="*/ 2147483647 h 208"/>
                <a:gd name="T20" fmla="*/ 2147483647 w 345"/>
                <a:gd name="T21" fmla="*/ 2147483647 h 208"/>
                <a:gd name="T22" fmla="*/ 2147483647 w 345"/>
                <a:gd name="T23" fmla="*/ 2147483647 h 208"/>
                <a:gd name="T24" fmla="*/ 2147483647 w 345"/>
                <a:gd name="T25" fmla="*/ 2147483647 h 208"/>
                <a:gd name="T26" fmla="*/ 2147483647 w 345"/>
                <a:gd name="T27" fmla="*/ 2147483647 h 208"/>
                <a:gd name="T28" fmla="*/ 2147483647 w 345"/>
                <a:gd name="T29" fmla="*/ 2147483647 h 208"/>
                <a:gd name="T30" fmla="*/ 2147483647 w 345"/>
                <a:gd name="T31" fmla="*/ 2147483647 h 208"/>
                <a:gd name="T32" fmla="*/ 2147483647 w 345"/>
                <a:gd name="T33" fmla="*/ 2147483647 h 208"/>
                <a:gd name="T34" fmla="*/ 2147483647 w 345"/>
                <a:gd name="T35" fmla="*/ 2147483647 h 208"/>
                <a:gd name="T36" fmla="*/ 2147483647 w 345"/>
                <a:gd name="T37" fmla="*/ 2147483647 h 208"/>
                <a:gd name="T38" fmla="*/ 2147483647 w 345"/>
                <a:gd name="T39" fmla="*/ 2147483647 h 208"/>
                <a:gd name="T40" fmla="*/ 2147483647 w 345"/>
                <a:gd name="T41" fmla="*/ 2147483647 h 208"/>
                <a:gd name="T42" fmla="*/ 2147483647 w 345"/>
                <a:gd name="T43" fmla="*/ 2147483647 h 208"/>
                <a:gd name="T44" fmla="*/ 2147483647 w 345"/>
                <a:gd name="T45" fmla="*/ 2147483647 h 208"/>
                <a:gd name="T46" fmla="*/ 2147483647 w 345"/>
                <a:gd name="T47" fmla="*/ 2147483647 h 208"/>
                <a:gd name="T48" fmla="*/ 2147483647 w 345"/>
                <a:gd name="T49" fmla="*/ 2147483647 h 208"/>
                <a:gd name="T50" fmla="*/ 2147483647 w 345"/>
                <a:gd name="T51" fmla="*/ 2147483647 h 208"/>
                <a:gd name="T52" fmla="*/ 2147483647 w 345"/>
                <a:gd name="T53" fmla="*/ 2147483647 h 208"/>
                <a:gd name="T54" fmla="*/ 2147483647 w 345"/>
                <a:gd name="T55" fmla="*/ 2147483647 h 208"/>
                <a:gd name="T56" fmla="*/ 2147483647 w 345"/>
                <a:gd name="T57" fmla="*/ 2147483647 h 208"/>
                <a:gd name="T58" fmla="*/ 2147483647 w 345"/>
                <a:gd name="T59" fmla="*/ 2147483647 h 208"/>
                <a:gd name="T60" fmla="*/ 2147483647 w 345"/>
                <a:gd name="T61" fmla="*/ 2147483647 h 208"/>
                <a:gd name="T62" fmla="*/ 2147483647 w 345"/>
                <a:gd name="T63" fmla="*/ 2147483647 h 208"/>
                <a:gd name="T64" fmla="*/ 2147483647 w 345"/>
                <a:gd name="T65" fmla="*/ 2147483647 h 208"/>
                <a:gd name="T66" fmla="*/ 2147483647 w 345"/>
                <a:gd name="T67" fmla="*/ 2147483647 h 208"/>
                <a:gd name="T68" fmla="*/ 2147483647 w 345"/>
                <a:gd name="T69" fmla="*/ 2147483647 h 208"/>
                <a:gd name="T70" fmla="*/ 2147483647 w 345"/>
                <a:gd name="T71" fmla="*/ 2147483647 h 208"/>
                <a:gd name="T72" fmla="*/ 2147483647 w 345"/>
                <a:gd name="T73" fmla="*/ 2147483647 h 208"/>
                <a:gd name="T74" fmla="*/ 2147483647 w 345"/>
                <a:gd name="T75" fmla="*/ 2147483647 h 208"/>
                <a:gd name="T76" fmla="*/ 2147483647 w 345"/>
                <a:gd name="T77" fmla="*/ 2147483647 h 208"/>
                <a:gd name="T78" fmla="*/ 2147483647 w 345"/>
                <a:gd name="T79" fmla="*/ 2147483647 h 208"/>
                <a:gd name="T80" fmla="*/ 2147483647 w 345"/>
                <a:gd name="T81" fmla="*/ 2147483647 h 208"/>
                <a:gd name="T82" fmla="*/ 2147483647 w 345"/>
                <a:gd name="T83" fmla="*/ 2147483647 h 208"/>
                <a:gd name="T84" fmla="*/ 2147483647 w 345"/>
                <a:gd name="T85" fmla="*/ 2147483647 h 208"/>
                <a:gd name="T86" fmla="*/ 2147483647 w 345"/>
                <a:gd name="T87" fmla="*/ 2147483647 h 208"/>
                <a:gd name="T88" fmla="*/ 2147483647 w 345"/>
                <a:gd name="T89" fmla="*/ 2147483647 h 208"/>
                <a:gd name="T90" fmla="*/ 2147483647 w 345"/>
                <a:gd name="T91" fmla="*/ 2147483647 h 208"/>
                <a:gd name="T92" fmla="*/ 2147483647 w 345"/>
                <a:gd name="T93" fmla="*/ 2147483647 h 208"/>
                <a:gd name="T94" fmla="*/ 2147483647 w 345"/>
                <a:gd name="T95" fmla="*/ 2147483647 h 208"/>
                <a:gd name="T96" fmla="*/ 2147483647 w 345"/>
                <a:gd name="T97" fmla="*/ 2147483647 h 208"/>
                <a:gd name="T98" fmla="*/ 2147483647 w 345"/>
                <a:gd name="T99" fmla="*/ 2147483647 h 208"/>
                <a:gd name="T100" fmla="*/ 2147483647 w 345"/>
                <a:gd name="T101" fmla="*/ 2147483647 h 208"/>
                <a:gd name="T102" fmla="*/ 2147483647 w 345"/>
                <a:gd name="T103" fmla="*/ 2147483647 h 208"/>
                <a:gd name="T104" fmla="*/ 2147483647 w 345"/>
                <a:gd name="T105" fmla="*/ 2147483647 h 208"/>
                <a:gd name="T106" fmla="*/ 2147483647 w 345"/>
                <a:gd name="T107" fmla="*/ 2147483647 h 208"/>
                <a:gd name="T108" fmla="*/ 2147483647 w 345"/>
                <a:gd name="T109" fmla="*/ 2147483647 h 208"/>
                <a:gd name="T110" fmla="*/ 0 w 345"/>
                <a:gd name="T111" fmla="*/ 2147483647 h 208"/>
                <a:gd name="T112" fmla="*/ 2147483647 w 345"/>
                <a:gd name="T113" fmla="*/ 2147483647 h 20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345"/>
                <a:gd name="T172" fmla="*/ 0 h 208"/>
                <a:gd name="T173" fmla="*/ 192 w 345"/>
                <a:gd name="T174" fmla="*/ 175 h 20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345" h="208">
                  <a:moveTo>
                    <a:pt x="0" y="57"/>
                  </a:moveTo>
                  <a:lnTo>
                    <a:pt x="0" y="75"/>
                  </a:lnTo>
                  <a:lnTo>
                    <a:pt x="19" y="87"/>
                  </a:lnTo>
                  <a:lnTo>
                    <a:pt x="19" y="110"/>
                  </a:lnTo>
                  <a:lnTo>
                    <a:pt x="30" y="121"/>
                  </a:lnTo>
                  <a:lnTo>
                    <a:pt x="53" y="98"/>
                  </a:lnTo>
                  <a:lnTo>
                    <a:pt x="53" y="110"/>
                  </a:lnTo>
                  <a:lnTo>
                    <a:pt x="42" y="121"/>
                  </a:lnTo>
                  <a:lnTo>
                    <a:pt x="64" y="132"/>
                  </a:lnTo>
                  <a:lnTo>
                    <a:pt x="76" y="121"/>
                  </a:lnTo>
                  <a:lnTo>
                    <a:pt x="64" y="98"/>
                  </a:lnTo>
                  <a:lnTo>
                    <a:pt x="76" y="87"/>
                  </a:lnTo>
                  <a:lnTo>
                    <a:pt x="87" y="98"/>
                  </a:lnTo>
                  <a:lnTo>
                    <a:pt x="87" y="121"/>
                  </a:lnTo>
                  <a:lnTo>
                    <a:pt x="95" y="144"/>
                  </a:lnTo>
                  <a:lnTo>
                    <a:pt x="118" y="151"/>
                  </a:lnTo>
                  <a:lnTo>
                    <a:pt x="106" y="151"/>
                  </a:lnTo>
                  <a:lnTo>
                    <a:pt x="95" y="151"/>
                  </a:lnTo>
                  <a:lnTo>
                    <a:pt x="129" y="185"/>
                  </a:lnTo>
                  <a:lnTo>
                    <a:pt x="163" y="208"/>
                  </a:lnTo>
                  <a:lnTo>
                    <a:pt x="174" y="208"/>
                  </a:lnTo>
                  <a:lnTo>
                    <a:pt x="193" y="208"/>
                  </a:lnTo>
                  <a:lnTo>
                    <a:pt x="182" y="174"/>
                  </a:lnTo>
                  <a:lnTo>
                    <a:pt x="163" y="163"/>
                  </a:lnTo>
                  <a:lnTo>
                    <a:pt x="152" y="132"/>
                  </a:lnTo>
                  <a:lnTo>
                    <a:pt x="129" y="121"/>
                  </a:lnTo>
                  <a:lnTo>
                    <a:pt x="152" y="87"/>
                  </a:lnTo>
                  <a:lnTo>
                    <a:pt x="174" y="98"/>
                  </a:lnTo>
                  <a:lnTo>
                    <a:pt x="193" y="87"/>
                  </a:lnTo>
                  <a:lnTo>
                    <a:pt x="205" y="75"/>
                  </a:lnTo>
                  <a:lnTo>
                    <a:pt x="227" y="87"/>
                  </a:lnTo>
                  <a:lnTo>
                    <a:pt x="250" y="87"/>
                  </a:lnTo>
                  <a:lnTo>
                    <a:pt x="269" y="98"/>
                  </a:lnTo>
                  <a:lnTo>
                    <a:pt x="292" y="98"/>
                  </a:lnTo>
                  <a:lnTo>
                    <a:pt x="315" y="98"/>
                  </a:lnTo>
                  <a:lnTo>
                    <a:pt x="337" y="110"/>
                  </a:lnTo>
                  <a:lnTo>
                    <a:pt x="345" y="110"/>
                  </a:lnTo>
                  <a:lnTo>
                    <a:pt x="345" y="87"/>
                  </a:lnTo>
                  <a:lnTo>
                    <a:pt x="326" y="75"/>
                  </a:lnTo>
                  <a:lnTo>
                    <a:pt x="315" y="64"/>
                  </a:lnTo>
                  <a:lnTo>
                    <a:pt x="315" y="45"/>
                  </a:lnTo>
                  <a:lnTo>
                    <a:pt x="303" y="57"/>
                  </a:lnTo>
                  <a:lnTo>
                    <a:pt x="281" y="57"/>
                  </a:lnTo>
                  <a:lnTo>
                    <a:pt x="250" y="57"/>
                  </a:lnTo>
                  <a:lnTo>
                    <a:pt x="227" y="34"/>
                  </a:lnTo>
                  <a:lnTo>
                    <a:pt x="205" y="22"/>
                  </a:lnTo>
                  <a:lnTo>
                    <a:pt x="174" y="0"/>
                  </a:lnTo>
                  <a:lnTo>
                    <a:pt x="140" y="22"/>
                  </a:lnTo>
                  <a:lnTo>
                    <a:pt x="140" y="45"/>
                  </a:lnTo>
                  <a:lnTo>
                    <a:pt x="118" y="57"/>
                  </a:lnTo>
                  <a:lnTo>
                    <a:pt x="118" y="75"/>
                  </a:lnTo>
                  <a:lnTo>
                    <a:pt x="64" y="75"/>
                  </a:lnTo>
                  <a:lnTo>
                    <a:pt x="53" y="64"/>
                  </a:lnTo>
                  <a:lnTo>
                    <a:pt x="19" y="64"/>
                  </a:lnTo>
                  <a:lnTo>
                    <a:pt x="0" y="22"/>
                  </a:lnTo>
                  <a:lnTo>
                    <a:pt x="0" y="38"/>
                  </a:lnTo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64" name="Freeform 212"/>
            <p:cNvSpPr>
              <a:spLocks noChangeAspect="1"/>
            </p:cNvSpPr>
            <p:nvPr/>
          </p:nvSpPr>
          <p:spPr bwMode="gray">
            <a:xfrm>
              <a:off x="7436638" y="3653711"/>
              <a:ext cx="118987" cy="57352"/>
            </a:xfrm>
            <a:custGeom>
              <a:avLst/>
              <a:gdLst>
                <a:gd name="T0" fmla="*/ 2147483647 w 10000"/>
                <a:gd name="T1" fmla="*/ 0 h 10000"/>
                <a:gd name="T2" fmla="*/ 2147483647 w 10000"/>
                <a:gd name="T3" fmla="*/ 2147483647 h 10000"/>
                <a:gd name="T4" fmla="*/ 0 w 10000"/>
                <a:gd name="T5" fmla="*/ 2147483647 h 10000"/>
                <a:gd name="T6" fmla="*/ 2147483647 w 10000"/>
                <a:gd name="T7" fmla="*/ 2147483647 h 10000"/>
                <a:gd name="T8" fmla="*/ 2147483647 w 10000"/>
                <a:gd name="T9" fmla="*/ 2147483647 h 10000"/>
                <a:gd name="T10" fmla="*/ 2147483647 w 10000"/>
                <a:gd name="T11" fmla="*/ 2147483647 h 10000"/>
                <a:gd name="T12" fmla="*/ 2147483647 w 10000"/>
                <a:gd name="T13" fmla="*/ 2147483647 h 10000"/>
                <a:gd name="T14" fmla="*/ 2147483647 w 10000"/>
                <a:gd name="T15" fmla="*/ 2147483647 h 10000"/>
                <a:gd name="T16" fmla="*/ 2147483647 w 10000"/>
                <a:gd name="T17" fmla="*/ 2147483647 h 10000"/>
                <a:gd name="T18" fmla="*/ 2147483647 w 10000"/>
                <a:gd name="T19" fmla="*/ 2147483647 h 10000"/>
                <a:gd name="T20" fmla="*/ 2147483647 w 10000"/>
                <a:gd name="T21" fmla="*/ 2147483647 h 10000"/>
                <a:gd name="T22" fmla="*/ 2147483647 w 10000"/>
                <a:gd name="T23" fmla="*/ 2147483647 h 10000"/>
                <a:gd name="T24" fmla="*/ 2147483647 w 10000"/>
                <a:gd name="T25" fmla="*/ 0 h 1000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0000"/>
                <a:gd name="T40" fmla="*/ 0 h 10000"/>
                <a:gd name="T41" fmla="*/ 10000 w 10000"/>
                <a:gd name="T42" fmla="*/ 10000 h 10000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0000" h="10000">
                  <a:moveTo>
                    <a:pt x="10000" y="0"/>
                  </a:moveTo>
                  <a:lnTo>
                    <a:pt x="3922" y="3048"/>
                  </a:lnTo>
                  <a:lnTo>
                    <a:pt x="0" y="2329"/>
                  </a:lnTo>
                  <a:cubicBezTo>
                    <a:pt x="142" y="3529"/>
                    <a:pt x="1059" y="7470"/>
                    <a:pt x="1212" y="8134"/>
                  </a:cubicBezTo>
                  <a:lnTo>
                    <a:pt x="1782" y="8932"/>
                  </a:lnTo>
                  <a:lnTo>
                    <a:pt x="2410" y="8932"/>
                  </a:lnTo>
                  <a:lnTo>
                    <a:pt x="3093" y="8932"/>
                  </a:lnTo>
                  <a:lnTo>
                    <a:pt x="4349" y="10000"/>
                  </a:lnTo>
                  <a:lnTo>
                    <a:pt x="6118" y="10000"/>
                  </a:lnTo>
                  <a:lnTo>
                    <a:pt x="6743" y="7465"/>
                  </a:lnTo>
                  <a:lnTo>
                    <a:pt x="7373" y="6000"/>
                  </a:lnTo>
                  <a:lnTo>
                    <a:pt x="7373" y="2936"/>
                  </a:lnTo>
                  <a:lnTo>
                    <a:pt x="1000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65" name="Freeform 302"/>
            <p:cNvSpPr>
              <a:spLocks noChangeAspect="1"/>
            </p:cNvSpPr>
            <p:nvPr/>
          </p:nvSpPr>
          <p:spPr bwMode="gray">
            <a:xfrm>
              <a:off x="6711904" y="3107776"/>
              <a:ext cx="8851" cy="7721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2147483647 h 3"/>
                <a:gd name="T4" fmla="*/ 2147483647 w 3"/>
                <a:gd name="T5" fmla="*/ 0 h 3"/>
                <a:gd name="T6" fmla="*/ 0 w 3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0" y="0"/>
                  </a:moveTo>
                  <a:lnTo>
                    <a:pt x="0" y="3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66" name="Freeform 301"/>
            <p:cNvSpPr>
              <a:spLocks noChangeAspect="1"/>
            </p:cNvSpPr>
            <p:nvPr/>
          </p:nvSpPr>
          <p:spPr bwMode="gray">
            <a:xfrm>
              <a:off x="6705021" y="3115495"/>
              <a:ext cx="6884" cy="8823"/>
            </a:xfrm>
            <a:custGeom>
              <a:avLst/>
              <a:gdLst>
                <a:gd name="T0" fmla="*/ 2147483647 w 3"/>
                <a:gd name="T1" fmla="*/ 0 h 3"/>
                <a:gd name="T2" fmla="*/ 2147483647 w 3"/>
                <a:gd name="T3" fmla="*/ 0 h 3"/>
                <a:gd name="T4" fmla="*/ 0 w 3"/>
                <a:gd name="T5" fmla="*/ 2147483647 h 3"/>
                <a:gd name="T6" fmla="*/ 2147483647 w 3"/>
                <a:gd name="T7" fmla="*/ 0 h 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"/>
                <a:gd name="T13" fmla="*/ 0 h 3"/>
                <a:gd name="T14" fmla="*/ 3 w 3"/>
                <a:gd name="T15" fmla="*/ 3 h 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" h="3">
                  <a:moveTo>
                    <a:pt x="3" y="0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67" name="Freeform 314"/>
            <p:cNvSpPr>
              <a:spLocks noChangeAspect="1"/>
            </p:cNvSpPr>
            <p:nvPr/>
          </p:nvSpPr>
          <p:spPr bwMode="gray">
            <a:xfrm>
              <a:off x="6711904" y="3059247"/>
              <a:ext cx="8851" cy="8823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0 h 3"/>
                <a:gd name="T4" fmla="*/ 0 w 3"/>
                <a:gd name="T5" fmla="*/ 2147483647 h 3"/>
                <a:gd name="T6" fmla="*/ 2147483647 w 3"/>
                <a:gd name="T7" fmla="*/ 0 h 3"/>
                <a:gd name="T8" fmla="*/ 0 w 3"/>
                <a:gd name="T9" fmla="*/ 0 h 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"/>
                <a:gd name="T16" fmla="*/ 0 h 3"/>
                <a:gd name="T17" fmla="*/ 3 w 3"/>
                <a:gd name="T18" fmla="*/ 3 h 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" h="3">
                  <a:moveTo>
                    <a:pt x="0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68" name="Freeform 139"/>
            <p:cNvSpPr>
              <a:spLocks noChangeAspect="1"/>
            </p:cNvSpPr>
            <p:nvPr/>
          </p:nvSpPr>
          <p:spPr bwMode="gray">
            <a:xfrm>
              <a:off x="7060995" y="3282033"/>
              <a:ext cx="131770" cy="140068"/>
            </a:xfrm>
            <a:custGeom>
              <a:avLst/>
              <a:gdLst>
                <a:gd name="T0" fmla="*/ 2147483647 w 52"/>
                <a:gd name="T1" fmla="*/ 2147483647 h 49"/>
                <a:gd name="T2" fmla="*/ 2147483647 w 52"/>
                <a:gd name="T3" fmla="*/ 2147483647 h 49"/>
                <a:gd name="T4" fmla="*/ 2147483647 w 52"/>
                <a:gd name="T5" fmla="*/ 2147483647 h 49"/>
                <a:gd name="T6" fmla="*/ 2147483647 w 52"/>
                <a:gd name="T7" fmla="*/ 2147483647 h 49"/>
                <a:gd name="T8" fmla="*/ 2147483647 w 52"/>
                <a:gd name="T9" fmla="*/ 2147483647 h 49"/>
                <a:gd name="T10" fmla="*/ 2147483647 w 52"/>
                <a:gd name="T11" fmla="*/ 2147483647 h 49"/>
                <a:gd name="T12" fmla="*/ 2147483647 w 52"/>
                <a:gd name="T13" fmla="*/ 2147483647 h 49"/>
                <a:gd name="T14" fmla="*/ 2147483647 w 52"/>
                <a:gd name="T15" fmla="*/ 2147483647 h 49"/>
                <a:gd name="T16" fmla="*/ 2147483647 w 52"/>
                <a:gd name="T17" fmla="*/ 2147483647 h 49"/>
                <a:gd name="T18" fmla="*/ 2147483647 w 52"/>
                <a:gd name="T19" fmla="*/ 2147483647 h 49"/>
                <a:gd name="T20" fmla="*/ 2147483647 w 52"/>
                <a:gd name="T21" fmla="*/ 2147483647 h 49"/>
                <a:gd name="T22" fmla="*/ 2147483647 w 52"/>
                <a:gd name="T23" fmla="*/ 2147483647 h 49"/>
                <a:gd name="T24" fmla="*/ 2147483647 w 52"/>
                <a:gd name="T25" fmla="*/ 2147483647 h 49"/>
                <a:gd name="T26" fmla="*/ 2147483647 w 52"/>
                <a:gd name="T27" fmla="*/ 2147483647 h 49"/>
                <a:gd name="T28" fmla="*/ 2147483647 w 52"/>
                <a:gd name="T29" fmla="*/ 2147483647 h 49"/>
                <a:gd name="T30" fmla="*/ 2147483647 w 52"/>
                <a:gd name="T31" fmla="*/ 2147483647 h 49"/>
                <a:gd name="T32" fmla="*/ 2147483647 w 52"/>
                <a:gd name="T33" fmla="*/ 2147483647 h 49"/>
                <a:gd name="T34" fmla="*/ 2147483647 w 52"/>
                <a:gd name="T35" fmla="*/ 2147483647 h 49"/>
                <a:gd name="T36" fmla="*/ 2147483647 w 52"/>
                <a:gd name="T37" fmla="*/ 2147483647 h 49"/>
                <a:gd name="T38" fmla="*/ 2147483647 w 52"/>
                <a:gd name="T39" fmla="*/ 2147483647 h 49"/>
                <a:gd name="T40" fmla="*/ 2147483647 w 52"/>
                <a:gd name="T41" fmla="*/ 2147483647 h 49"/>
                <a:gd name="T42" fmla="*/ 2147483647 w 52"/>
                <a:gd name="T43" fmla="*/ 2147483647 h 49"/>
                <a:gd name="T44" fmla="*/ 2147483647 w 52"/>
                <a:gd name="T45" fmla="*/ 2147483647 h 49"/>
                <a:gd name="T46" fmla="*/ 2147483647 w 52"/>
                <a:gd name="T47" fmla="*/ 2147483647 h 49"/>
                <a:gd name="T48" fmla="*/ 2147483647 w 52"/>
                <a:gd name="T49" fmla="*/ 0 h 49"/>
                <a:gd name="T50" fmla="*/ 2147483647 w 52"/>
                <a:gd name="T51" fmla="*/ 0 h 49"/>
                <a:gd name="T52" fmla="*/ 2147483647 w 52"/>
                <a:gd name="T53" fmla="*/ 0 h 49"/>
                <a:gd name="T54" fmla="*/ 2147483647 w 52"/>
                <a:gd name="T55" fmla="*/ 0 h 49"/>
                <a:gd name="T56" fmla="*/ 2147483647 w 52"/>
                <a:gd name="T57" fmla="*/ 0 h 49"/>
                <a:gd name="T58" fmla="*/ 2147483647 w 52"/>
                <a:gd name="T59" fmla="*/ 0 h 49"/>
                <a:gd name="T60" fmla="*/ 2147483647 w 52"/>
                <a:gd name="T61" fmla="*/ 0 h 49"/>
                <a:gd name="T62" fmla="*/ 2147483647 w 52"/>
                <a:gd name="T63" fmla="*/ 2147483647 h 49"/>
                <a:gd name="T64" fmla="*/ 2147483647 w 52"/>
                <a:gd name="T65" fmla="*/ 2147483647 h 49"/>
                <a:gd name="T66" fmla="*/ 2147483647 w 52"/>
                <a:gd name="T67" fmla="*/ 2147483647 h 49"/>
                <a:gd name="T68" fmla="*/ 2147483647 w 52"/>
                <a:gd name="T69" fmla="*/ 2147483647 h 49"/>
                <a:gd name="T70" fmla="*/ 2147483647 w 52"/>
                <a:gd name="T71" fmla="*/ 2147483647 h 49"/>
                <a:gd name="T72" fmla="*/ 2147483647 w 52"/>
                <a:gd name="T73" fmla="*/ 2147483647 h 49"/>
                <a:gd name="T74" fmla="*/ 2147483647 w 52"/>
                <a:gd name="T75" fmla="*/ 2147483647 h 49"/>
                <a:gd name="T76" fmla="*/ 2147483647 w 52"/>
                <a:gd name="T77" fmla="*/ 2147483647 h 49"/>
                <a:gd name="T78" fmla="*/ 2147483647 w 52"/>
                <a:gd name="T79" fmla="*/ 2147483647 h 49"/>
                <a:gd name="T80" fmla="*/ 2147483647 w 52"/>
                <a:gd name="T81" fmla="*/ 2147483647 h 49"/>
                <a:gd name="T82" fmla="*/ 2147483647 w 52"/>
                <a:gd name="T83" fmla="*/ 2147483647 h 49"/>
                <a:gd name="T84" fmla="*/ 2147483647 w 52"/>
                <a:gd name="T85" fmla="*/ 2147483647 h 49"/>
                <a:gd name="T86" fmla="*/ 2147483647 w 52"/>
                <a:gd name="T87" fmla="*/ 2147483647 h 49"/>
                <a:gd name="T88" fmla="*/ 2147483647 w 52"/>
                <a:gd name="T89" fmla="*/ 2147483647 h 49"/>
                <a:gd name="T90" fmla="*/ 2147483647 w 52"/>
                <a:gd name="T91" fmla="*/ 2147483647 h 49"/>
                <a:gd name="T92" fmla="*/ 2147483647 w 52"/>
                <a:gd name="T93" fmla="*/ 2147483647 h 49"/>
                <a:gd name="T94" fmla="*/ 2147483647 w 52"/>
                <a:gd name="T95" fmla="*/ 2147483647 h 49"/>
                <a:gd name="T96" fmla="*/ 2147483647 w 52"/>
                <a:gd name="T97" fmla="*/ 2147483647 h 49"/>
                <a:gd name="T98" fmla="*/ 2147483647 w 52"/>
                <a:gd name="T99" fmla="*/ 2147483647 h 49"/>
                <a:gd name="T100" fmla="*/ 2147483647 w 52"/>
                <a:gd name="T101" fmla="*/ 2147483647 h 49"/>
                <a:gd name="T102" fmla="*/ 0 w 52"/>
                <a:gd name="T103" fmla="*/ 2147483647 h 49"/>
                <a:gd name="T104" fmla="*/ 2147483647 w 52"/>
                <a:gd name="T105" fmla="*/ 2147483647 h 49"/>
                <a:gd name="T106" fmla="*/ 2147483647 w 52"/>
                <a:gd name="T107" fmla="*/ 2147483647 h 49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52"/>
                <a:gd name="T163" fmla="*/ 0 h 49"/>
                <a:gd name="T164" fmla="*/ 52 w 52"/>
                <a:gd name="T165" fmla="*/ 49 h 49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52" h="49">
                  <a:moveTo>
                    <a:pt x="15" y="38"/>
                  </a:moveTo>
                  <a:lnTo>
                    <a:pt x="26" y="35"/>
                  </a:lnTo>
                  <a:lnTo>
                    <a:pt x="26" y="38"/>
                  </a:lnTo>
                  <a:lnTo>
                    <a:pt x="26" y="40"/>
                  </a:lnTo>
                  <a:lnTo>
                    <a:pt x="29" y="40"/>
                  </a:lnTo>
                  <a:lnTo>
                    <a:pt x="35" y="43"/>
                  </a:lnTo>
                  <a:lnTo>
                    <a:pt x="32" y="49"/>
                  </a:lnTo>
                  <a:lnTo>
                    <a:pt x="38" y="49"/>
                  </a:lnTo>
                  <a:lnTo>
                    <a:pt x="35" y="46"/>
                  </a:lnTo>
                  <a:lnTo>
                    <a:pt x="38" y="38"/>
                  </a:lnTo>
                  <a:lnTo>
                    <a:pt x="35" y="32"/>
                  </a:lnTo>
                  <a:lnTo>
                    <a:pt x="35" y="29"/>
                  </a:lnTo>
                  <a:lnTo>
                    <a:pt x="38" y="26"/>
                  </a:lnTo>
                  <a:lnTo>
                    <a:pt x="46" y="29"/>
                  </a:lnTo>
                  <a:lnTo>
                    <a:pt x="46" y="26"/>
                  </a:lnTo>
                  <a:lnTo>
                    <a:pt x="46" y="23"/>
                  </a:lnTo>
                  <a:lnTo>
                    <a:pt x="49" y="20"/>
                  </a:lnTo>
                  <a:lnTo>
                    <a:pt x="43" y="15"/>
                  </a:lnTo>
                  <a:lnTo>
                    <a:pt x="46" y="15"/>
                  </a:lnTo>
                  <a:lnTo>
                    <a:pt x="52" y="12"/>
                  </a:lnTo>
                  <a:lnTo>
                    <a:pt x="52" y="9"/>
                  </a:lnTo>
                  <a:lnTo>
                    <a:pt x="52" y="0"/>
                  </a:lnTo>
                  <a:lnTo>
                    <a:pt x="43" y="0"/>
                  </a:lnTo>
                  <a:lnTo>
                    <a:pt x="38" y="0"/>
                  </a:lnTo>
                  <a:lnTo>
                    <a:pt x="29" y="6"/>
                  </a:lnTo>
                  <a:lnTo>
                    <a:pt x="29" y="15"/>
                  </a:lnTo>
                  <a:lnTo>
                    <a:pt x="35" y="17"/>
                  </a:lnTo>
                  <a:lnTo>
                    <a:pt x="26" y="20"/>
                  </a:lnTo>
                  <a:lnTo>
                    <a:pt x="23" y="17"/>
                  </a:lnTo>
                  <a:lnTo>
                    <a:pt x="23" y="12"/>
                  </a:lnTo>
                  <a:lnTo>
                    <a:pt x="23" y="9"/>
                  </a:lnTo>
                  <a:lnTo>
                    <a:pt x="23" y="3"/>
                  </a:lnTo>
                  <a:lnTo>
                    <a:pt x="20" y="3"/>
                  </a:lnTo>
                  <a:lnTo>
                    <a:pt x="20" y="6"/>
                  </a:lnTo>
                  <a:lnTo>
                    <a:pt x="17" y="15"/>
                  </a:lnTo>
                  <a:lnTo>
                    <a:pt x="12" y="23"/>
                  </a:lnTo>
                  <a:lnTo>
                    <a:pt x="3" y="32"/>
                  </a:lnTo>
                  <a:lnTo>
                    <a:pt x="0" y="38"/>
                  </a:lnTo>
                  <a:lnTo>
                    <a:pt x="6" y="40"/>
                  </a:lnTo>
                  <a:lnTo>
                    <a:pt x="15" y="38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69" name="Freeform 140"/>
            <p:cNvSpPr>
              <a:spLocks noChangeAspect="1"/>
            </p:cNvSpPr>
            <p:nvPr/>
          </p:nvSpPr>
          <p:spPr bwMode="gray">
            <a:xfrm>
              <a:off x="7022646" y="3390118"/>
              <a:ext cx="134719" cy="105879"/>
            </a:xfrm>
            <a:custGeom>
              <a:avLst/>
              <a:gdLst>
                <a:gd name="T0" fmla="*/ 0 w 52"/>
                <a:gd name="T1" fmla="*/ 2147483647 h 37"/>
                <a:gd name="T2" fmla="*/ 0 w 52"/>
                <a:gd name="T3" fmla="*/ 2147483647 h 37"/>
                <a:gd name="T4" fmla="*/ 2147483647 w 52"/>
                <a:gd name="T5" fmla="*/ 2147483647 h 37"/>
                <a:gd name="T6" fmla="*/ 2147483647 w 52"/>
                <a:gd name="T7" fmla="*/ 2147483647 h 37"/>
                <a:gd name="T8" fmla="*/ 2147483647 w 52"/>
                <a:gd name="T9" fmla="*/ 2147483647 h 37"/>
                <a:gd name="T10" fmla="*/ 2147483647 w 52"/>
                <a:gd name="T11" fmla="*/ 2147483647 h 37"/>
                <a:gd name="T12" fmla="*/ 2147483647 w 52"/>
                <a:gd name="T13" fmla="*/ 2147483647 h 37"/>
                <a:gd name="T14" fmla="*/ 2147483647 w 52"/>
                <a:gd name="T15" fmla="*/ 2147483647 h 37"/>
                <a:gd name="T16" fmla="*/ 2147483647 w 52"/>
                <a:gd name="T17" fmla="*/ 2147483647 h 37"/>
                <a:gd name="T18" fmla="*/ 2147483647 w 52"/>
                <a:gd name="T19" fmla="*/ 2147483647 h 37"/>
                <a:gd name="T20" fmla="*/ 2147483647 w 52"/>
                <a:gd name="T21" fmla="*/ 2147483647 h 37"/>
                <a:gd name="T22" fmla="*/ 2147483647 w 52"/>
                <a:gd name="T23" fmla="*/ 2147483647 h 37"/>
                <a:gd name="T24" fmla="*/ 2147483647 w 52"/>
                <a:gd name="T25" fmla="*/ 2147483647 h 37"/>
                <a:gd name="T26" fmla="*/ 2147483647 w 52"/>
                <a:gd name="T27" fmla="*/ 2147483647 h 37"/>
                <a:gd name="T28" fmla="*/ 2147483647 w 52"/>
                <a:gd name="T29" fmla="*/ 2147483647 h 37"/>
                <a:gd name="T30" fmla="*/ 2147483647 w 52"/>
                <a:gd name="T31" fmla="*/ 2147483647 h 37"/>
                <a:gd name="T32" fmla="*/ 2147483647 w 52"/>
                <a:gd name="T33" fmla="*/ 2147483647 h 37"/>
                <a:gd name="T34" fmla="*/ 2147483647 w 52"/>
                <a:gd name="T35" fmla="*/ 2147483647 h 37"/>
                <a:gd name="T36" fmla="*/ 2147483647 w 52"/>
                <a:gd name="T37" fmla="*/ 2147483647 h 37"/>
                <a:gd name="T38" fmla="*/ 2147483647 w 52"/>
                <a:gd name="T39" fmla="*/ 2147483647 h 37"/>
                <a:gd name="T40" fmla="*/ 2147483647 w 52"/>
                <a:gd name="T41" fmla="*/ 2147483647 h 37"/>
                <a:gd name="T42" fmla="*/ 2147483647 w 52"/>
                <a:gd name="T43" fmla="*/ 2147483647 h 37"/>
                <a:gd name="T44" fmla="*/ 2147483647 w 52"/>
                <a:gd name="T45" fmla="*/ 2147483647 h 37"/>
                <a:gd name="T46" fmla="*/ 2147483647 w 52"/>
                <a:gd name="T47" fmla="*/ 2147483647 h 37"/>
                <a:gd name="T48" fmla="*/ 2147483647 w 52"/>
                <a:gd name="T49" fmla="*/ 2147483647 h 37"/>
                <a:gd name="T50" fmla="*/ 2147483647 w 52"/>
                <a:gd name="T51" fmla="*/ 2147483647 h 37"/>
                <a:gd name="T52" fmla="*/ 2147483647 w 52"/>
                <a:gd name="T53" fmla="*/ 2147483647 h 37"/>
                <a:gd name="T54" fmla="*/ 2147483647 w 52"/>
                <a:gd name="T55" fmla="*/ 0 h 37"/>
                <a:gd name="T56" fmla="*/ 2147483647 w 52"/>
                <a:gd name="T57" fmla="*/ 2147483647 h 37"/>
                <a:gd name="T58" fmla="*/ 2147483647 w 52"/>
                <a:gd name="T59" fmla="*/ 2147483647 h 37"/>
                <a:gd name="T60" fmla="*/ 2147483647 w 52"/>
                <a:gd name="T61" fmla="*/ 2147483647 h 37"/>
                <a:gd name="T62" fmla="*/ 2147483647 w 52"/>
                <a:gd name="T63" fmla="*/ 2147483647 h 37"/>
                <a:gd name="T64" fmla="*/ 2147483647 w 52"/>
                <a:gd name="T65" fmla="*/ 2147483647 h 37"/>
                <a:gd name="T66" fmla="*/ 2147483647 w 52"/>
                <a:gd name="T67" fmla="*/ 2147483647 h 37"/>
                <a:gd name="T68" fmla="*/ 2147483647 w 52"/>
                <a:gd name="T69" fmla="*/ 2147483647 h 37"/>
                <a:gd name="T70" fmla="*/ 0 w 52"/>
                <a:gd name="T71" fmla="*/ 2147483647 h 37"/>
                <a:gd name="T72" fmla="*/ 0 w 52"/>
                <a:gd name="T73" fmla="*/ 2147483647 h 37"/>
                <a:gd name="T74" fmla="*/ 0 w 52"/>
                <a:gd name="T75" fmla="*/ 2147483647 h 37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52"/>
                <a:gd name="T115" fmla="*/ 0 h 37"/>
                <a:gd name="T116" fmla="*/ 52 w 52"/>
                <a:gd name="T117" fmla="*/ 37 h 37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52" h="37">
                  <a:moveTo>
                    <a:pt x="0" y="14"/>
                  </a:moveTo>
                  <a:lnTo>
                    <a:pt x="0" y="14"/>
                  </a:lnTo>
                  <a:lnTo>
                    <a:pt x="3" y="14"/>
                  </a:lnTo>
                  <a:lnTo>
                    <a:pt x="14" y="14"/>
                  </a:lnTo>
                  <a:lnTo>
                    <a:pt x="17" y="20"/>
                  </a:lnTo>
                  <a:lnTo>
                    <a:pt x="23" y="20"/>
                  </a:lnTo>
                  <a:lnTo>
                    <a:pt x="26" y="25"/>
                  </a:lnTo>
                  <a:lnTo>
                    <a:pt x="26" y="28"/>
                  </a:lnTo>
                  <a:lnTo>
                    <a:pt x="34" y="17"/>
                  </a:lnTo>
                  <a:lnTo>
                    <a:pt x="37" y="28"/>
                  </a:lnTo>
                  <a:lnTo>
                    <a:pt x="43" y="34"/>
                  </a:lnTo>
                  <a:lnTo>
                    <a:pt x="46" y="37"/>
                  </a:lnTo>
                  <a:lnTo>
                    <a:pt x="43" y="28"/>
                  </a:lnTo>
                  <a:lnTo>
                    <a:pt x="49" y="22"/>
                  </a:lnTo>
                  <a:lnTo>
                    <a:pt x="52" y="20"/>
                  </a:lnTo>
                  <a:lnTo>
                    <a:pt x="52" y="17"/>
                  </a:lnTo>
                  <a:lnTo>
                    <a:pt x="43" y="14"/>
                  </a:lnTo>
                  <a:lnTo>
                    <a:pt x="43" y="11"/>
                  </a:lnTo>
                  <a:lnTo>
                    <a:pt x="46" y="5"/>
                  </a:lnTo>
                  <a:lnTo>
                    <a:pt x="43" y="5"/>
                  </a:lnTo>
                  <a:lnTo>
                    <a:pt x="37" y="5"/>
                  </a:lnTo>
                  <a:lnTo>
                    <a:pt x="37" y="2"/>
                  </a:lnTo>
                  <a:lnTo>
                    <a:pt x="34" y="0"/>
                  </a:lnTo>
                  <a:lnTo>
                    <a:pt x="29" y="2"/>
                  </a:lnTo>
                  <a:lnTo>
                    <a:pt x="20" y="5"/>
                  </a:lnTo>
                  <a:lnTo>
                    <a:pt x="11" y="2"/>
                  </a:lnTo>
                  <a:lnTo>
                    <a:pt x="8" y="2"/>
                  </a:lnTo>
                  <a:lnTo>
                    <a:pt x="0" y="5"/>
                  </a:lnTo>
                  <a:lnTo>
                    <a:pt x="0" y="11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70" name="Freeform 142"/>
            <p:cNvSpPr>
              <a:spLocks noChangeAspect="1"/>
            </p:cNvSpPr>
            <p:nvPr/>
          </p:nvSpPr>
          <p:spPr bwMode="gray">
            <a:xfrm>
              <a:off x="6750255" y="3233506"/>
              <a:ext cx="20651" cy="16543"/>
            </a:xfrm>
            <a:custGeom>
              <a:avLst/>
              <a:gdLst>
                <a:gd name="T0" fmla="*/ 2147483647 w 8"/>
                <a:gd name="T1" fmla="*/ 0 h 6"/>
                <a:gd name="T2" fmla="*/ 0 w 8"/>
                <a:gd name="T3" fmla="*/ 2147483647 h 6"/>
                <a:gd name="T4" fmla="*/ 2147483647 w 8"/>
                <a:gd name="T5" fmla="*/ 2147483647 h 6"/>
                <a:gd name="T6" fmla="*/ 2147483647 w 8"/>
                <a:gd name="T7" fmla="*/ 2147483647 h 6"/>
                <a:gd name="T8" fmla="*/ 2147483647 w 8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"/>
                <a:gd name="T16" fmla="*/ 0 h 6"/>
                <a:gd name="T17" fmla="*/ 8 w 8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" h="6">
                  <a:moveTo>
                    <a:pt x="5" y="0"/>
                  </a:moveTo>
                  <a:lnTo>
                    <a:pt x="0" y="6"/>
                  </a:lnTo>
                  <a:lnTo>
                    <a:pt x="5" y="6"/>
                  </a:lnTo>
                  <a:lnTo>
                    <a:pt x="8" y="3"/>
                  </a:lnTo>
                  <a:lnTo>
                    <a:pt x="5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71" name="Freeform 145"/>
            <p:cNvSpPr>
              <a:spLocks noChangeAspect="1"/>
            </p:cNvSpPr>
            <p:nvPr/>
          </p:nvSpPr>
          <p:spPr bwMode="gray">
            <a:xfrm>
              <a:off x="6705021" y="3015132"/>
              <a:ext cx="286158" cy="445571"/>
            </a:xfrm>
            <a:custGeom>
              <a:avLst/>
              <a:gdLst>
                <a:gd name="T0" fmla="*/ 2147483647 w 112"/>
                <a:gd name="T1" fmla="*/ 2147483647 h 155"/>
                <a:gd name="T2" fmla="*/ 2147483647 w 112"/>
                <a:gd name="T3" fmla="*/ 2147483647 h 155"/>
                <a:gd name="T4" fmla="*/ 2147483647 w 112"/>
                <a:gd name="T5" fmla="*/ 2147483647 h 155"/>
                <a:gd name="T6" fmla="*/ 2147483647 w 112"/>
                <a:gd name="T7" fmla="*/ 2147483647 h 155"/>
                <a:gd name="T8" fmla="*/ 0 w 112"/>
                <a:gd name="T9" fmla="*/ 2147483647 h 155"/>
                <a:gd name="T10" fmla="*/ 2147483647 w 112"/>
                <a:gd name="T11" fmla="*/ 2147483647 h 155"/>
                <a:gd name="T12" fmla="*/ 2147483647 w 112"/>
                <a:gd name="T13" fmla="*/ 2147483647 h 155"/>
                <a:gd name="T14" fmla="*/ 2147483647 w 112"/>
                <a:gd name="T15" fmla="*/ 2147483647 h 155"/>
                <a:gd name="T16" fmla="*/ 2147483647 w 112"/>
                <a:gd name="T17" fmla="*/ 2147483647 h 155"/>
                <a:gd name="T18" fmla="*/ 2147483647 w 112"/>
                <a:gd name="T19" fmla="*/ 2147483647 h 155"/>
                <a:gd name="T20" fmla="*/ 2147483647 w 112"/>
                <a:gd name="T21" fmla="*/ 2147483647 h 155"/>
                <a:gd name="T22" fmla="*/ 2147483647 w 112"/>
                <a:gd name="T23" fmla="*/ 2147483647 h 155"/>
                <a:gd name="T24" fmla="*/ 2147483647 w 112"/>
                <a:gd name="T25" fmla="*/ 2147483647 h 155"/>
                <a:gd name="T26" fmla="*/ 2147483647 w 112"/>
                <a:gd name="T27" fmla="*/ 2147483647 h 155"/>
                <a:gd name="T28" fmla="*/ 2147483647 w 112"/>
                <a:gd name="T29" fmla="*/ 2147483647 h 155"/>
                <a:gd name="T30" fmla="*/ 2147483647 w 112"/>
                <a:gd name="T31" fmla="*/ 2147483647 h 155"/>
                <a:gd name="T32" fmla="*/ 2147483647 w 112"/>
                <a:gd name="T33" fmla="*/ 2147483647 h 155"/>
                <a:gd name="T34" fmla="*/ 2147483647 w 112"/>
                <a:gd name="T35" fmla="*/ 2147483647 h 155"/>
                <a:gd name="T36" fmla="*/ 2147483647 w 112"/>
                <a:gd name="T37" fmla="*/ 2147483647 h 155"/>
                <a:gd name="T38" fmla="*/ 2147483647 w 112"/>
                <a:gd name="T39" fmla="*/ 2147483647 h 155"/>
                <a:gd name="T40" fmla="*/ 2147483647 w 112"/>
                <a:gd name="T41" fmla="*/ 2147483647 h 155"/>
                <a:gd name="T42" fmla="*/ 2147483647 w 112"/>
                <a:gd name="T43" fmla="*/ 2147483647 h 155"/>
                <a:gd name="T44" fmla="*/ 2147483647 w 112"/>
                <a:gd name="T45" fmla="*/ 2147483647 h 155"/>
                <a:gd name="T46" fmla="*/ 2147483647 w 112"/>
                <a:gd name="T47" fmla="*/ 2147483647 h 155"/>
                <a:gd name="T48" fmla="*/ 2147483647 w 112"/>
                <a:gd name="T49" fmla="*/ 2147483647 h 155"/>
                <a:gd name="T50" fmla="*/ 2147483647 w 112"/>
                <a:gd name="T51" fmla="*/ 2147483647 h 155"/>
                <a:gd name="T52" fmla="*/ 2147483647 w 112"/>
                <a:gd name="T53" fmla="*/ 2147483647 h 155"/>
                <a:gd name="T54" fmla="*/ 0 w 112"/>
                <a:gd name="T55" fmla="*/ 2147483647 h 155"/>
                <a:gd name="T56" fmla="*/ 2147483647 w 112"/>
                <a:gd name="T57" fmla="*/ 2147483647 h 155"/>
                <a:gd name="T58" fmla="*/ 2147483647 w 112"/>
                <a:gd name="T59" fmla="*/ 2147483647 h 155"/>
                <a:gd name="T60" fmla="*/ 2147483647 w 112"/>
                <a:gd name="T61" fmla="*/ 2147483647 h 155"/>
                <a:gd name="T62" fmla="*/ 2147483647 w 112"/>
                <a:gd name="T63" fmla="*/ 2147483647 h 155"/>
                <a:gd name="T64" fmla="*/ 2147483647 w 112"/>
                <a:gd name="T65" fmla="*/ 2147483647 h 155"/>
                <a:gd name="T66" fmla="*/ 2147483647 w 112"/>
                <a:gd name="T67" fmla="*/ 2147483647 h 155"/>
                <a:gd name="T68" fmla="*/ 2147483647 w 112"/>
                <a:gd name="T69" fmla="*/ 2147483647 h 155"/>
                <a:gd name="T70" fmla="*/ 2147483647 w 112"/>
                <a:gd name="T71" fmla="*/ 2147483647 h 155"/>
                <a:gd name="T72" fmla="*/ 2147483647 w 112"/>
                <a:gd name="T73" fmla="*/ 2147483647 h 155"/>
                <a:gd name="T74" fmla="*/ 2147483647 w 112"/>
                <a:gd name="T75" fmla="*/ 2147483647 h 155"/>
                <a:gd name="T76" fmla="*/ 2147483647 w 112"/>
                <a:gd name="T77" fmla="*/ 2147483647 h 155"/>
                <a:gd name="T78" fmla="*/ 2147483647 w 112"/>
                <a:gd name="T79" fmla="*/ 2147483647 h 155"/>
                <a:gd name="T80" fmla="*/ 2147483647 w 112"/>
                <a:gd name="T81" fmla="*/ 2147483647 h 155"/>
                <a:gd name="T82" fmla="*/ 2147483647 w 112"/>
                <a:gd name="T83" fmla="*/ 2147483647 h 155"/>
                <a:gd name="T84" fmla="*/ 2147483647 w 112"/>
                <a:gd name="T85" fmla="*/ 2147483647 h 155"/>
                <a:gd name="T86" fmla="*/ 2147483647 w 112"/>
                <a:gd name="T87" fmla="*/ 2147483647 h 155"/>
                <a:gd name="T88" fmla="*/ 2147483647 w 112"/>
                <a:gd name="T89" fmla="*/ 2147483647 h 155"/>
                <a:gd name="T90" fmla="*/ 2147483647 w 112"/>
                <a:gd name="T91" fmla="*/ 2147483647 h 155"/>
                <a:gd name="T92" fmla="*/ 2147483647 w 112"/>
                <a:gd name="T93" fmla="*/ 2147483647 h 155"/>
                <a:gd name="T94" fmla="*/ 2147483647 w 112"/>
                <a:gd name="T95" fmla="*/ 2147483647 h 155"/>
                <a:gd name="T96" fmla="*/ 2147483647 w 112"/>
                <a:gd name="T97" fmla="*/ 2147483647 h 155"/>
                <a:gd name="T98" fmla="*/ 2147483647 w 112"/>
                <a:gd name="T99" fmla="*/ 2147483647 h 155"/>
                <a:gd name="T100" fmla="*/ 2147483647 w 112"/>
                <a:gd name="T101" fmla="*/ 2147483647 h 155"/>
                <a:gd name="T102" fmla="*/ 2147483647 w 112"/>
                <a:gd name="T103" fmla="*/ 2147483647 h 155"/>
                <a:gd name="T104" fmla="*/ 2147483647 w 112"/>
                <a:gd name="T105" fmla="*/ 2147483647 h 155"/>
                <a:gd name="T106" fmla="*/ 2147483647 w 112"/>
                <a:gd name="T107" fmla="*/ 2147483647 h 155"/>
                <a:gd name="T108" fmla="*/ 2147483647 w 112"/>
                <a:gd name="T109" fmla="*/ 2147483647 h 155"/>
                <a:gd name="T110" fmla="*/ 2147483647 w 112"/>
                <a:gd name="T111" fmla="*/ 2147483647 h 155"/>
                <a:gd name="T112" fmla="*/ 2147483647 w 112"/>
                <a:gd name="T113" fmla="*/ 2147483647 h 155"/>
                <a:gd name="T114" fmla="*/ 2147483647 w 112"/>
                <a:gd name="T115" fmla="*/ 2147483647 h 155"/>
                <a:gd name="T116" fmla="*/ 2147483647 w 112"/>
                <a:gd name="T117" fmla="*/ 0 h 155"/>
                <a:gd name="T118" fmla="*/ 2147483647 w 112"/>
                <a:gd name="T119" fmla="*/ 0 h 155"/>
                <a:gd name="T120" fmla="*/ 2147483647 w 112"/>
                <a:gd name="T121" fmla="*/ 2147483647 h 155"/>
                <a:gd name="T122" fmla="*/ 2147483647 w 112"/>
                <a:gd name="T123" fmla="*/ 2147483647 h 15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12"/>
                <a:gd name="T187" fmla="*/ 0 h 155"/>
                <a:gd name="T188" fmla="*/ 112 w 112"/>
                <a:gd name="T189" fmla="*/ 155 h 155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12" h="155">
                  <a:moveTo>
                    <a:pt x="12" y="15"/>
                  </a:moveTo>
                  <a:lnTo>
                    <a:pt x="12" y="20"/>
                  </a:lnTo>
                  <a:lnTo>
                    <a:pt x="9" y="23"/>
                  </a:lnTo>
                  <a:lnTo>
                    <a:pt x="9" y="29"/>
                  </a:lnTo>
                  <a:lnTo>
                    <a:pt x="6" y="35"/>
                  </a:lnTo>
                  <a:lnTo>
                    <a:pt x="3" y="35"/>
                  </a:lnTo>
                  <a:lnTo>
                    <a:pt x="3" y="41"/>
                  </a:lnTo>
                  <a:lnTo>
                    <a:pt x="9" y="38"/>
                  </a:lnTo>
                  <a:lnTo>
                    <a:pt x="18" y="38"/>
                  </a:lnTo>
                  <a:lnTo>
                    <a:pt x="15" y="41"/>
                  </a:lnTo>
                  <a:lnTo>
                    <a:pt x="12" y="43"/>
                  </a:lnTo>
                  <a:lnTo>
                    <a:pt x="6" y="43"/>
                  </a:lnTo>
                  <a:lnTo>
                    <a:pt x="0" y="49"/>
                  </a:lnTo>
                  <a:lnTo>
                    <a:pt x="0" y="52"/>
                  </a:lnTo>
                  <a:lnTo>
                    <a:pt x="6" y="49"/>
                  </a:lnTo>
                  <a:lnTo>
                    <a:pt x="9" y="52"/>
                  </a:lnTo>
                  <a:lnTo>
                    <a:pt x="9" y="55"/>
                  </a:lnTo>
                  <a:lnTo>
                    <a:pt x="6" y="61"/>
                  </a:lnTo>
                  <a:lnTo>
                    <a:pt x="15" y="55"/>
                  </a:lnTo>
                  <a:lnTo>
                    <a:pt x="15" y="58"/>
                  </a:lnTo>
                  <a:lnTo>
                    <a:pt x="18" y="55"/>
                  </a:lnTo>
                  <a:lnTo>
                    <a:pt x="23" y="49"/>
                  </a:lnTo>
                  <a:lnTo>
                    <a:pt x="21" y="58"/>
                  </a:lnTo>
                  <a:lnTo>
                    <a:pt x="21" y="61"/>
                  </a:lnTo>
                  <a:lnTo>
                    <a:pt x="18" y="63"/>
                  </a:lnTo>
                  <a:lnTo>
                    <a:pt x="15" y="66"/>
                  </a:lnTo>
                  <a:lnTo>
                    <a:pt x="18" y="69"/>
                  </a:lnTo>
                  <a:lnTo>
                    <a:pt x="21" y="66"/>
                  </a:lnTo>
                  <a:lnTo>
                    <a:pt x="23" y="69"/>
                  </a:lnTo>
                  <a:lnTo>
                    <a:pt x="26" y="66"/>
                  </a:lnTo>
                  <a:lnTo>
                    <a:pt x="32" y="66"/>
                  </a:lnTo>
                  <a:lnTo>
                    <a:pt x="35" y="66"/>
                  </a:lnTo>
                  <a:lnTo>
                    <a:pt x="41" y="63"/>
                  </a:lnTo>
                  <a:lnTo>
                    <a:pt x="38" y="69"/>
                  </a:lnTo>
                  <a:lnTo>
                    <a:pt x="38" y="78"/>
                  </a:lnTo>
                  <a:lnTo>
                    <a:pt x="43" y="78"/>
                  </a:lnTo>
                  <a:lnTo>
                    <a:pt x="43" y="84"/>
                  </a:lnTo>
                  <a:lnTo>
                    <a:pt x="43" y="92"/>
                  </a:lnTo>
                  <a:lnTo>
                    <a:pt x="41" y="95"/>
                  </a:lnTo>
                  <a:lnTo>
                    <a:pt x="35" y="95"/>
                  </a:lnTo>
                  <a:lnTo>
                    <a:pt x="23" y="95"/>
                  </a:lnTo>
                  <a:lnTo>
                    <a:pt x="18" y="95"/>
                  </a:lnTo>
                  <a:lnTo>
                    <a:pt x="12" y="98"/>
                  </a:lnTo>
                  <a:lnTo>
                    <a:pt x="21" y="98"/>
                  </a:lnTo>
                  <a:lnTo>
                    <a:pt x="26" y="98"/>
                  </a:lnTo>
                  <a:lnTo>
                    <a:pt x="29" y="101"/>
                  </a:lnTo>
                  <a:lnTo>
                    <a:pt x="23" y="101"/>
                  </a:lnTo>
                  <a:lnTo>
                    <a:pt x="21" y="104"/>
                  </a:lnTo>
                  <a:lnTo>
                    <a:pt x="26" y="104"/>
                  </a:lnTo>
                  <a:lnTo>
                    <a:pt x="26" y="109"/>
                  </a:lnTo>
                  <a:lnTo>
                    <a:pt x="26" y="115"/>
                  </a:lnTo>
                  <a:lnTo>
                    <a:pt x="21" y="118"/>
                  </a:lnTo>
                  <a:lnTo>
                    <a:pt x="12" y="118"/>
                  </a:lnTo>
                  <a:lnTo>
                    <a:pt x="12" y="127"/>
                  </a:lnTo>
                  <a:lnTo>
                    <a:pt x="21" y="127"/>
                  </a:lnTo>
                  <a:lnTo>
                    <a:pt x="26" y="127"/>
                  </a:lnTo>
                  <a:lnTo>
                    <a:pt x="32" y="130"/>
                  </a:lnTo>
                  <a:lnTo>
                    <a:pt x="35" y="130"/>
                  </a:lnTo>
                  <a:lnTo>
                    <a:pt x="41" y="132"/>
                  </a:lnTo>
                  <a:lnTo>
                    <a:pt x="43" y="130"/>
                  </a:lnTo>
                  <a:lnTo>
                    <a:pt x="46" y="127"/>
                  </a:lnTo>
                  <a:lnTo>
                    <a:pt x="41" y="132"/>
                  </a:lnTo>
                  <a:lnTo>
                    <a:pt x="35" y="135"/>
                  </a:lnTo>
                  <a:lnTo>
                    <a:pt x="29" y="132"/>
                  </a:lnTo>
                  <a:lnTo>
                    <a:pt x="21" y="141"/>
                  </a:lnTo>
                  <a:lnTo>
                    <a:pt x="15" y="147"/>
                  </a:lnTo>
                  <a:lnTo>
                    <a:pt x="6" y="152"/>
                  </a:lnTo>
                  <a:lnTo>
                    <a:pt x="0" y="155"/>
                  </a:lnTo>
                  <a:lnTo>
                    <a:pt x="6" y="155"/>
                  </a:lnTo>
                  <a:lnTo>
                    <a:pt x="15" y="150"/>
                  </a:lnTo>
                  <a:lnTo>
                    <a:pt x="21" y="150"/>
                  </a:lnTo>
                  <a:lnTo>
                    <a:pt x="26" y="152"/>
                  </a:lnTo>
                  <a:lnTo>
                    <a:pt x="32" y="147"/>
                  </a:lnTo>
                  <a:lnTo>
                    <a:pt x="43" y="144"/>
                  </a:lnTo>
                  <a:lnTo>
                    <a:pt x="52" y="144"/>
                  </a:lnTo>
                  <a:lnTo>
                    <a:pt x="58" y="144"/>
                  </a:lnTo>
                  <a:lnTo>
                    <a:pt x="61" y="144"/>
                  </a:lnTo>
                  <a:lnTo>
                    <a:pt x="66" y="147"/>
                  </a:lnTo>
                  <a:lnTo>
                    <a:pt x="72" y="144"/>
                  </a:lnTo>
                  <a:lnTo>
                    <a:pt x="87" y="144"/>
                  </a:lnTo>
                  <a:lnTo>
                    <a:pt x="89" y="144"/>
                  </a:lnTo>
                  <a:lnTo>
                    <a:pt x="95" y="141"/>
                  </a:lnTo>
                  <a:lnTo>
                    <a:pt x="107" y="135"/>
                  </a:lnTo>
                  <a:lnTo>
                    <a:pt x="110" y="132"/>
                  </a:lnTo>
                  <a:lnTo>
                    <a:pt x="110" y="130"/>
                  </a:lnTo>
                  <a:lnTo>
                    <a:pt x="107" y="130"/>
                  </a:lnTo>
                  <a:lnTo>
                    <a:pt x="95" y="130"/>
                  </a:lnTo>
                  <a:lnTo>
                    <a:pt x="104" y="124"/>
                  </a:lnTo>
                  <a:lnTo>
                    <a:pt x="112" y="115"/>
                  </a:lnTo>
                  <a:lnTo>
                    <a:pt x="112" y="109"/>
                  </a:lnTo>
                  <a:lnTo>
                    <a:pt x="110" y="101"/>
                  </a:lnTo>
                  <a:lnTo>
                    <a:pt x="107" y="101"/>
                  </a:lnTo>
                  <a:lnTo>
                    <a:pt x="98" y="101"/>
                  </a:lnTo>
                  <a:lnTo>
                    <a:pt x="92" y="104"/>
                  </a:lnTo>
                  <a:lnTo>
                    <a:pt x="89" y="104"/>
                  </a:lnTo>
                  <a:lnTo>
                    <a:pt x="87" y="104"/>
                  </a:lnTo>
                  <a:lnTo>
                    <a:pt x="89" y="101"/>
                  </a:lnTo>
                  <a:lnTo>
                    <a:pt x="92" y="101"/>
                  </a:lnTo>
                  <a:lnTo>
                    <a:pt x="92" y="98"/>
                  </a:lnTo>
                  <a:lnTo>
                    <a:pt x="92" y="92"/>
                  </a:lnTo>
                  <a:lnTo>
                    <a:pt x="89" y="89"/>
                  </a:lnTo>
                  <a:lnTo>
                    <a:pt x="87" y="86"/>
                  </a:lnTo>
                  <a:lnTo>
                    <a:pt x="87" y="81"/>
                  </a:lnTo>
                  <a:lnTo>
                    <a:pt x="84" y="78"/>
                  </a:lnTo>
                  <a:lnTo>
                    <a:pt x="84" y="75"/>
                  </a:lnTo>
                  <a:lnTo>
                    <a:pt x="81" y="72"/>
                  </a:lnTo>
                  <a:lnTo>
                    <a:pt x="72" y="72"/>
                  </a:lnTo>
                  <a:lnTo>
                    <a:pt x="69" y="66"/>
                  </a:lnTo>
                  <a:lnTo>
                    <a:pt x="69" y="58"/>
                  </a:lnTo>
                  <a:lnTo>
                    <a:pt x="66" y="52"/>
                  </a:lnTo>
                  <a:lnTo>
                    <a:pt x="55" y="43"/>
                  </a:lnTo>
                  <a:lnTo>
                    <a:pt x="46" y="46"/>
                  </a:lnTo>
                  <a:lnTo>
                    <a:pt x="41" y="43"/>
                  </a:lnTo>
                  <a:lnTo>
                    <a:pt x="43" y="43"/>
                  </a:lnTo>
                  <a:lnTo>
                    <a:pt x="46" y="41"/>
                  </a:lnTo>
                  <a:lnTo>
                    <a:pt x="52" y="41"/>
                  </a:lnTo>
                  <a:lnTo>
                    <a:pt x="46" y="38"/>
                  </a:lnTo>
                  <a:lnTo>
                    <a:pt x="55" y="35"/>
                  </a:lnTo>
                  <a:lnTo>
                    <a:pt x="58" y="29"/>
                  </a:lnTo>
                  <a:lnTo>
                    <a:pt x="61" y="29"/>
                  </a:lnTo>
                  <a:lnTo>
                    <a:pt x="64" y="26"/>
                  </a:lnTo>
                  <a:lnTo>
                    <a:pt x="66" y="23"/>
                  </a:lnTo>
                  <a:lnTo>
                    <a:pt x="66" y="20"/>
                  </a:lnTo>
                  <a:lnTo>
                    <a:pt x="69" y="18"/>
                  </a:lnTo>
                  <a:lnTo>
                    <a:pt x="66" y="15"/>
                  </a:lnTo>
                  <a:lnTo>
                    <a:pt x="61" y="15"/>
                  </a:lnTo>
                  <a:lnTo>
                    <a:pt x="52" y="15"/>
                  </a:lnTo>
                  <a:lnTo>
                    <a:pt x="46" y="15"/>
                  </a:lnTo>
                  <a:lnTo>
                    <a:pt x="41" y="18"/>
                  </a:lnTo>
                  <a:lnTo>
                    <a:pt x="38" y="18"/>
                  </a:lnTo>
                  <a:lnTo>
                    <a:pt x="32" y="20"/>
                  </a:lnTo>
                  <a:lnTo>
                    <a:pt x="32" y="12"/>
                  </a:lnTo>
                  <a:lnTo>
                    <a:pt x="41" y="6"/>
                  </a:lnTo>
                  <a:lnTo>
                    <a:pt x="49" y="3"/>
                  </a:lnTo>
                  <a:lnTo>
                    <a:pt x="49" y="0"/>
                  </a:lnTo>
                  <a:lnTo>
                    <a:pt x="41" y="0"/>
                  </a:lnTo>
                  <a:lnTo>
                    <a:pt x="26" y="0"/>
                  </a:lnTo>
                  <a:lnTo>
                    <a:pt x="23" y="3"/>
                  </a:lnTo>
                  <a:lnTo>
                    <a:pt x="21" y="9"/>
                  </a:lnTo>
                  <a:lnTo>
                    <a:pt x="21" y="12"/>
                  </a:lnTo>
                  <a:lnTo>
                    <a:pt x="15" y="12"/>
                  </a:lnTo>
                  <a:lnTo>
                    <a:pt x="12" y="15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72" name="Freeform 146"/>
            <p:cNvSpPr>
              <a:spLocks noChangeAspect="1"/>
            </p:cNvSpPr>
            <p:nvPr/>
          </p:nvSpPr>
          <p:spPr bwMode="gray">
            <a:xfrm>
              <a:off x="6735504" y="3412175"/>
              <a:ext cx="493646" cy="474247"/>
            </a:xfrm>
            <a:custGeom>
              <a:avLst/>
              <a:gdLst>
                <a:gd name="T0" fmla="*/ 2147483647 w 192"/>
                <a:gd name="T1" fmla="*/ 2147483647 h 164"/>
                <a:gd name="T2" fmla="*/ 2147483647 w 192"/>
                <a:gd name="T3" fmla="*/ 2147483647 h 164"/>
                <a:gd name="T4" fmla="*/ 2147483647 w 192"/>
                <a:gd name="T5" fmla="*/ 2147483647 h 164"/>
                <a:gd name="T6" fmla="*/ 2147483647 w 192"/>
                <a:gd name="T7" fmla="*/ 2147483647 h 164"/>
                <a:gd name="T8" fmla="*/ 2147483647 w 192"/>
                <a:gd name="T9" fmla="*/ 2147483647 h 164"/>
                <a:gd name="T10" fmla="*/ 2147483647 w 192"/>
                <a:gd name="T11" fmla="*/ 2147483647 h 164"/>
                <a:gd name="T12" fmla="*/ 2147483647 w 192"/>
                <a:gd name="T13" fmla="*/ 2147483647 h 164"/>
                <a:gd name="T14" fmla="*/ 2147483647 w 192"/>
                <a:gd name="T15" fmla="*/ 2147483647 h 164"/>
                <a:gd name="T16" fmla="*/ 2147483647 w 192"/>
                <a:gd name="T17" fmla="*/ 2147483647 h 164"/>
                <a:gd name="T18" fmla="*/ 2147483647 w 192"/>
                <a:gd name="T19" fmla="*/ 2147483647 h 164"/>
                <a:gd name="T20" fmla="*/ 2147483647 w 192"/>
                <a:gd name="T21" fmla="*/ 2147483647 h 164"/>
                <a:gd name="T22" fmla="*/ 0 w 192"/>
                <a:gd name="T23" fmla="*/ 2147483647 h 164"/>
                <a:gd name="T24" fmla="*/ 2147483647 w 192"/>
                <a:gd name="T25" fmla="*/ 2147483647 h 164"/>
                <a:gd name="T26" fmla="*/ 2147483647 w 192"/>
                <a:gd name="T27" fmla="*/ 2147483647 h 164"/>
                <a:gd name="T28" fmla="*/ 2147483647 w 192"/>
                <a:gd name="T29" fmla="*/ 2147483647 h 164"/>
                <a:gd name="T30" fmla="*/ 2147483647 w 192"/>
                <a:gd name="T31" fmla="*/ 2147483647 h 164"/>
                <a:gd name="T32" fmla="*/ 2147483647 w 192"/>
                <a:gd name="T33" fmla="*/ 2147483647 h 164"/>
                <a:gd name="T34" fmla="*/ 2147483647 w 192"/>
                <a:gd name="T35" fmla="*/ 2147483647 h 164"/>
                <a:gd name="T36" fmla="*/ 2147483647 w 192"/>
                <a:gd name="T37" fmla="*/ 2147483647 h 164"/>
                <a:gd name="T38" fmla="*/ 2147483647 w 192"/>
                <a:gd name="T39" fmla="*/ 2147483647 h 164"/>
                <a:gd name="T40" fmla="*/ 2147483647 w 192"/>
                <a:gd name="T41" fmla="*/ 2147483647 h 164"/>
                <a:gd name="T42" fmla="*/ 2147483647 w 192"/>
                <a:gd name="T43" fmla="*/ 2147483647 h 164"/>
                <a:gd name="T44" fmla="*/ 2147483647 w 192"/>
                <a:gd name="T45" fmla="*/ 2147483647 h 164"/>
                <a:gd name="T46" fmla="*/ 2147483647 w 192"/>
                <a:gd name="T47" fmla="*/ 2147483647 h 164"/>
                <a:gd name="T48" fmla="*/ 2147483647 w 192"/>
                <a:gd name="T49" fmla="*/ 2147483647 h 164"/>
                <a:gd name="T50" fmla="*/ 2147483647 w 192"/>
                <a:gd name="T51" fmla="*/ 2147483647 h 164"/>
                <a:gd name="T52" fmla="*/ 2147483647 w 192"/>
                <a:gd name="T53" fmla="*/ 2147483647 h 164"/>
                <a:gd name="T54" fmla="*/ 2147483647 w 192"/>
                <a:gd name="T55" fmla="*/ 2147483647 h 164"/>
                <a:gd name="T56" fmla="*/ 2147483647 w 192"/>
                <a:gd name="T57" fmla="*/ 2147483647 h 164"/>
                <a:gd name="T58" fmla="*/ 2147483647 w 192"/>
                <a:gd name="T59" fmla="*/ 2147483647 h 164"/>
                <a:gd name="T60" fmla="*/ 2147483647 w 192"/>
                <a:gd name="T61" fmla="*/ 2147483647 h 164"/>
                <a:gd name="T62" fmla="*/ 2147483647 w 192"/>
                <a:gd name="T63" fmla="*/ 2147483647 h 164"/>
                <a:gd name="T64" fmla="*/ 2147483647 w 192"/>
                <a:gd name="T65" fmla="*/ 2147483647 h 164"/>
                <a:gd name="T66" fmla="*/ 2147483647 w 192"/>
                <a:gd name="T67" fmla="*/ 2147483647 h 164"/>
                <a:gd name="T68" fmla="*/ 2147483647 w 192"/>
                <a:gd name="T69" fmla="*/ 2147483647 h 164"/>
                <a:gd name="T70" fmla="*/ 2147483647 w 192"/>
                <a:gd name="T71" fmla="*/ 2147483647 h 164"/>
                <a:gd name="T72" fmla="*/ 2147483647 w 192"/>
                <a:gd name="T73" fmla="*/ 2147483647 h 164"/>
                <a:gd name="T74" fmla="*/ 2147483647 w 192"/>
                <a:gd name="T75" fmla="*/ 2147483647 h 164"/>
                <a:gd name="T76" fmla="*/ 2147483647 w 192"/>
                <a:gd name="T77" fmla="*/ 2147483647 h 164"/>
                <a:gd name="T78" fmla="*/ 2147483647 w 192"/>
                <a:gd name="T79" fmla="*/ 2147483647 h 164"/>
                <a:gd name="T80" fmla="*/ 2147483647 w 192"/>
                <a:gd name="T81" fmla="*/ 2147483647 h 164"/>
                <a:gd name="T82" fmla="*/ 2147483647 w 192"/>
                <a:gd name="T83" fmla="*/ 2147483647 h 164"/>
                <a:gd name="T84" fmla="*/ 2147483647 w 192"/>
                <a:gd name="T85" fmla="*/ 2147483647 h 164"/>
                <a:gd name="T86" fmla="*/ 2147483647 w 192"/>
                <a:gd name="T87" fmla="*/ 2147483647 h 164"/>
                <a:gd name="T88" fmla="*/ 2147483647 w 192"/>
                <a:gd name="T89" fmla="*/ 2147483647 h 164"/>
                <a:gd name="T90" fmla="*/ 2147483647 w 192"/>
                <a:gd name="T91" fmla="*/ 2147483647 h 164"/>
                <a:gd name="T92" fmla="*/ 2147483647 w 192"/>
                <a:gd name="T93" fmla="*/ 2147483647 h 164"/>
                <a:gd name="T94" fmla="*/ 2147483647 w 192"/>
                <a:gd name="T95" fmla="*/ 2147483647 h 164"/>
                <a:gd name="T96" fmla="*/ 2147483647 w 192"/>
                <a:gd name="T97" fmla="*/ 2147483647 h 164"/>
                <a:gd name="T98" fmla="*/ 2147483647 w 192"/>
                <a:gd name="T99" fmla="*/ 2147483647 h 164"/>
                <a:gd name="T100" fmla="*/ 2147483647 w 192"/>
                <a:gd name="T101" fmla="*/ 2147483647 h 164"/>
                <a:gd name="T102" fmla="*/ 2147483647 w 192"/>
                <a:gd name="T103" fmla="*/ 2147483647 h 164"/>
                <a:gd name="T104" fmla="*/ 2147483647 w 192"/>
                <a:gd name="T105" fmla="*/ 2147483647 h 164"/>
                <a:gd name="T106" fmla="*/ 2147483647 w 192"/>
                <a:gd name="T107" fmla="*/ 0 h 164"/>
                <a:gd name="T108" fmla="*/ 2147483647 w 192"/>
                <a:gd name="T109" fmla="*/ 0 h 164"/>
                <a:gd name="T110" fmla="*/ 2147483647 w 192"/>
                <a:gd name="T111" fmla="*/ 2147483647 h 164"/>
                <a:gd name="T112" fmla="*/ 2147483647 w 192"/>
                <a:gd name="T113" fmla="*/ 2147483647 h 16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92"/>
                <a:gd name="T172" fmla="*/ 0 h 164"/>
                <a:gd name="T173" fmla="*/ 192 w 192"/>
                <a:gd name="T174" fmla="*/ 164 h 164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92" h="164">
                  <a:moveTo>
                    <a:pt x="77" y="23"/>
                  </a:moveTo>
                  <a:lnTo>
                    <a:pt x="77" y="23"/>
                  </a:lnTo>
                  <a:lnTo>
                    <a:pt x="75" y="26"/>
                  </a:lnTo>
                  <a:lnTo>
                    <a:pt x="72" y="29"/>
                  </a:lnTo>
                  <a:lnTo>
                    <a:pt x="69" y="32"/>
                  </a:lnTo>
                  <a:lnTo>
                    <a:pt x="63" y="32"/>
                  </a:lnTo>
                  <a:lnTo>
                    <a:pt x="54" y="32"/>
                  </a:lnTo>
                  <a:lnTo>
                    <a:pt x="54" y="29"/>
                  </a:lnTo>
                  <a:lnTo>
                    <a:pt x="52" y="23"/>
                  </a:lnTo>
                  <a:lnTo>
                    <a:pt x="49" y="23"/>
                  </a:lnTo>
                  <a:lnTo>
                    <a:pt x="43" y="23"/>
                  </a:lnTo>
                  <a:lnTo>
                    <a:pt x="46" y="32"/>
                  </a:lnTo>
                  <a:lnTo>
                    <a:pt x="46" y="40"/>
                  </a:lnTo>
                  <a:lnTo>
                    <a:pt x="46" y="43"/>
                  </a:lnTo>
                  <a:lnTo>
                    <a:pt x="40" y="43"/>
                  </a:lnTo>
                  <a:lnTo>
                    <a:pt x="34" y="46"/>
                  </a:lnTo>
                  <a:lnTo>
                    <a:pt x="29" y="46"/>
                  </a:lnTo>
                  <a:lnTo>
                    <a:pt x="26" y="43"/>
                  </a:lnTo>
                  <a:lnTo>
                    <a:pt x="26" y="40"/>
                  </a:lnTo>
                  <a:lnTo>
                    <a:pt x="20" y="43"/>
                  </a:lnTo>
                  <a:lnTo>
                    <a:pt x="14" y="43"/>
                  </a:lnTo>
                  <a:lnTo>
                    <a:pt x="6" y="43"/>
                  </a:lnTo>
                  <a:lnTo>
                    <a:pt x="0" y="46"/>
                  </a:lnTo>
                  <a:lnTo>
                    <a:pt x="0" y="49"/>
                  </a:lnTo>
                  <a:lnTo>
                    <a:pt x="0" y="52"/>
                  </a:lnTo>
                  <a:lnTo>
                    <a:pt x="3" y="49"/>
                  </a:lnTo>
                  <a:lnTo>
                    <a:pt x="3" y="52"/>
                  </a:lnTo>
                  <a:lnTo>
                    <a:pt x="3" y="55"/>
                  </a:lnTo>
                  <a:lnTo>
                    <a:pt x="3" y="58"/>
                  </a:lnTo>
                  <a:lnTo>
                    <a:pt x="3" y="60"/>
                  </a:lnTo>
                  <a:lnTo>
                    <a:pt x="9" y="60"/>
                  </a:lnTo>
                  <a:lnTo>
                    <a:pt x="14" y="60"/>
                  </a:lnTo>
                  <a:lnTo>
                    <a:pt x="20" y="63"/>
                  </a:lnTo>
                  <a:lnTo>
                    <a:pt x="23" y="66"/>
                  </a:lnTo>
                  <a:lnTo>
                    <a:pt x="26" y="66"/>
                  </a:lnTo>
                  <a:lnTo>
                    <a:pt x="31" y="66"/>
                  </a:lnTo>
                  <a:lnTo>
                    <a:pt x="31" y="69"/>
                  </a:lnTo>
                  <a:lnTo>
                    <a:pt x="37" y="69"/>
                  </a:lnTo>
                  <a:lnTo>
                    <a:pt x="34" y="72"/>
                  </a:lnTo>
                  <a:lnTo>
                    <a:pt x="40" y="75"/>
                  </a:lnTo>
                  <a:lnTo>
                    <a:pt x="34" y="78"/>
                  </a:lnTo>
                  <a:lnTo>
                    <a:pt x="40" y="83"/>
                  </a:lnTo>
                  <a:lnTo>
                    <a:pt x="49" y="89"/>
                  </a:lnTo>
                  <a:lnTo>
                    <a:pt x="49" y="92"/>
                  </a:lnTo>
                  <a:lnTo>
                    <a:pt x="49" y="98"/>
                  </a:lnTo>
                  <a:lnTo>
                    <a:pt x="49" y="103"/>
                  </a:lnTo>
                  <a:lnTo>
                    <a:pt x="52" y="103"/>
                  </a:lnTo>
                  <a:lnTo>
                    <a:pt x="49" y="106"/>
                  </a:lnTo>
                  <a:lnTo>
                    <a:pt x="49" y="118"/>
                  </a:lnTo>
                  <a:lnTo>
                    <a:pt x="46" y="129"/>
                  </a:lnTo>
                  <a:lnTo>
                    <a:pt x="43" y="138"/>
                  </a:lnTo>
                  <a:lnTo>
                    <a:pt x="40" y="144"/>
                  </a:lnTo>
                  <a:lnTo>
                    <a:pt x="43" y="147"/>
                  </a:lnTo>
                  <a:lnTo>
                    <a:pt x="49" y="152"/>
                  </a:lnTo>
                  <a:lnTo>
                    <a:pt x="57" y="152"/>
                  </a:lnTo>
                  <a:lnTo>
                    <a:pt x="63" y="152"/>
                  </a:lnTo>
                  <a:lnTo>
                    <a:pt x="66" y="155"/>
                  </a:lnTo>
                  <a:lnTo>
                    <a:pt x="75" y="155"/>
                  </a:lnTo>
                  <a:lnTo>
                    <a:pt x="77" y="147"/>
                  </a:lnTo>
                  <a:lnTo>
                    <a:pt x="86" y="155"/>
                  </a:lnTo>
                  <a:lnTo>
                    <a:pt x="92" y="155"/>
                  </a:lnTo>
                  <a:lnTo>
                    <a:pt x="98" y="161"/>
                  </a:lnTo>
                  <a:lnTo>
                    <a:pt x="103" y="158"/>
                  </a:lnTo>
                  <a:lnTo>
                    <a:pt x="103" y="161"/>
                  </a:lnTo>
                  <a:lnTo>
                    <a:pt x="106" y="164"/>
                  </a:lnTo>
                  <a:lnTo>
                    <a:pt x="112" y="161"/>
                  </a:lnTo>
                  <a:lnTo>
                    <a:pt x="115" y="164"/>
                  </a:lnTo>
                  <a:lnTo>
                    <a:pt x="115" y="155"/>
                  </a:lnTo>
                  <a:lnTo>
                    <a:pt x="118" y="149"/>
                  </a:lnTo>
                  <a:lnTo>
                    <a:pt x="129" y="144"/>
                  </a:lnTo>
                  <a:lnTo>
                    <a:pt x="143" y="147"/>
                  </a:lnTo>
                  <a:lnTo>
                    <a:pt x="164" y="149"/>
                  </a:lnTo>
                  <a:lnTo>
                    <a:pt x="172" y="147"/>
                  </a:lnTo>
                  <a:lnTo>
                    <a:pt x="175" y="147"/>
                  </a:lnTo>
                  <a:lnTo>
                    <a:pt x="181" y="147"/>
                  </a:lnTo>
                  <a:lnTo>
                    <a:pt x="184" y="141"/>
                  </a:lnTo>
                  <a:lnTo>
                    <a:pt x="181" y="135"/>
                  </a:lnTo>
                  <a:lnTo>
                    <a:pt x="184" y="135"/>
                  </a:lnTo>
                  <a:lnTo>
                    <a:pt x="184" y="132"/>
                  </a:lnTo>
                  <a:lnTo>
                    <a:pt x="175" y="129"/>
                  </a:lnTo>
                  <a:lnTo>
                    <a:pt x="169" y="129"/>
                  </a:lnTo>
                  <a:lnTo>
                    <a:pt x="172" y="118"/>
                  </a:lnTo>
                  <a:lnTo>
                    <a:pt x="169" y="109"/>
                  </a:lnTo>
                  <a:lnTo>
                    <a:pt x="172" y="106"/>
                  </a:lnTo>
                  <a:lnTo>
                    <a:pt x="175" y="106"/>
                  </a:lnTo>
                  <a:lnTo>
                    <a:pt x="169" y="101"/>
                  </a:lnTo>
                  <a:lnTo>
                    <a:pt x="175" y="95"/>
                  </a:lnTo>
                  <a:lnTo>
                    <a:pt x="172" y="92"/>
                  </a:lnTo>
                  <a:lnTo>
                    <a:pt x="169" y="89"/>
                  </a:lnTo>
                  <a:lnTo>
                    <a:pt x="166" y="95"/>
                  </a:lnTo>
                  <a:lnTo>
                    <a:pt x="155" y="92"/>
                  </a:lnTo>
                  <a:lnTo>
                    <a:pt x="164" y="81"/>
                  </a:lnTo>
                  <a:lnTo>
                    <a:pt x="172" y="69"/>
                  </a:lnTo>
                  <a:lnTo>
                    <a:pt x="175" y="63"/>
                  </a:lnTo>
                  <a:lnTo>
                    <a:pt x="181" y="66"/>
                  </a:lnTo>
                  <a:lnTo>
                    <a:pt x="184" y="60"/>
                  </a:lnTo>
                  <a:lnTo>
                    <a:pt x="184" y="63"/>
                  </a:lnTo>
                  <a:lnTo>
                    <a:pt x="186" y="46"/>
                  </a:lnTo>
                  <a:lnTo>
                    <a:pt x="192" y="37"/>
                  </a:lnTo>
                  <a:lnTo>
                    <a:pt x="189" y="37"/>
                  </a:lnTo>
                  <a:lnTo>
                    <a:pt x="184" y="35"/>
                  </a:lnTo>
                  <a:lnTo>
                    <a:pt x="181" y="37"/>
                  </a:lnTo>
                  <a:lnTo>
                    <a:pt x="178" y="35"/>
                  </a:lnTo>
                  <a:lnTo>
                    <a:pt x="172" y="35"/>
                  </a:lnTo>
                  <a:lnTo>
                    <a:pt x="166" y="32"/>
                  </a:lnTo>
                  <a:lnTo>
                    <a:pt x="158" y="32"/>
                  </a:lnTo>
                  <a:lnTo>
                    <a:pt x="152" y="29"/>
                  </a:lnTo>
                  <a:lnTo>
                    <a:pt x="143" y="23"/>
                  </a:lnTo>
                  <a:lnTo>
                    <a:pt x="143" y="17"/>
                  </a:lnTo>
                  <a:lnTo>
                    <a:pt x="141" y="23"/>
                  </a:lnTo>
                  <a:lnTo>
                    <a:pt x="138" y="23"/>
                  </a:lnTo>
                  <a:lnTo>
                    <a:pt x="135" y="20"/>
                  </a:lnTo>
                  <a:lnTo>
                    <a:pt x="132" y="14"/>
                  </a:lnTo>
                  <a:lnTo>
                    <a:pt x="126" y="14"/>
                  </a:lnTo>
                  <a:lnTo>
                    <a:pt x="126" y="12"/>
                  </a:lnTo>
                  <a:lnTo>
                    <a:pt x="123" y="9"/>
                  </a:lnTo>
                  <a:lnTo>
                    <a:pt x="115" y="12"/>
                  </a:lnTo>
                  <a:lnTo>
                    <a:pt x="103" y="3"/>
                  </a:lnTo>
                  <a:lnTo>
                    <a:pt x="106" y="3"/>
                  </a:lnTo>
                  <a:lnTo>
                    <a:pt x="109" y="3"/>
                  </a:lnTo>
                  <a:lnTo>
                    <a:pt x="109" y="0"/>
                  </a:lnTo>
                  <a:lnTo>
                    <a:pt x="103" y="0"/>
                  </a:lnTo>
                  <a:lnTo>
                    <a:pt x="100" y="3"/>
                  </a:lnTo>
                  <a:lnTo>
                    <a:pt x="98" y="9"/>
                  </a:lnTo>
                  <a:lnTo>
                    <a:pt x="95" y="14"/>
                  </a:lnTo>
                  <a:lnTo>
                    <a:pt x="89" y="17"/>
                  </a:lnTo>
                  <a:lnTo>
                    <a:pt x="77" y="23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73" name="Freeform 199"/>
            <p:cNvSpPr>
              <a:spLocks noChangeAspect="1"/>
            </p:cNvSpPr>
            <p:nvPr/>
          </p:nvSpPr>
          <p:spPr bwMode="gray">
            <a:xfrm>
              <a:off x="7229150" y="3951494"/>
              <a:ext cx="67851" cy="132347"/>
            </a:xfrm>
            <a:custGeom>
              <a:avLst/>
              <a:gdLst>
                <a:gd name="T0" fmla="*/ 2147483647 w 26"/>
                <a:gd name="T1" fmla="*/ 2147483647 h 46"/>
                <a:gd name="T2" fmla="*/ 2147483647 w 26"/>
                <a:gd name="T3" fmla="*/ 2147483647 h 46"/>
                <a:gd name="T4" fmla="*/ 2147483647 w 26"/>
                <a:gd name="T5" fmla="*/ 2147483647 h 46"/>
                <a:gd name="T6" fmla="*/ 2147483647 w 26"/>
                <a:gd name="T7" fmla="*/ 2147483647 h 46"/>
                <a:gd name="T8" fmla="*/ 2147483647 w 26"/>
                <a:gd name="T9" fmla="*/ 2147483647 h 46"/>
                <a:gd name="T10" fmla="*/ 2147483647 w 26"/>
                <a:gd name="T11" fmla="*/ 2147483647 h 46"/>
                <a:gd name="T12" fmla="*/ 2147483647 w 26"/>
                <a:gd name="T13" fmla="*/ 2147483647 h 46"/>
                <a:gd name="T14" fmla="*/ 2147483647 w 26"/>
                <a:gd name="T15" fmla="*/ 2147483647 h 46"/>
                <a:gd name="T16" fmla="*/ 2147483647 w 26"/>
                <a:gd name="T17" fmla="*/ 2147483647 h 46"/>
                <a:gd name="T18" fmla="*/ 2147483647 w 26"/>
                <a:gd name="T19" fmla="*/ 2147483647 h 46"/>
                <a:gd name="T20" fmla="*/ 2147483647 w 26"/>
                <a:gd name="T21" fmla="*/ 2147483647 h 46"/>
                <a:gd name="T22" fmla="*/ 2147483647 w 26"/>
                <a:gd name="T23" fmla="*/ 2147483647 h 46"/>
                <a:gd name="T24" fmla="*/ 2147483647 w 26"/>
                <a:gd name="T25" fmla="*/ 2147483647 h 46"/>
                <a:gd name="T26" fmla="*/ 2147483647 w 26"/>
                <a:gd name="T27" fmla="*/ 2147483647 h 46"/>
                <a:gd name="T28" fmla="*/ 2147483647 w 26"/>
                <a:gd name="T29" fmla="*/ 2147483647 h 46"/>
                <a:gd name="T30" fmla="*/ 2147483647 w 26"/>
                <a:gd name="T31" fmla="*/ 2147483647 h 46"/>
                <a:gd name="T32" fmla="*/ 2147483647 w 26"/>
                <a:gd name="T33" fmla="*/ 2147483647 h 46"/>
                <a:gd name="T34" fmla="*/ 2147483647 w 26"/>
                <a:gd name="T35" fmla="*/ 2147483647 h 46"/>
                <a:gd name="T36" fmla="*/ 2147483647 w 26"/>
                <a:gd name="T37" fmla="*/ 2147483647 h 46"/>
                <a:gd name="T38" fmla="*/ 2147483647 w 26"/>
                <a:gd name="T39" fmla="*/ 2147483647 h 46"/>
                <a:gd name="T40" fmla="*/ 2147483647 w 26"/>
                <a:gd name="T41" fmla="*/ 0 h 46"/>
                <a:gd name="T42" fmla="*/ 2147483647 w 26"/>
                <a:gd name="T43" fmla="*/ 0 h 46"/>
                <a:gd name="T44" fmla="*/ 2147483647 w 26"/>
                <a:gd name="T45" fmla="*/ 0 h 46"/>
                <a:gd name="T46" fmla="*/ 2147483647 w 26"/>
                <a:gd name="T47" fmla="*/ 0 h 46"/>
                <a:gd name="T48" fmla="*/ 2147483647 w 26"/>
                <a:gd name="T49" fmla="*/ 2147483647 h 46"/>
                <a:gd name="T50" fmla="*/ 2147483647 w 26"/>
                <a:gd name="T51" fmla="*/ 2147483647 h 46"/>
                <a:gd name="T52" fmla="*/ 2147483647 w 26"/>
                <a:gd name="T53" fmla="*/ 2147483647 h 46"/>
                <a:gd name="T54" fmla="*/ 2147483647 w 26"/>
                <a:gd name="T55" fmla="*/ 2147483647 h 46"/>
                <a:gd name="T56" fmla="*/ 0 w 26"/>
                <a:gd name="T57" fmla="*/ 2147483647 h 46"/>
                <a:gd name="T58" fmla="*/ 0 w 26"/>
                <a:gd name="T59" fmla="*/ 2147483647 h 46"/>
                <a:gd name="T60" fmla="*/ 0 w 26"/>
                <a:gd name="T61" fmla="*/ 2147483647 h 46"/>
                <a:gd name="T62" fmla="*/ 2147483647 w 26"/>
                <a:gd name="T63" fmla="*/ 2147483647 h 46"/>
                <a:gd name="T64" fmla="*/ 2147483647 w 26"/>
                <a:gd name="T65" fmla="*/ 2147483647 h 46"/>
                <a:gd name="T66" fmla="*/ 2147483647 w 26"/>
                <a:gd name="T67" fmla="*/ 2147483647 h 46"/>
                <a:gd name="T68" fmla="*/ 2147483647 w 26"/>
                <a:gd name="T69" fmla="*/ 2147483647 h 46"/>
                <a:gd name="T70" fmla="*/ 2147483647 w 26"/>
                <a:gd name="T71" fmla="*/ 2147483647 h 46"/>
                <a:gd name="T72" fmla="*/ 2147483647 w 26"/>
                <a:gd name="T73" fmla="*/ 2147483647 h 46"/>
                <a:gd name="T74" fmla="*/ 2147483647 w 26"/>
                <a:gd name="T75" fmla="*/ 2147483647 h 4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6"/>
                <a:gd name="T115" fmla="*/ 0 h 46"/>
                <a:gd name="T116" fmla="*/ 26 w 26"/>
                <a:gd name="T117" fmla="*/ 46 h 4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6" h="46">
                  <a:moveTo>
                    <a:pt x="3" y="40"/>
                  </a:moveTo>
                  <a:lnTo>
                    <a:pt x="3" y="40"/>
                  </a:lnTo>
                  <a:lnTo>
                    <a:pt x="9" y="46"/>
                  </a:lnTo>
                  <a:lnTo>
                    <a:pt x="12" y="46"/>
                  </a:lnTo>
                  <a:lnTo>
                    <a:pt x="12" y="40"/>
                  </a:lnTo>
                  <a:lnTo>
                    <a:pt x="15" y="37"/>
                  </a:lnTo>
                  <a:lnTo>
                    <a:pt x="20" y="40"/>
                  </a:lnTo>
                  <a:lnTo>
                    <a:pt x="23" y="37"/>
                  </a:lnTo>
                  <a:lnTo>
                    <a:pt x="23" y="31"/>
                  </a:lnTo>
                  <a:lnTo>
                    <a:pt x="23" y="17"/>
                  </a:lnTo>
                  <a:lnTo>
                    <a:pt x="26" y="8"/>
                  </a:lnTo>
                  <a:lnTo>
                    <a:pt x="23" y="5"/>
                  </a:lnTo>
                  <a:lnTo>
                    <a:pt x="20" y="0"/>
                  </a:lnTo>
                  <a:lnTo>
                    <a:pt x="17" y="0"/>
                  </a:lnTo>
                  <a:lnTo>
                    <a:pt x="9" y="5"/>
                  </a:lnTo>
                  <a:lnTo>
                    <a:pt x="3" y="5"/>
                  </a:lnTo>
                  <a:lnTo>
                    <a:pt x="0" y="8"/>
                  </a:lnTo>
                  <a:lnTo>
                    <a:pt x="0" y="11"/>
                  </a:lnTo>
                  <a:lnTo>
                    <a:pt x="3" y="17"/>
                  </a:lnTo>
                  <a:lnTo>
                    <a:pt x="6" y="20"/>
                  </a:lnTo>
                  <a:lnTo>
                    <a:pt x="6" y="23"/>
                  </a:lnTo>
                  <a:lnTo>
                    <a:pt x="3" y="34"/>
                  </a:lnTo>
                  <a:lnTo>
                    <a:pt x="3" y="4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74" name="Freeform 206"/>
            <p:cNvSpPr>
              <a:spLocks noChangeAspect="1"/>
            </p:cNvSpPr>
            <p:nvPr/>
          </p:nvSpPr>
          <p:spPr bwMode="gray">
            <a:xfrm>
              <a:off x="7304868" y="3853336"/>
              <a:ext cx="14751" cy="16543"/>
            </a:xfrm>
            <a:custGeom>
              <a:avLst/>
              <a:gdLst>
                <a:gd name="T0" fmla="*/ 2147483647 w 6"/>
                <a:gd name="T1" fmla="*/ 0 h 6"/>
                <a:gd name="T2" fmla="*/ 0 w 6"/>
                <a:gd name="T3" fmla="*/ 2147483647 h 6"/>
                <a:gd name="T4" fmla="*/ 2147483647 w 6"/>
                <a:gd name="T5" fmla="*/ 2147483647 h 6"/>
                <a:gd name="T6" fmla="*/ 2147483647 w 6"/>
                <a:gd name="T7" fmla="*/ 0 h 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6"/>
                <a:gd name="T13" fmla="*/ 0 h 6"/>
                <a:gd name="T14" fmla="*/ 6 w 6"/>
                <a:gd name="T15" fmla="*/ 6 h 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6" h="6">
                  <a:moveTo>
                    <a:pt x="6" y="0"/>
                  </a:moveTo>
                  <a:lnTo>
                    <a:pt x="0" y="6"/>
                  </a:lnTo>
                  <a:lnTo>
                    <a:pt x="6" y="6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75" name="Freeform 210"/>
            <p:cNvSpPr>
              <a:spLocks noChangeAspect="1"/>
            </p:cNvSpPr>
            <p:nvPr/>
          </p:nvSpPr>
          <p:spPr bwMode="gray">
            <a:xfrm>
              <a:off x="7243900" y="3853336"/>
              <a:ext cx="45235" cy="81614"/>
            </a:xfrm>
            <a:custGeom>
              <a:avLst/>
              <a:gdLst>
                <a:gd name="T0" fmla="*/ 2147483647 w 17"/>
                <a:gd name="T1" fmla="*/ 0 h 29"/>
                <a:gd name="T2" fmla="*/ 2147483647 w 17"/>
                <a:gd name="T3" fmla="*/ 0 h 29"/>
                <a:gd name="T4" fmla="*/ 2147483647 w 17"/>
                <a:gd name="T5" fmla="*/ 2147483647 h 29"/>
                <a:gd name="T6" fmla="*/ 2147483647 w 17"/>
                <a:gd name="T7" fmla="*/ 2147483647 h 29"/>
                <a:gd name="T8" fmla="*/ 2147483647 w 17"/>
                <a:gd name="T9" fmla="*/ 2147483647 h 29"/>
                <a:gd name="T10" fmla="*/ 2147483647 w 17"/>
                <a:gd name="T11" fmla="*/ 2147483647 h 29"/>
                <a:gd name="T12" fmla="*/ 0 w 17"/>
                <a:gd name="T13" fmla="*/ 2147483647 h 29"/>
                <a:gd name="T14" fmla="*/ 0 w 17"/>
                <a:gd name="T15" fmla="*/ 2147483647 h 29"/>
                <a:gd name="T16" fmla="*/ 0 w 17"/>
                <a:gd name="T17" fmla="*/ 2147483647 h 29"/>
                <a:gd name="T18" fmla="*/ 2147483647 w 17"/>
                <a:gd name="T19" fmla="*/ 2147483647 h 29"/>
                <a:gd name="T20" fmla="*/ 2147483647 w 17"/>
                <a:gd name="T21" fmla="*/ 2147483647 h 29"/>
                <a:gd name="T22" fmla="*/ 2147483647 w 17"/>
                <a:gd name="T23" fmla="*/ 2147483647 h 29"/>
                <a:gd name="T24" fmla="*/ 2147483647 w 17"/>
                <a:gd name="T25" fmla="*/ 2147483647 h 29"/>
                <a:gd name="T26" fmla="*/ 2147483647 w 17"/>
                <a:gd name="T27" fmla="*/ 2147483647 h 29"/>
                <a:gd name="T28" fmla="*/ 2147483647 w 17"/>
                <a:gd name="T29" fmla="*/ 2147483647 h 29"/>
                <a:gd name="T30" fmla="*/ 2147483647 w 17"/>
                <a:gd name="T31" fmla="*/ 2147483647 h 29"/>
                <a:gd name="T32" fmla="*/ 2147483647 w 17"/>
                <a:gd name="T33" fmla="*/ 2147483647 h 29"/>
                <a:gd name="T34" fmla="*/ 2147483647 w 17"/>
                <a:gd name="T35" fmla="*/ 2147483647 h 29"/>
                <a:gd name="T36" fmla="*/ 2147483647 w 17"/>
                <a:gd name="T37" fmla="*/ 0 h 29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7"/>
                <a:gd name="T58" fmla="*/ 0 h 29"/>
                <a:gd name="T59" fmla="*/ 17 w 17"/>
                <a:gd name="T60" fmla="*/ 29 h 29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7" h="29">
                  <a:moveTo>
                    <a:pt x="14" y="0"/>
                  </a:moveTo>
                  <a:lnTo>
                    <a:pt x="14" y="0"/>
                  </a:lnTo>
                  <a:lnTo>
                    <a:pt x="11" y="3"/>
                  </a:lnTo>
                  <a:lnTo>
                    <a:pt x="9" y="6"/>
                  </a:lnTo>
                  <a:lnTo>
                    <a:pt x="3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6" y="29"/>
                  </a:lnTo>
                  <a:lnTo>
                    <a:pt x="11" y="29"/>
                  </a:lnTo>
                  <a:lnTo>
                    <a:pt x="14" y="26"/>
                  </a:lnTo>
                  <a:lnTo>
                    <a:pt x="14" y="18"/>
                  </a:lnTo>
                  <a:lnTo>
                    <a:pt x="17" y="12"/>
                  </a:lnTo>
                  <a:lnTo>
                    <a:pt x="17" y="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76" name="Freeform 211"/>
            <p:cNvSpPr>
              <a:spLocks noChangeAspect="1"/>
            </p:cNvSpPr>
            <p:nvPr/>
          </p:nvSpPr>
          <p:spPr bwMode="gray">
            <a:xfrm>
              <a:off x="7398288" y="3422101"/>
              <a:ext cx="237972" cy="116908"/>
            </a:xfrm>
            <a:custGeom>
              <a:avLst/>
              <a:gdLst>
                <a:gd name="T0" fmla="*/ 2147483647 w 92"/>
                <a:gd name="T1" fmla="*/ 2147483647 h 40"/>
                <a:gd name="T2" fmla="*/ 2147483647 w 92"/>
                <a:gd name="T3" fmla="*/ 2147483647 h 40"/>
                <a:gd name="T4" fmla="*/ 2147483647 w 92"/>
                <a:gd name="T5" fmla="*/ 2147483647 h 40"/>
                <a:gd name="T6" fmla="*/ 2147483647 w 92"/>
                <a:gd name="T7" fmla="*/ 2147483647 h 40"/>
                <a:gd name="T8" fmla="*/ 2147483647 w 92"/>
                <a:gd name="T9" fmla="*/ 2147483647 h 40"/>
                <a:gd name="T10" fmla="*/ 2147483647 w 92"/>
                <a:gd name="T11" fmla="*/ 2147483647 h 40"/>
                <a:gd name="T12" fmla="*/ 2147483647 w 92"/>
                <a:gd name="T13" fmla="*/ 2147483647 h 40"/>
                <a:gd name="T14" fmla="*/ 2147483647 w 92"/>
                <a:gd name="T15" fmla="*/ 2147483647 h 40"/>
                <a:gd name="T16" fmla="*/ 2147483647 w 92"/>
                <a:gd name="T17" fmla="*/ 2147483647 h 40"/>
                <a:gd name="T18" fmla="*/ 2147483647 w 92"/>
                <a:gd name="T19" fmla="*/ 2147483647 h 40"/>
                <a:gd name="T20" fmla="*/ 2147483647 w 92"/>
                <a:gd name="T21" fmla="*/ 2147483647 h 40"/>
                <a:gd name="T22" fmla="*/ 2147483647 w 92"/>
                <a:gd name="T23" fmla="*/ 2147483647 h 40"/>
                <a:gd name="T24" fmla="*/ 2147483647 w 92"/>
                <a:gd name="T25" fmla="*/ 2147483647 h 40"/>
                <a:gd name="T26" fmla="*/ 2147483647 w 92"/>
                <a:gd name="T27" fmla="*/ 2147483647 h 40"/>
                <a:gd name="T28" fmla="*/ 2147483647 w 92"/>
                <a:gd name="T29" fmla="*/ 2147483647 h 40"/>
                <a:gd name="T30" fmla="*/ 2147483647 w 92"/>
                <a:gd name="T31" fmla="*/ 2147483647 h 40"/>
                <a:gd name="T32" fmla="*/ 2147483647 w 92"/>
                <a:gd name="T33" fmla="*/ 2147483647 h 40"/>
                <a:gd name="T34" fmla="*/ 2147483647 w 92"/>
                <a:gd name="T35" fmla="*/ 2147483647 h 40"/>
                <a:gd name="T36" fmla="*/ 2147483647 w 92"/>
                <a:gd name="T37" fmla="*/ 2147483647 h 40"/>
                <a:gd name="T38" fmla="*/ 2147483647 w 92"/>
                <a:gd name="T39" fmla="*/ 2147483647 h 40"/>
                <a:gd name="T40" fmla="*/ 2147483647 w 92"/>
                <a:gd name="T41" fmla="*/ 2147483647 h 40"/>
                <a:gd name="T42" fmla="*/ 2147483647 w 92"/>
                <a:gd name="T43" fmla="*/ 2147483647 h 40"/>
                <a:gd name="T44" fmla="*/ 2147483647 w 92"/>
                <a:gd name="T45" fmla="*/ 2147483647 h 40"/>
                <a:gd name="T46" fmla="*/ 2147483647 w 92"/>
                <a:gd name="T47" fmla="*/ 2147483647 h 40"/>
                <a:gd name="T48" fmla="*/ 2147483647 w 92"/>
                <a:gd name="T49" fmla="*/ 2147483647 h 40"/>
                <a:gd name="T50" fmla="*/ 2147483647 w 92"/>
                <a:gd name="T51" fmla="*/ 2147483647 h 40"/>
                <a:gd name="T52" fmla="*/ 2147483647 w 92"/>
                <a:gd name="T53" fmla="*/ 2147483647 h 40"/>
                <a:gd name="T54" fmla="*/ 2147483647 w 92"/>
                <a:gd name="T55" fmla="*/ 2147483647 h 40"/>
                <a:gd name="T56" fmla="*/ 2147483647 w 92"/>
                <a:gd name="T57" fmla="*/ 2147483647 h 40"/>
                <a:gd name="T58" fmla="*/ 2147483647 w 92"/>
                <a:gd name="T59" fmla="*/ 0 h 40"/>
                <a:gd name="T60" fmla="*/ 2147483647 w 92"/>
                <a:gd name="T61" fmla="*/ 2147483647 h 40"/>
                <a:gd name="T62" fmla="*/ 2147483647 w 92"/>
                <a:gd name="T63" fmla="*/ 2147483647 h 40"/>
                <a:gd name="T64" fmla="*/ 2147483647 w 92"/>
                <a:gd name="T65" fmla="*/ 0 h 40"/>
                <a:gd name="T66" fmla="*/ 2147483647 w 92"/>
                <a:gd name="T67" fmla="*/ 0 h 40"/>
                <a:gd name="T68" fmla="*/ 2147483647 w 92"/>
                <a:gd name="T69" fmla="*/ 2147483647 h 40"/>
                <a:gd name="T70" fmla="*/ 2147483647 w 92"/>
                <a:gd name="T71" fmla="*/ 2147483647 h 40"/>
                <a:gd name="T72" fmla="*/ 2147483647 w 92"/>
                <a:gd name="T73" fmla="*/ 2147483647 h 40"/>
                <a:gd name="T74" fmla="*/ 2147483647 w 92"/>
                <a:gd name="T75" fmla="*/ 2147483647 h 40"/>
                <a:gd name="T76" fmla="*/ 0 w 92"/>
                <a:gd name="T77" fmla="*/ 2147483647 h 40"/>
                <a:gd name="T78" fmla="*/ 0 w 92"/>
                <a:gd name="T79" fmla="*/ 2147483647 h 40"/>
                <a:gd name="T80" fmla="*/ 2147483647 w 92"/>
                <a:gd name="T81" fmla="*/ 2147483647 h 40"/>
                <a:gd name="T82" fmla="*/ 2147483647 w 92"/>
                <a:gd name="T83" fmla="*/ 2147483647 h 40"/>
                <a:gd name="T84" fmla="*/ 2147483647 w 92"/>
                <a:gd name="T85" fmla="*/ 2147483647 h 40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92"/>
                <a:gd name="T130" fmla="*/ 0 h 40"/>
                <a:gd name="T131" fmla="*/ 92 w 92"/>
                <a:gd name="T132" fmla="*/ 40 h 40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92" h="40">
                  <a:moveTo>
                    <a:pt x="12" y="29"/>
                  </a:moveTo>
                  <a:lnTo>
                    <a:pt x="23" y="40"/>
                  </a:lnTo>
                  <a:lnTo>
                    <a:pt x="32" y="40"/>
                  </a:lnTo>
                  <a:lnTo>
                    <a:pt x="35" y="37"/>
                  </a:lnTo>
                  <a:lnTo>
                    <a:pt x="38" y="32"/>
                  </a:lnTo>
                  <a:lnTo>
                    <a:pt x="46" y="34"/>
                  </a:lnTo>
                  <a:lnTo>
                    <a:pt x="49" y="34"/>
                  </a:lnTo>
                  <a:lnTo>
                    <a:pt x="55" y="37"/>
                  </a:lnTo>
                  <a:lnTo>
                    <a:pt x="61" y="37"/>
                  </a:lnTo>
                  <a:lnTo>
                    <a:pt x="61" y="34"/>
                  </a:lnTo>
                  <a:lnTo>
                    <a:pt x="69" y="40"/>
                  </a:lnTo>
                  <a:lnTo>
                    <a:pt x="72" y="34"/>
                  </a:lnTo>
                  <a:lnTo>
                    <a:pt x="78" y="34"/>
                  </a:lnTo>
                  <a:lnTo>
                    <a:pt x="86" y="26"/>
                  </a:lnTo>
                  <a:lnTo>
                    <a:pt x="92" y="23"/>
                  </a:lnTo>
                  <a:lnTo>
                    <a:pt x="89" y="17"/>
                  </a:lnTo>
                  <a:lnTo>
                    <a:pt x="84" y="17"/>
                  </a:lnTo>
                  <a:lnTo>
                    <a:pt x="81" y="20"/>
                  </a:lnTo>
                  <a:lnTo>
                    <a:pt x="78" y="17"/>
                  </a:lnTo>
                  <a:lnTo>
                    <a:pt x="75" y="14"/>
                  </a:lnTo>
                  <a:lnTo>
                    <a:pt x="75" y="11"/>
                  </a:lnTo>
                  <a:lnTo>
                    <a:pt x="69" y="11"/>
                  </a:lnTo>
                  <a:lnTo>
                    <a:pt x="58" y="6"/>
                  </a:lnTo>
                  <a:lnTo>
                    <a:pt x="49" y="6"/>
                  </a:lnTo>
                  <a:lnTo>
                    <a:pt x="38" y="0"/>
                  </a:lnTo>
                  <a:lnTo>
                    <a:pt x="32" y="3"/>
                  </a:lnTo>
                  <a:lnTo>
                    <a:pt x="29" y="0"/>
                  </a:lnTo>
                  <a:lnTo>
                    <a:pt x="26" y="0"/>
                  </a:lnTo>
                  <a:lnTo>
                    <a:pt x="20" y="3"/>
                  </a:lnTo>
                  <a:lnTo>
                    <a:pt x="12" y="6"/>
                  </a:lnTo>
                  <a:lnTo>
                    <a:pt x="9" y="11"/>
                  </a:lnTo>
                  <a:lnTo>
                    <a:pt x="0" y="9"/>
                  </a:lnTo>
                  <a:lnTo>
                    <a:pt x="0" y="11"/>
                  </a:lnTo>
                  <a:lnTo>
                    <a:pt x="3" y="14"/>
                  </a:lnTo>
                  <a:lnTo>
                    <a:pt x="3" y="23"/>
                  </a:lnTo>
                  <a:lnTo>
                    <a:pt x="12" y="29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77" name="Freeform 216"/>
            <p:cNvSpPr>
              <a:spLocks noChangeAspect="1"/>
            </p:cNvSpPr>
            <p:nvPr/>
          </p:nvSpPr>
          <p:spPr bwMode="gray">
            <a:xfrm>
              <a:off x="7178016" y="3630550"/>
              <a:ext cx="493646" cy="504025"/>
            </a:xfrm>
            <a:custGeom>
              <a:avLst/>
              <a:gdLst>
                <a:gd name="T0" fmla="*/ 2147483647 w 192"/>
                <a:gd name="T1" fmla="*/ 2147483647 h 175"/>
                <a:gd name="T2" fmla="*/ 2147483647 w 192"/>
                <a:gd name="T3" fmla="*/ 2147483647 h 175"/>
                <a:gd name="T4" fmla="*/ 2147483647 w 192"/>
                <a:gd name="T5" fmla="*/ 2147483647 h 175"/>
                <a:gd name="T6" fmla="*/ 2147483647 w 192"/>
                <a:gd name="T7" fmla="*/ 2147483647 h 175"/>
                <a:gd name="T8" fmla="*/ 2147483647 w 192"/>
                <a:gd name="T9" fmla="*/ 2147483647 h 175"/>
                <a:gd name="T10" fmla="*/ 2147483647 w 192"/>
                <a:gd name="T11" fmla="*/ 2147483647 h 175"/>
                <a:gd name="T12" fmla="*/ 2147483647 w 192"/>
                <a:gd name="T13" fmla="*/ 2147483647 h 175"/>
                <a:gd name="T14" fmla="*/ 2147483647 w 192"/>
                <a:gd name="T15" fmla="*/ 2147483647 h 175"/>
                <a:gd name="T16" fmla="*/ 2147483647 w 192"/>
                <a:gd name="T17" fmla="*/ 2147483647 h 175"/>
                <a:gd name="T18" fmla="*/ 2147483647 w 192"/>
                <a:gd name="T19" fmla="*/ 2147483647 h 175"/>
                <a:gd name="T20" fmla="*/ 2147483647 w 192"/>
                <a:gd name="T21" fmla="*/ 2147483647 h 175"/>
                <a:gd name="T22" fmla="*/ 2147483647 w 192"/>
                <a:gd name="T23" fmla="*/ 2147483647 h 175"/>
                <a:gd name="T24" fmla="*/ 2147483647 w 192"/>
                <a:gd name="T25" fmla="*/ 2147483647 h 175"/>
                <a:gd name="T26" fmla="*/ 2147483647 w 192"/>
                <a:gd name="T27" fmla="*/ 2147483647 h 175"/>
                <a:gd name="T28" fmla="*/ 2147483647 w 192"/>
                <a:gd name="T29" fmla="*/ 2147483647 h 175"/>
                <a:gd name="T30" fmla="*/ 2147483647 w 192"/>
                <a:gd name="T31" fmla="*/ 2147483647 h 175"/>
                <a:gd name="T32" fmla="*/ 2147483647 w 192"/>
                <a:gd name="T33" fmla="*/ 2147483647 h 175"/>
                <a:gd name="T34" fmla="*/ 2147483647 w 192"/>
                <a:gd name="T35" fmla="*/ 2147483647 h 175"/>
                <a:gd name="T36" fmla="*/ 2147483647 w 192"/>
                <a:gd name="T37" fmla="*/ 2147483647 h 175"/>
                <a:gd name="T38" fmla="*/ 2147483647 w 192"/>
                <a:gd name="T39" fmla="*/ 2147483647 h 175"/>
                <a:gd name="T40" fmla="*/ 2147483647 w 192"/>
                <a:gd name="T41" fmla="*/ 2147483647 h 175"/>
                <a:gd name="T42" fmla="*/ 2147483647 w 192"/>
                <a:gd name="T43" fmla="*/ 2147483647 h 175"/>
                <a:gd name="T44" fmla="*/ 2147483647 w 192"/>
                <a:gd name="T45" fmla="*/ 2147483647 h 175"/>
                <a:gd name="T46" fmla="*/ 2147483647 w 192"/>
                <a:gd name="T47" fmla="*/ 2147483647 h 175"/>
                <a:gd name="T48" fmla="*/ 2147483647 w 192"/>
                <a:gd name="T49" fmla="*/ 2147483647 h 175"/>
                <a:gd name="T50" fmla="*/ 2147483647 w 192"/>
                <a:gd name="T51" fmla="*/ 2147483647 h 175"/>
                <a:gd name="T52" fmla="*/ 2147483647 w 192"/>
                <a:gd name="T53" fmla="*/ 2147483647 h 175"/>
                <a:gd name="T54" fmla="*/ 2147483647 w 192"/>
                <a:gd name="T55" fmla="*/ 2147483647 h 175"/>
                <a:gd name="T56" fmla="*/ 2147483647 w 192"/>
                <a:gd name="T57" fmla="*/ 2147483647 h 175"/>
                <a:gd name="T58" fmla="*/ 2147483647 w 192"/>
                <a:gd name="T59" fmla="*/ 2147483647 h 175"/>
                <a:gd name="T60" fmla="*/ 2147483647 w 192"/>
                <a:gd name="T61" fmla="*/ 2147483647 h 175"/>
                <a:gd name="T62" fmla="*/ 2147483647 w 192"/>
                <a:gd name="T63" fmla="*/ 2147483647 h 175"/>
                <a:gd name="T64" fmla="*/ 2147483647 w 192"/>
                <a:gd name="T65" fmla="*/ 2147483647 h 175"/>
                <a:gd name="T66" fmla="*/ 2147483647 w 192"/>
                <a:gd name="T67" fmla="*/ 2147483647 h 175"/>
                <a:gd name="T68" fmla="*/ 2147483647 w 192"/>
                <a:gd name="T69" fmla="*/ 2147483647 h 175"/>
                <a:gd name="T70" fmla="*/ 2147483647 w 192"/>
                <a:gd name="T71" fmla="*/ 2147483647 h 175"/>
                <a:gd name="T72" fmla="*/ 2147483647 w 192"/>
                <a:gd name="T73" fmla="*/ 2147483647 h 175"/>
                <a:gd name="T74" fmla="*/ 2147483647 w 192"/>
                <a:gd name="T75" fmla="*/ 2147483647 h 175"/>
                <a:gd name="T76" fmla="*/ 2147483647 w 192"/>
                <a:gd name="T77" fmla="*/ 2147483647 h 175"/>
                <a:gd name="T78" fmla="*/ 2147483647 w 192"/>
                <a:gd name="T79" fmla="*/ 2147483647 h 175"/>
                <a:gd name="T80" fmla="*/ 2147483647 w 192"/>
                <a:gd name="T81" fmla="*/ 2147483647 h 175"/>
                <a:gd name="T82" fmla="*/ 2147483647 w 192"/>
                <a:gd name="T83" fmla="*/ 2147483647 h 175"/>
                <a:gd name="T84" fmla="*/ 2147483647 w 192"/>
                <a:gd name="T85" fmla="*/ 2147483647 h 175"/>
                <a:gd name="T86" fmla="*/ 2147483647 w 192"/>
                <a:gd name="T87" fmla="*/ 2147483647 h 175"/>
                <a:gd name="T88" fmla="*/ 2147483647 w 192"/>
                <a:gd name="T89" fmla="*/ 2147483647 h 175"/>
                <a:gd name="T90" fmla="*/ 2147483647 w 192"/>
                <a:gd name="T91" fmla="*/ 2147483647 h 175"/>
                <a:gd name="T92" fmla="*/ 2147483647 w 192"/>
                <a:gd name="T93" fmla="*/ 2147483647 h 175"/>
                <a:gd name="T94" fmla="*/ 2147483647 w 192"/>
                <a:gd name="T95" fmla="*/ 2147483647 h 175"/>
                <a:gd name="T96" fmla="*/ 2147483647 w 192"/>
                <a:gd name="T97" fmla="*/ 2147483647 h 175"/>
                <a:gd name="T98" fmla="*/ 2147483647 w 192"/>
                <a:gd name="T99" fmla="*/ 2147483647 h 175"/>
                <a:gd name="T100" fmla="*/ 2147483647 w 192"/>
                <a:gd name="T101" fmla="*/ 2147483647 h 175"/>
                <a:gd name="T102" fmla="*/ 2147483647 w 192"/>
                <a:gd name="T103" fmla="*/ 2147483647 h 175"/>
                <a:gd name="T104" fmla="*/ 2147483647 w 192"/>
                <a:gd name="T105" fmla="*/ 2147483647 h 175"/>
                <a:gd name="T106" fmla="*/ 2147483647 w 192"/>
                <a:gd name="T107" fmla="*/ 2147483647 h 175"/>
                <a:gd name="T108" fmla="*/ 2147483647 w 192"/>
                <a:gd name="T109" fmla="*/ 2147483647 h 175"/>
                <a:gd name="T110" fmla="*/ 0 w 192"/>
                <a:gd name="T111" fmla="*/ 2147483647 h 175"/>
                <a:gd name="T112" fmla="*/ 2147483647 w 192"/>
                <a:gd name="T113" fmla="*/ 2147483647 h 175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92"/>
                <a:gd name="T172" fmla="*/ 0 h 175"/>
                <a:gd name="T173" fmla="*/ 192 w 192"/>
                <a:gd name="T174" fmla="*/ 175 h 175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92" h="175">
                  <a:moveTo>
                    <a:pt x="14" y="60"/>
                  </a:moveTo>
                  <a:lnTo>
                    <a:pt x="14" y="63"/>
                  </a:lnTo>
                  <a:lnTo>
                    <a:pt x="14" y="60"/>
                  </a:lnTo>
                  <a:lnTo>
                    <a:pt x="20" y="60"/>
                  </a:lnTo>
                  <a:lnTo>
                    <a:pt x="26" y="51"/>
                  </a:lnTo>
                  <a:lnTo>
                    <a:pt x="32" y="49"/>
                  </a:lnTo>
                  <a:lnTo>
                    <a:pt x="40" y="54"/>
                  </a:lnTo>
                  <a:lnTo>
                    <a:pt x="43" y="57"/>
                  </a:lnTo>
                  <a:lnTo>
                    <a:pt x="46" y="57"/>
                  </a:lnTo>
                  <a:lnTo>
                    <a:pt x="49" y="57"/>
                  </a:lnTo>
                  <a:lnTo>
                    <a:pt x="52" y="60"/>
                  </a:lnTo>
                  <a:lnTo>
                    <a:pt x="58" y="72"/>
                  </a:lnTo>
                  <a:lnTo>
                    <a:pt x="58" y="77"/>
                  </a:lnTo>
                  <a:lnTo>
                    <a:pt x="58" y="80"/>
                  </a:lnTo>
                  <a:lnTo>
                    <a:pt x="66" y="83"/>
                  </a:lnTo>
                  <a:lnTo>
                    <a:pt x="69" y="92"/>
                  </a:lnTo>
                  <a:lnTo>
                    <a:pt x="75" y="95"/>
                  </a:lnTo>
                  <a:lnTo>
                    <a:pt x="86" y="100"/>
                  </a:lnTo>
                  <a:lnTo>
                    <a:pt x="95" y="109"/>
                  </a:lnTo>
                  <a:lnTo>
                    <a:pt x="98" y="109"/>
                  </a:lnTo>
                  <a:lnTo>
                    <a:pt x="101" y="109"/>
                  </a:lnTo>
                  <a:lnTo>
                    <a:pt x="103" y="112"/>
                  </a:lnTo>
                  <a:lnTo>
                    <a:pt x="106" y="115"/>
                  </a:lnTo>
                  <a:lnTo>
                    <a:pt x="112" y="117"/>
                  </a:lnTo>
                  <a:lnTo>
                    <a:pt x="118" y="120"/>
                  </a:lnTo>
                  <a:lnTo>
                    <a:pt x="121" y="123"/>
                  </a:lnTo>
                  <a:lnTo>
                    <a:pt x="121" y="126"/>
                  </a:lnTo>
                  <a:lnTo>
                    <a:pt x="124" y="123"/>
                  </a:lnTo>
                  <a:lnTo>
                    <a:pt x="126" y="123"/>
                  </a:lnTo>
                  <a:lnTo>
                    <a:pt x="126" y="129"/>
                  </a:lnTo>
                  <a:lnTo>
                    <a:pt x="129" y="132"/>
                  </a:lnTo>
                  <a:lnTo>
                    <a:pt x="138" y="135"/>
                  </a:lnTo>
                  <a:lnTo>
                    <a:pt x="141" y="143"/>
                  </a:lnTo>
                  <a:lnTo>
                    <a:pt x="147" y="155"/>
                  </a:lnTo>
                  <a:lnTo>
                    <a:pt x="147" y="161"/>
                  </a:lnTo>
                  <a:lnTo>
                    <a:pt x="144" y="161"/>
                  </a:lnTo>
                  <a:lnTo>
                    <a:pt x="144" y="166"/>
                  </a:lnTo>
                  <a:lnTo>
                    <a:pt x="138" y="172"/>
                  </a:lnTo>
                  <a:lnTo>
                    <a:pt x="144" y="175"/>
                  </a:lnTo>
                  <a:lnTo>
                    <a:pt x="152" y="169"/>
                  </a:lnTo>
                  <a:lnTo>
                    <a:pt x="152" y="161"/>
                  </a:lnTo>
                  <a:lnTo>
                    <a:pt x="158" y="158"/>
                  </a:lnTo>
                  <a:lnTo>
                    <a:pt x="164" y="158"/>
                  </a:lnTo>
                  <a:lnTo>
                    <a:pt x="164" y="146"/>
                  </a:lnTo>
                  <a:lnTo>
                    <a:pt x="155" y="143"/>
                  </a:lnTo>
                  <a:lnTo>
                    <a:pt x="152" y="140"/>
                  </a:lnTo>
                  <a:lnTo>
                    <a:pt x="155" y="132"/>
                  </a:lnTo>
                  <a:lnTo>
                    <a:pt x="161" y="126"/>
                  </a:lnTo>
                  <a:lnTo>
                    <a:pt x="161" y="123"/>
                  </a:lnTo>
                  <a:lnTo>
                    <a:pt x="164" y="126"/>
                  </a:lnTo>
                  <a:lnTo>
                    <a:pt x="164" y="129"/>
                  </a:lnTo>
                  <a:lnTo>
                    <a:pt x="167" y="132"/>
                  </a:lnTo>
                  <a:lnTo>
                    <a:pt x="170" y="129"/>
                  </a:lnTo>
                  <a:lnTo>
                    <a:pt x="172" y="129"/>
                  </a:lnTo>
                  <a:lnTo>
                    <a:pt x="172" y="132"/>
                  </a:lnTo>
                  <a:lnTo>
                    <a:pt x="178" y="138"/>
                  </a:lnTo>
                  <a:lnTo>
                    <a:pt x="184" y="135"/>
                  </a:lnTo>
                  <a:lnTo>
                    <a:pt x="178" y="126"/>
                  </a:lnTo>
                  <a:lnTo>
                    <a:pt x="172" y="120"/>
                  </a:lnTo>
                  <a:lnTo>
                    <a:pt x="161" y="115"/>
                  </a:lnTo>
                  <a:lnTo>
                    <a:pt x="149" y="109"/>
                  </a:lnTo>
                  <a:lnTo>
                    <a:pt x="141" y="106"/>
                  </a:lnTo>
                  <a:lnTo>
                    <a:pt x="147" y="100"/>
                  </a:lnTo>
                  <a:lnTo>
                    <a:pt x="141" y="97"/>
                  </a:lnTo>
                  <a:lnTo>
                    <a:pt x="135" y="97"/>
                  </a:lnTo>
                  <a:lnTo>
                    <a:pt x="126" y="97"/>
                  </a:lnTo>
                  <a:lnTo>
                    <a:pt x="118" y="89"/>
                  </a:lnTo>
                  <a:lnTo>
                    <a:pt x="112" y="83"/>
                  </a:lnTo>
                  <a:lnTo>
                    <a:pt x="109" y="74"/>
                  </a:lnTo>
                  <a:lnTo>
                    <a:pt x="106" y="66"/>
                  </a:lnTo>
                  <a:lnTo>
                    <a:pt x="92" y="57"/>
                  </a:lnTo>
                  <a:lnTo>
                    <a:pt x="86" y="51"/>
                  </a:lnTo>
                  <a:lnTo>
                    <a:pt x="83" y="46"/>
                  </a:lnTo>
                  <a:lnTo>
                    <a:pt x="86" y="43"/>
                  </a:lnTo>
                  <a:lnTo>
                    <a:pt x="89" y="40"/>
                  </a:lnTo>
                  <a:lnTo>
                    <a:pt x="86" y="37"/>
                  </a:lnTo>
                  <a:lnTo>
                    <a:pt x="86" y="34"/>
                  </a:lnTo>
                  <a:lnTo>
                    <a:pt x="89" y="28"/>
                  </a:lnTo>
                  <a:lnTo>
                    <a:pt x="98" y="26"/>
                  </a:lnTo>
                  <a:lnTo>
                    <a:pt x="101" y="26"/>
                  </a:lnTo>
                  <a:lnTo>
                    <a:pt x="101" y="31"/>
                  </a:lnTo>
                  <a:lnTo>
                    <a:pt x="106" y="34"/>
                  </a:lnTo>
                  <a:lnTo>
                    <a:pt x="106" y="40"/>
                  </a:lnTo>
                  <a:lnTo>
                    <a:pt x="109" y="43"/>
                  </a:lnTo>
                  <a:lnTo>
                    <a:pt x="115" y="37"/>
                  </a:lnTo>
                  <a:lnTo>
                    <a:pt x="115" y="40"/>
                  </a:lnTo>
                  <a:lnTo>
                    <a:pt x="112" y="43"/>
                  </a:lnTo>
                  <a:lnTo>
                    <a:pt x="118" y="46"/>
                  </a:lnTo>
                  <a:lnTo>
                    <a:pt x="121" y="43"/>
                  </a:lnTo>
                  <a:lnTo>
                    <a:pt x="118" y="37"/>
                  </a:lnTo>
                  <a:lnTo>
                    <a:pt x="121" y="34"/>
                  </a:lnTo>
                  <a:lnTo>
                    <a:pt x="124" y="37"/>
                  </a:lnTo>
                  <a:lnTo>
                    <a:pt x="124" y="43"/>
                  </a:lnTo>
                  <a:lnTo>
                    <a:pt x="126" y="49"/>
                  </a:lnTo>
                  <a:lnTo>
                    <a:pt x="132" y="51"/>
                  </a:lnTo>
                  <a:lnTo>
                    <a:pt x="129" y="51"/>
                  </a:lnTo>
                  <a:lnTo>
                    <a:pt x="126" y="51"/>
                  </a:lnTo>
                  <a:lnTo>
                    <a:pt x="135" y="60"/>
                  </a:lnTo>
                  <a:lnTo>
                    <a:pt x="144" y="66"/>
                  </a:lnTo>
                  <a:lnTo>
                    <a:pt x="147" y="66"/>
                  </a:lnTo>
                  <a:lnTo>
                    <a:pt x="152" y="66"/>
                  </a:lnTo>
                  <a:lnTo>
                    <a:pt x="149" y="57"/>
                  </a:lnTo>
                  <a:lnTo>
                    <a:pt x="144" y="54"/>
                  </a:lnTo>
                  <a:lnTo>
                    <a:pt x="141" y="46"/>
                  </a:lnTo>
                  <a:lnTo>
                    <a:pt x="135" y="43"/>
                  </a:lnTo>
                  <a:lnTo>
                    <a:pt x="141" y="34"/>
                  </a:lnTo>
                  <a:lnTo>
                    <a:pt x="147" y="37"/>
                  </a:lnTo>
                  <a:lnTo>
                    <a:pt x="152" y="34"/>
                  </a:lnTo>
                  <a:lnTo>
                    <a:pt x="155" y="31"/>
                  </a:lnTo>
                  <a:lnTo>
                    <a:pt x="161" y="34"/>
                  </a:lnTo>
                  <a:lnTo>
                    <a:pt x="167" y="34"/>
                  </a:lnTo>
                  <a:lnTo>
                    <a:pt x="172" y="37"/>
                  </a:lnTo>
                  <a:lnTo>
                    <a:pt x="178" y="37"/>
                  </a:lnTo>
                  <a:lnTo>
                    <a:pt x="184" y="37"/>
                  </a:lnTo>
                  <a:lnTo>
                    <a:pt x="190" y="40"/>
                  </a:lnTo>
                  <a:lnTo>
                    <a:pt x="192" y="40"/>
                  </a:lnTo>
                  <a:lnTo>
                    <a:pt x="192" y="34"/>
                  </a:lnTo>
                  <a:lnTo>
                    <a:pt x="187" y="31"/>
                  </a:lnTo>
                  <a:lnTo>
                    <a:pt x="184" y="28"/>
                  </a:lnTo>
                  <a:lnTo>
                    <a:pt x="184" y="23"/>
                  </a:lnTo>
                  <a:lnTo>
                    <a:pt x="181" y="26"/>
                  </a:lnTo>
                  <a:lnTo>
                    <a:pt x="175" y="26"/>
                  </a:lnTo>
                  <a:lnTo>
                    <a:pt x="167" y="26"/>
                  </a:lnTo>
                  <a:lnTo>
                    <a:pt x="161" y="20"/>
                  </a:lnTo>
                  <a:lnTo>
                    <a:pt x="155" y="17"/>
                  </a:lnTo>
                  <a:lnTo>
                    <a:pt x="147" y="11"/>
                  </a:lnTo>
                  <a:lnTo>
                    <a:pt x="138" y="17"/>
                  </a:lnTo>
                  <a:lnTo>
                    <a:pt x="138" y="23"/>
                  </a:lnTo>
                  <a:lnTo>
                    <a:pt x="132" y="26"/>
                  </a:lnTo>
                  <a:lnTo>
                    <a:pt x="132" y="31"/>
                  </a:lnTo>
                  <a:lnTo>
                    <a:pt x="118" y="31"/>
                  </a:lnTo>
                  <a:lnTo>
                    <a:pt x="115" y="28"/>
                  </a:lnTo>
                  <a:lnTo>
                    <a:pt x="106" y="28"/>
                  </a:lnTo>
                  <a:lnTo>
                    <a:pt x="101" y="17"/>
                  </a:lnTo>
                  <a:lnTo>
                    <a:pt x="95" y="14"/>
                  </a:lnTo>
                  <a:lnTo>
                    <a:pt x="89" y="11"/>
                  </a:lnTo>
                  <a:lnTo>
                    <a:pt x="86" y="11"/>
                  </a:lnTo>
                  <a:lnTo>
                    <a:pt x="86" y="8"/>
                  </a:lnTo>
                  <a:lnTo>
                    <a:pt x="86" y="6"/>
                  </a:lnTo>
                  <a:lnTo>
                    <a:pt x="83" y="0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58" y="14"/>
                  </a:lnTo>
                  <a:lnTo>
                    <a:pt x="55" y="11"/>
                  </a:lnTo>
                  <a:lnTo>
                    <a:pt x="52" y="11"/>
                  </a:lnTo>
                  <a:lnTo>
                    <a:pt x="52" y="20"/>
                  </a:lnTo>
                  <a:lnTo>
                    <a:pt x="49" y="17"/>
                  </a:lnTo>
                  <a:lnTo>
                    <a:pt x="49" y="14"/>
                  </a:lnTo>
                  <a:lnTo>
                    <a:pt x="43" y="20"/>
                  </a:lnTo>
                  <a:lnTo>
                    <a:pt x="43" y="17"/>
                  </a:lnTo>
                  <a:lnTo>
                    <a:pt x="40" y="14"/>
                  </a:lnTo>
                  <a:lnTo>
                    <a:pt x="35" y="26"/>
                  </a:lnTo>
                  <a:lnTo>
                    <a:pt x="26" y="14"/>
                  </a:lnTo>
                  <a:lnTo>
                    <a:pt x="20" y="14"/>
                  </a:lnTo>
                  <a:lnTo>
                    <a:pt x="20" y="26"/>
                  </a:lnTo>
                  <a:lnTo>
                    <a:pt x="12" y="20"/>
                  </a:lnTo>
                  <a:lnTo>
                    <a:pt x="6" y="23"/>
                  </a:lnTo>
                  <a:lnTo>
                    <a:pt x="3" y="26"/>
                  </a:lnTo>
                  <a:lnTo>
                    <a:pt x="9" y="34"/>
                  </a:lnTo>
                  <a:lnTo>
                    <a:pt x="6" y="34"/>
                  </a:lnTo>
                  <a:lnTo>
                    <a:pt x="3" y="37"/>
                  </a:lnTo>
                  <a:lnTo>
                    <a:pt x="0" y="37"/>
                  </a:lnTo>
                  <a:lnTo>
                    <a:pt x="6" y="43"/>
                  </a:lnTo>
                  <a:lnTo>
                    <a:pt x="3" y="51"/>
                  </a:lnTo>
                  <a:lnTo>
                    <a:pt x="6" y="51"/>
                  </a:lnTo>
                  <a:lnTo>
                    <a:pt x="14" y="54"/>
                  </a:lnTo>
                  <a:lnTo>
                    <a:pt x="14" y="6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78" name="Freeform 218"/>
            <p:cNvSpPr>
              <a:spLocks noChangeAspect="1"/>
            </p:cNvSpPr>
            <p:nvPr/>
          </p:nvSpPr>
          <p:spPr bwMode="gray">
            <a:xfrm>
              <a:off x="7157365" y="3207036"/>
              <a:ext cx="338274" cy="397044"/>
            </a:xfrm>
            <a:custGeom>
              <a:avLst/>
              <a:gdLst>
                <a:gd name="T0" fmla="*/ 2147483647 w 132"/>
                <a:gd name="T1" fmla="*/ 2147483647 h 138"/>
                <a:gd name="T2" fmla="*/ 2147483647 w 132"/>
                <a:gd name="T3" fmla="*/ 2147483647 h 138"/>
                <a:gd name="T4" fmla="*/ 2147483647 w 132"/>
                <a:gd name="T5" fmla="*/ 2147483647 h 138"/>
                <a:gd name="T6" fmla="*/ 2147483647 w 132"/>
                <a:gd name="T7" fmla="*/ 2147483647 h 138"/>
                <a:gd name="T8" fmla="*/ 2147483647 w 132"/>
                <a:gd name="T9" fmla="*/ 2147483647 h 138"/>
                <a:gd name="T10" fmla="*/ 2147483647 w 132"/>
                <a:gd name="T11" fmla="*/ 2147483647 h 138"/>
                <a:gd name="T12" fmla="*/ 2147483647 w 132"/>
                <a:gd name="T13" fmla="*/ 2147483647 h 138"/>
                <a:gd name="T14" fmla="*/ 2147483647 w 132"/>
                <a:gd name="T15" fmla="*/ 2147483647 h 138"/>
                <a:gd name="T16" fmla="*/ 2147483647 w 132"/>
                <a:gd name="T17" fmla="*/ 2147483647 h 138"/>
                <a:gd name="T18" fmla="*/ 2147483647 w 132"/>
                <a:gd name="T19" fmla="*/ 2147483647 h 138"/>
                <a:gd name="T20" fmla="*/ 2147483647 w 132"/>
                <a:gd name="T21" fmla="*/ 2147483647 h 138"/>
                <a:gd name="T22" fmla="*/ 2147483647 w 132"/>
                <a:gd name="T23" fmla="*/ 2147483647 h 138"/>
                <a:gd name="T24" fmla="*/ 2147483647 w 132"/>
                <a:gd name="T25" fmla="*/ 2147483647 h 138"/>
                <a:gd name="T26" fmla="*/ 2147483647 w 132"/>
                <a:gd name="T27" fmla="*/ 2147483647 h 138"/>
                <a:gd name="T28" fmla="*/ 2147483647 w 132"/>
                <a:gd name="T29" fmla="*/ 2147483647 h 138"/>
                <a:gd name="T30" fmla="*/ 2147483647 w 132"/>
                <a:gd name="T31" fmla="*/ 2147483647 h 138"/>
                <a:gd name="T32" fmla="*/ 2147483647 w 132"/>
                <a:gd name="T33" fmla="*/ 2147483647 h 138"/>
                <a:gd name="T34" fmla="*/ 2147483647 w 132"/>
                <a:gd name="T35" fmla="*/ 2147483647 h 138"/>
                <a:gd name="T36" fmla="*/ 2147483647 w 132"/>
                <a:gd name="T37" fmla="*/ 2147483647 h 138"/>
                <a:gd name="T38" fmla="*/ 2147483647 w 132"/>
                <a:gd name="T39" fmla="*/ 2147483647 h 138"/>
                <a:gd name="T40" fmla="*/ 2147483647 w 132"/>
                <a:gd name="T41" fmla="*/ 2147483647 h 138"/>
                <a:gd name="T42" fmla="*/ 2147483647 w 132"/>
                <a:gd name="T43" fmla="*/ 2147483647 h 138"/>
                <a:gd name="T44" fmla="*/ 2147483647 w 132"/>
                <a:gd name="T45" fmla="*/ 2147483647 h 138"/>
                <a:gd name="T46" fmla="*/ 2147483647 w 132"/>
                <a:gd name="T47" fmla="*/ 2147483647 h 138"/>
                <a:gd name="T48" fmla="*/ 2147483647 w 132"/>
                <a:gd name="T49" fmla="*/ 2147483647 h 138"/>
                <a:gd name="T50" fmla="*/ 2147483647 w 132"/>
                <a:gd name="T51" fmla="*/ 2147483647 h 138"/>
                <a:gd name="T52" fmla="*/ 2147483647 w 132"/>
                <a:gd name="T53" fmla="*/ 2147483647 h 138"/>
                <a:gd name="T54" fmla="*/ 2147483647 w 132"/>
                <a:gd name="T55" fmla="*/ 2147483647 h 138"/>
                <a:gd name="T56" fmla="*/ 2147483647 w 132"/>
                <a:gd name="T57" fmla="*/ 2147483647 h 138"/>
                <a:gd name="T58" fmla="*/ 2147483647 w 132"/>
                <a:gd name="T59" fmla="*/ 2147483647 h 138"/>
                <a:gd name="T60" fmla="*/ 2147483647 w 132"/>
                <a:gd name="T61" fmla="*/ 2147483647 h 138"/>
                <a:gd name="T62" fmla="*/ 2147483647 w 132"/>
                <a:gd name="T63" fmla="*/ 2147483647 h 138"/>
                <a:gd name="T64" fmla="*/ 2147483647 w 132"/>
                <a:gd name="T65" fmla="*/ 2147483647 h 138"/>
                <a:gd name="T66" fmla="*/ 2147483647 w 132"/>
                <a:gd name="T67" fmla="*/ 0 h 138"/>
                <a:gd name="T68" fmla="*/ 2147483647 w 132"/>
                <a:gd name="T69" fmla="*/ 2147483647 h 138"/>
                <a:gd name="T70" fmla="*/ 2147483647 w 132"/>
                <a:gd name="T71" fmla="*/ 2147483647 h 138"/>
                <a:gd name="T72" fmla="*/ 2147483647 w 132"/>
                <a:gd name="T73" fmla="*/ 2147483647 h 138"/>
                <a:gd name="T74" fmla="*/ 2147483647 w 132"/>
                <a:gd name="T75" fmla="*/ 2147483647 h 138"/>
                <a:gd name="T76" fmla="*/ 2147483647 w 132"/>
                <a:gd name="T77" fmla="*/ 2147483647 h 138"/>
                <a:gd name="T78" fmla="*/ 2147483647 w 132"/>
                <a:gd name="T79" fmla="*/ 2147483647 h 138"/>
                <a:gd name="T80" fmla="*/ 0 w 132"/>
                <a:gd name="T81" fmla="*/ 2147483647 h 138"/>
                <a:gd name="T82" fmla="*/ 0 w 132"/>
                <a:gd name="T83" fmla="*/ 2147483647 h 138"/>
                <a:gd name="T84" fmla="*/ 2147483647 w 132"/>
                <a:gd name="T85" fmla="*/ 2147483647 h 138"/>
                <a:gd name="T86" fmla="*/ 2147483647 w 132"/>
                <a:gd name="T87" fmla="*/ 2147483647 h 138"/>
                <a:gd name="T88" fmla="*/ 2147483647 w 132"/>
                <a:gd name="T89" fmla="*/ 2147483647 h 13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32"/>
                <a:gd name="T136" fmla="*/ 0 h 138"/>
                <a:gd name="T137" fmla="*/ 132 w 132"/>
                <a:gd name="T138" fmla="*/ 138 h 138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32" h="138">
                  <a:moveTo>
                    <a:pt x="5" y="101"/>
                  </a:moveTo>
                  <a:lnTo>
                    <a:pt x="8" y="104"/>
                  </a:lnTo>
                  <a:lnTo>
                    <a:pt x="14" y="104"/>
                  </a:lnTo>
                  <a:lnTo>
                    <a:pt x="17" y="107"/>
                  </a:lnTo>
                  <a:lnTo>
                    <a:pt x="20" y="104"/>
                  </a:lnTo>
                  <a:lnTo>
                    <a:pt x="22" y="104"/>
                  </a:lnTo>
                  <a:lnTo>
                    <a:pt x="28" y="107"/>
                  </a:lnTo>
                  <a:lnTo>
                    <a:pt x="34" y="109"/>
                  </a:lnTo>
                  <a:lnTo>
                    <a:pt x="25" y="118"/>
                  </a:lnTo>
                  <a:lnTo>
                    <a:pt x="22" y="135"/>
                  </a:lnTo>
                  <a:lnTo>
                    <a:pt x="31" y="135"/>
                  </a:lnTo>
                  <a:lnTo>
                    <a:pt x="37" y="130"/>
                  </a:lnTo>
                  <a:lnTo>
                    <a:pt x="43" y="132"/>
                  </a:lnTo>
                  <a:lnTo>
                    <a:pt x="51" y="135"/>
                  </a:lnTo>
                  <a:lnTo>
                    <a:pt x="57" y="135"/>
                  </a:lnTo>
                  <a:lnTo>
                    <a:pt x="63" y="138"/>
                  </a:lnTo>
                  <a:lnTo>
                    <a:pt x="66" y="135"/>
                  </a:lnTo>
                  <a:lnTo>
                    <a:pt x="74" y="135"/>
                  </a:lnTo>
                  <a:lnTo>
                    <a:pt x="74" y="138"/>
                  </a:lnTo>
                  <a:lnTo>
                    <a:pt x="80" y="138"/>
                  </a:lnTo>
                  <a:lnTo>
                    <a:pt x="91" y="132"/>
                  </a:lnTo>
                  <a:lnTo>
                    <a:pt x="100" y="132"/>
                  </a:lnTo>
                  <a:lnTo>
                    <a:pt x="100" y="135"/>
                  </a:lnTo>
                  <a:lnTo>
                    <a:pt x="103" y="135"/>
                  </a:lnTo>
                  <a:lnTo>
                    <a:pt x="100" y="127"/>
                  </a:lnTo>
                  <a:lnTo>
                    <a:pt x="100" y="121"/>
                  </a:lnTo>
                  <a:lnTo>
                    <a:pt x="106" y="121"/>
                  </a:lnTo>
                  <a:lnTo>
                    <a:pt x="109" y="115"/>
                  </a:lnTo>
                  <a:lnTo>
                    <a:pt x="111" y="115"/>
                  </a:lnTo>
                  <a:lnTo>
                    <a:pt x="106" y="107"/>
                  </a:lnTo>
                  <a:lnTo>
                    <a:pt x="94" y="98"/>
                  </a:lnTo>
                  <a:lnTo>
                    <a:pt x="94" y="89"/>
                  </a:lnTo>
                  <a:lnTo>
                    <a:pt x="86" y="86"/>
                  </a:lnTo>
                  <a:lnTo>
                    <a:pt x="89" y="84"/>
                  </a:lnTo>
                  <a:lnTo>
                    <a:pt x="91" y="84"/>
                  </a:lnTo>
                  <a:lnTo>
                    <a:pt x="91" y="81"/>
                  </a:lnTo>
                  <a:lnTo>
                    <a:pt x="94" y="81"/>
                  </a:lnTo>
                  <a:lnTo>
                    <a:pt x="100" y="81"/>
                  </a:lnTo>
                  <a:lnTo>
                    <a:pt x="103" y="78"/>
                  </a:lnTo>
                  <a:lnTo>
                    <a:pt x="111" y="75"/>
                  </a:lnTo>
                  <a:lnTo>
                    <a:pt x="120" y="72"/>
                  </a:lnTo>
                  <a:lnTo>
                    <a:pt x="123" y="69"/>
                  </a:lnTo>
                  <a:lnTo>
                    <a:pt x="126" y="69"/>
                  </a:lnTo>
                  <a:lnTo>
                    <a:pt x="126" y="75"/>
                  </a:lnTo>
                  <a:lnTo>
                    <a:pt x="129" y="72"/>
                  </a:lnTo>
                  <a:lnTo>
                    <a:pt x="132" y="66"/>
                  </a:lnTo>
                  <a:lnTo>
                    <a:pt x="126" y="58"/>
                  </a:lnTo>
                  <a:lnTo>
                    <a:pt x="123" y="55"/>
                  </a:lnTo>
                  <a:lnTo>
                    <a:pt x="126" y="52"/>
                  </a:lnTo>
                  <a:lnTo>
                    <a:pt x="129" y="52"/>
                  </a:lnTo>
                  <a:lnTo>
                    <a:pt x="126" y="49"/>
                  </a:lnTo>
                  <a:lnTo>
                    <a:pt x="123" y="49"/>
                  </a:lnTo>
                  <a:lnTo>
                    <a:pt x="120" y="49"/>
                  </a:lnTo>
                  <a:lnTo>
                    <a:pt x="123" y="46"/>
                  </a:lnTo>
                  <a:lnTo>
                    <a:pt x="123" y="43"/>
                  </a:lnTo>
                  <a:lnTo>
                    <a:pt x="117" y="35"/>
                  </a:lnTo>
                  <a:lnTo>
                    <a:pt x="120" y="29"/>
                  </a:lnTo>
                  <a:lnTo>
                    <a:pt x="117" y="15"/>
                  </a:lnTo>
                  <a:lnTo>
                    <a:pt x="109" y="12"/>
                  </a:lnTo>
                  <a:lnTo>
                    <a:pt x="103" y="9"/>
                  </a:lnTo>
                  <a:lnTo>
                    <a:pt x="97" y="9"/>
                  </a:lnTo>
                  <a:lnTo>
                    <a:pt x="94" y="9"/>
                  </a:lnTo>
                  <a:lnTo>
                    <a:pt x="80" y="15"/>
                  </a:lnTo>
                  <a:lnTo>
                    <a:pt x="68" y="15"/>
                  </a:lnTo>
                  <a:lnTo>
                    <a:pt x="74" y="9"/>
                  </a:lnTo>
                  <a:lnTo>
                    <a:pt x="71" y="9"/>
                  </a:lnTo>
                  <a:lnTo>
                    <a:pt x="66" y="9"/>
                  </a:lnTo>
                  <a:lnTo>
                    <a:pt x="60" y="9"/>
                  </a:lnTo>
                  <a:lnTo>
                    <a:pt x="57" y="6"/>
                  </a:lnTo>
                  <a:lnTo>
                    <a:pt x="57" y="3"/>
                  </a:lnTo>
                  <a:lnTo>
                    <a:pt x="54" y="3"/>
                  </a:lnTo>
                  <a:lnTo>
                    <a:pt x="45" y="0"/>
                  </a:lnTo>
                  <a:lnTo>
                    <a:pt x="37" y="0"/>
                  </a:lnTo>
                  <a:lnTo>
                    <a:pt x="37" y="3"/>
                  </a:lnTo>
                  <a:lnTo>
                    <a:pt x="40" y="9"/>
                  </a:lnTo>
                  <a:lnTo>
                    <a:pt x="40" y="15"/>
                  </a:lnTo>
                  <a:lnTo>
                    <a:pt x="40" y="18"/>
                  </a:lnTo>
                  <a:lnTo>
                    <a:pt x="37" y="23"/>
                  </a:lnTo>
                  <a:lnTo>
                    <a:pt x="31" y="23"/>
                  </a:lnTo>
                  <a:lnTo>
                    <a:pt x="25" y="20"/>
                  </a:lnTo>
                  <a:lnTo>
                    <a:pt x="17" y="23"/>
                  </a:lnTo>
                  <a:lnTo>
                    <a:pt x="20" y="35"/>
                  </a:lnTo>
                  <a:lnTo>
                    <a:pt x="17" y="41"/>
                  </a:lnTo>
                  <a:lnTo>
                    <a:pt x="11" y="43"/>
                  </a:lnTo>
                  <a:lnTo>
                    <a:pt x="17" y="49"/>
                  </a:lnTo>
                  <a:lnTo>
                    <a:pt x="11" y="52"/>
                  </a:lnTo>
                  <a:lnTo>
                    <a:pt x="11" y="58"/>
                  </a:lnTo>
                  <a:lnTo>
                    <a:pt x="0" y="55"/>
                  </a:lnTo>
                  <a:lnTo>
                    <a:pt x="0" y="58"/>
                  </a:lnTo>
                  <a:lnTo>
                    <a:pt x="5" y="61"/>
                  </a:lnTo>
                  <a:lnTo>
                    <a:pt x="0" y="72"/>
                  </a:lnTo>
                  <a:lnTo>
                    <a:pt x="2" y="75"/>
                  </a:lnTo>
                  <a:lnTo>
                    <a:pt x="5" y="81"/>
                  </a:lnTo>
                  <a:lnTo>
                    <a:pt x="2" y="86"/>
                  </a:lnTo>
                  <a:lnTo>
                    <a:pt x="5" y="92"/>
                  </a:lnTo>
                  <a:lnTo>
                    <a:pt x="8" y="98"/>
                  </a:lnTo>
                  <a:lnTo>
                    <a:pt x="5" y="10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79" name="Freeform 223"/>
            <p:cNvSpPr>
              <a:spLocks noChangeAspect="1"/>
            </p:cNvSpPr>
            <p:nvPr/>
          </p:nvSpPr>
          <p:spPr bwMode="gray">
            <a:xfrm>
              <a:off x="7229150" y="3051528"/>
              <a:ext cx="112103" cy="146686"/>
            </a:xfrm>
            <a:custGeom>
              <a:avLst/>
              <a:gdLst>
                <a:gd name="T0" fmla="*/ 2147483647 w 43"/>
                <a:gd name="T1" fmla="*/ 2147483647 h 51"/>
                <a:gd name="T2" fmla="*/ 2147483647 w 43"/>
                <a:gd name="T3" fmla="*/ 2147483647 h 51"/>
                <a:gd name="T4" fmla="*/ 2147483647 w 43"/>
                <a:gd name="T5" fmla="*/ 2147483647 h 51"/>
                <a:gd name="T6" fmla="*/ 2147483647 w 43"/>
                <a:gd name="T7" fmla="*/ 2147483647 h 51"/>
                <a:gd name="T8" fmla="*/ 2147483647 w 43"/>
                <a:gd name="T9" fmla="*/ 2147483647 h 51"/>
                <a:gd name="T10" fmla="*/ 2147483647 w 43"/>
                <a:gd name="T11" fmla="*/ 2147483647 h 51"/>
                <a:gd name="T12" fmla="*/ 2147483647 w 43"/>
                <a:gd name="T13" fmla="*/ 2147483647 h 51"/>
                <a:gd name="T14" fmla="*/ 0 w 43"/>
                <a:gd name="T15" fmla="*/ 2147483647 h 51"/>
                <a:gd name="T16" fmla="*/ 0 w 43"/>
                <a:gd name="T17" fmla="*/ 2147483647 h 51"/>
                <a:gd name="T18" fmla="*/ 0 w 43"/>
                <a:gd name="T19" fmla="*/ 2147483647 h 51"/>
                <a:gd name="T20" fmla="*/ 2147483647 w 43"/>
                <a:gd name="T21" fmla="*/ 2147483647 h 51"/>
                <a:gd name="T22" fmla="*/ 2147483647 w 43"/>
                <a:gd name="T23" fmla="*/ 2147483647 h 51"/>
                <a:gd name="T24" fmla="*/ 2147483647 w 43"/>
                <a:gd name="T25" fmla="*/ 2147483647 h 51"/>
                <a:gd name="T26" fmla="*/ 2147483647 w 43"/>
                <a:gd name="T27" fmla="*/ 2147483647 h 51"/>
                <a:gd name="T28" fmla="*/ 2147483647 w 43"/>
                <a:gd name="T29" fmla="*/ 2147483647 h 51"/>
                <a:gd name="T30" fmla="*/ 2147483647 w 43"/>
                <a:gd name="T31" fmla="*/ 2147483647 h 51"/>
                <a:gd name="T32" fmla="*/ 2147483647 w 43"/>
                <a:gd name="T33" fmla="*/ 2147483647 h 51"/>
                <a:gd name="T34" fmla="*/ 2147483647 w 43"/>
                <a:gd name="T35" fmla="*/ 2147483647 h 51"/>
                <a:gd name="T36" fmla="*/ 2147483647 w 43"/>
                <a:gd name="T37" fmla="*/ 2147483647 h 51"/>
                <a:gd name="T38" fmla="*/ 2147483647 w 43"/>
                <a:gd name="T39" fmla="*/ 2147483647 h 51"/>
                <a:gd name="T40" fmla="*/ 2147483647 w 43"/>
                <a:gd name="T41" fmla="*/ 2147483647 h 51"/>
                <a:gd name="T42" fmla="*/ 2147483647 w 43"/>
                <a:gd name="T43" fmla="*/ 2147483647 h 51"/>
                <a:gd name="T44" fmla="*/ 2147483647 w 43"/>
                <a:gd name="T45" fmla="*/ 2147483647 h 51"/>
                <a:gd name="T46" fmla="*/ 2147483647 w 43"/>
                <a:gd name="T47" fmla="*/ 2147483647 h 51"/>
                <a:gd name="T48" fmla="*/ 2147483647 w 43"/>
                <a:gd name="T49" fmla="*/ 2147483647 h 51"/>
                <a:gd name="T50" fmla="*/ 2147483647 w 43"/>
                <a:gd name="T51" fmla="*/ 2147483647 h 51"/>
                <a:gd name="T52" fmla="*/ 2147483647 w 43"/>
                <a:gd name="T53" fmla="*/ 2147483647 h 51"/>
                <a:gd name="T54" fmla="*/ 2147483647 w 43"/>
                <a:gd name="T55" fmla="*/ 2147483647 h 51"/>
                <a:gd name="T56" fmla="*/ 2147483647 w 43"/>
                <a:gd name="T57" fmla="*/ 2147483647 h 51"/>
                <a:gd name="T58" fmla="*/ 2147483647 w 43"/>
                <a:gd name="T59" fmla="*/ 2147483647 h 51"/>
                <a:gd name="T60" fmla="*/ 2147483647 w 43"/>
                <a:gd name="T61" fmla="*/ 2147483647 h 51"/>
                <a:gd name="T62" fmla="*/ 2147483647 w 43"/>
                <a:gd name="T63" fmla="*/ 2147483647 h 51"/>
                <a:gd name="T64" fmla="*/ 2147483647 w 43"/>
                <a:gd name="T65" fmla="*/ 2147483647 h 51"/>
                <a:gd name="T66" fmla="*/ 2147483647 w 43"/>
                <a:gd name="T67" fmla="*/ 2147483647 h 51"/>
                <a:gd name="T68" fmla="*/ 2147483647 w 43"/>
                <a:gd name="T69" fmla="*/ 2147483647 h 51"/>
                <a:gd name="T70" fmla="*/ 2147483647 w 43"/>
                <a:gd name="T71" fmla="*/ 2147483647 h 51"/>
                <a:gd name="T72" fmla="*/ 2147483647 w 43"/>
                <a:gd name="T73" fmla="*/ 2147483647 h 51"/>
                <a:gd name="T74" fmla="*/ 2147483647 w 43"/>
                <a:gd name="T75" fmla="*/ 2147483647 h 51"/>
                <a:gd name="T76" fmla="*/ 2147483647 w 43"/>
                <a:gd name="T77" fmla="*/ 2147483647 h 51"/>
                <a:gd name="T78" fmla="*/ 2147483647 w 43"/>
                <a:gd name="T79" fmla="*/ 2147483647 h 51"/>
                <a:gd name="T80" fmla="*/ 2147483647 w 43"/>
                <a:gd name="T81" fmla="*/ 2147483647 h 51"/>
                <a:gd name="T82" fmla="*/ 2147483647 w 43"/>
                <a:gd name="T83" fmla="*/ 0 h 51"/>
                <a:gd name="T84" fmla="*/ 2147483647 w 43"/>
                <a:gd name="T85" fmla="*/ 2147483647 h 51"/>
                <a:gd name="T86" fmla="*/ 2147483647 w 43"/>
                <a:gd name="T87" fmla="*/ 2147483647 h 51"/>
                <a:gd name="T88" fmla="*/ 2147483647 w 43"/>
                <a:gd name="T89" fmla="*/ 2147483647 h 51"/>
                <a:gd name="T90" fmla="*/ 2147483647 w 43"/>
                <a:gd name="T91" fmla="*/ 2147483647 h 51"/>
                <a:gd name="T92" fmla="*/ 2147483647 w 43"/>
                <a:gd name="T93" fmla="*/ 2147483647 h 51"/>
                <a:gd name="T94" fmla="*/ 2147483647 w 43"/>
                <a:gd name="T95" fmla="*/ 2147483647 h 51"/>
                <a:gd name="T96" fmla="*/ 2147483647 w 43"/>
                <a:gd name="T97" fmla="*/ 2147483647 h 51"/>
                <a:gd name="T98" fmla="*/ 2147483647 w 43"/>
                <a:gd name="T99" fmla="*/ 2147483647 h 51"/>
                <a:gd name="T100" fmla="*/ 2147483647 w 43"/>
                <a:gd name="T101" fmla="*/ 2147483647 h 51"/>
                <a:gd name="T102" fmla="*/ 2147483647 w 43"/>
                <a:gd name="T103" fmla="*/ 2147483647 h 51"/>
                <a:gd name="T104" fmla="*/ 2147483647 w 43"/>
                <a:gd name="T105" fmla="*/ 2147483647 h 51"/>
                <a:gd name="T106" fmla="*/ 2147483647 w 43"/>
                <a:gd name="T107" fmla="*/ 2147483647 h 51"/>
                <a:gd name="T108" fmla="*/ 2147483647 w 43"/>
                <a:gd name="T109" fmla="*/ 2147483647 h 51"/>
                <a:gd name="T110" fmla="*/ 2147483647 w 43"/>
                <a:gd name="T111" fmla="*/ 2147483647 h 51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43"/>
                <a:gd name="T169" fmla="*/ 0 h 51"/>
                <a:gd name="T170" fmla="*/ 43 w 43"/>
                <a:gd name="T171" fmla="*/ 51 h 51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43" h="51">
                  <a:moveTo>
                    <a:pt x="17" y="11"/>
                  </a:moveTo>
                  <a:lnTo>
                    <a:pt x="17" y="11"/>
                  </a:lnTo>
                  <a:lnTo>
                    <a:pt x="15" y="11"/>
                  </a:lnTo>
                  <a:lnTo>
                    <a:pt x="12" y="14"/>
                  </a:lnTo>
                  <a:lnTo>
                    <a:pt x="3" y="23"/>
                  </a:lnTo>
                  <a:lnTo>
                    <a:pt x="0" y="26"/>
                  </a:lnTo>
                  <a:lnTo>
                    <a:pt x="0" y="31"/>
                  </a:lnTo>
                  <a:lnTo>
                    <a:pt x="3" y="37"/>
                  </a:lnTo>
                  <a:lnTo>
                    <a:pt x="3" y="40"/>
                  </a:lnTo>
                  <a:lnTo>
                    <a:pt x="6" y="43"/>
                  </a:lnTo>
                  <a:lnTo>
                    <a:pt x="9" y="46"/>
                  </a:lnTo>
                  <a:lnTo>
                    <a:pt x="6" y="51"/>
                  </a:lnTo>
                  <a:lnTo>
                    <a:pt x="9" y="51"/>
                  </a:lnTo>
                  <a:lnTo>
                    <a:pt x="17" y="51"/>
                  </a:lnTo>
                  <a:lnTo>
                    <a:pt x="26" y="51"/>
                  </a:lnTo>
                  <a:lnTo>
                    <a:pt x="23" y="49"/>
                  </a:lnTo>
                  <a:lnTo>
                    <a:pt x="23" y="46"/>
                  </a:lnTo>
                  <a:lnTo>
                    <a:pt x="23" y="43"/>
                  </a:lnTo>
                  <a:lnTo>
                    <a:pt x="26" y="37"/>
                  </a:lnTo>
                  <a:lnTo>
                    <a:pt x="35" y="31"/>
                  </a:lnTo>
                  <a:lnTo>
                    <a:pt x="38" y="29"/>
                  </a:lnTo>
                  <a:lnTo>
                    <a:pt x="43" y="23"/>
                  </a:lnTo>
                  <a:lnTo>
                    <a:pt x="38" y="23"/>
                  </a:lnTo>
                  <a:lnTo>
                    <a:pt x="35" y="20"/>
                  </a:lnTo>
                  <a:lnTo>
                    <a:pt x="35" y="17"/>
                  </a:lnTo>
                  <a:lnTo>
                    <a:pt x="38" y="14"/>
                  </a:lnTo>
                  <a:lnTo>
                    <a:pt x="38" y="11"/>
                  </a:lnTo>
                  <a:lnTo>
                    <a:pt x="38" y="0"/>
                  </a:lnTo>
                  <a:lnTo>
                    <a:pt x="29" y="3"/>
                  </a:lnTo>
                  <a:lnTo>
                    <a:pt x="29" y="6"/>
                  </a:lnTo>
                  <a:lnTo>
                    <a:pt x="26" y="8"/>
                  </a:lnTo>
                  <a:lnTo>
                    <a:pt x="20" y="11"/>
                  </a:lnTo>
                  <a:lnTo>
                    <a:pt x="17" y="14"/>
                  </a:lnTo>
                  <a:lnTo>
                    <a:pt x="17" y="17"/>
                  </a:lnTo>
                  <a:lnTo>
                    <a:pt x="15" y="17"/>
                  </a:lnTo>
                  <a:lnTo>
                    <a:pt x="17" y="1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80" name="Freeform 225"/>
            <p:cNvSpPr>
              <a:spLocks noChangeAspect="1"/>
            </p:cNvSpPr>
            <p:nvPr/>
          </p:nvSpPr>
          <p:spPr bwMode="gray">
            <a:xfrm>
              <a:off x="7053129" y="4008844"/>
              <a:ext cx="22617" cy="17646"/>
            </a:xfrm>
            <a:custGeom>
              <a:avLst/>
              <a:gdLst>
                <a:gd name="T0" fmla="*/ 2147483647 w 9"/>
                <a:gd name="T1" fmla="*/ 2147483647 h 6"/>
                <a:gd name="T2" fmla="*/ 2147483647 w 9"/>
                <a:gd name="T3" fmla="*/ 0 h 6"/>
                <a:gd name="T4" fmla="*/ 2147483647 w 9"/>
                <a:gd name="T5" fmla="*/ 0 h 6"/>
                <a:gd name="T6" fmla="*/ 2147483647 w 9"/>
                <a:gd name="T7" fmla="*/ 0 h 6"/>
                <a:gd name="T8" fmla="*/ 0 w 9"/>
                <a:gd name="T9" fmla="*/ 2147483647 h 6"/>
                <a:gd name="T10" fmla="*/ 0 w 9"/>
                <a:gd name="T11" fmla="*/ 2147483647 h 6"/>
                <a:gd name="T12" fmla="*/ 0 w 9"/>
                <a:gd name="T13" fmla="*/ 2147483647 h 6"/>
                <a:gd name="T14" fmla="*/ 2147483647 w 9"/>
                <a:gd name="T15" fmla="*/ 2147483647 h 6"/>
                <a:gd name="T16" fmla="*/ 2147483647 w 9"/>
                <a:gd name="T17" fmla="*/ 2147483647 h 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9"/>
                <a:gd name="T28" fmla="*/ 0 h 6"/>
                <a:gd name="T29" fmla="*/ 9 w 9"/>
                <a:gd name="T30" fmla="*/ 6 h 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9" h="6">
                  <a:moveTo>
                    <a:pt x="9" y="6"/>
                  </a:moveTo>
                  <a:lnTo>
                    <a:pt x="9" y="0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6" y="6"/>
                  </a:lnTo>
                  <a:lnTo>
                    <a:pt x="9" y="6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81" name="Freeform 234"/>
            <p:cNvSpPr>
              <a:spLocks noChangeAspect="1"/>
            </p:cNvSpPr>
            <p:nvPr/>
          </p:nvSpPr>
          <p:spPr bwMode="gray">
            <a:xfrm>
              <a:off x="7465156" y="3207036"/>
              <a:ext cx="377610" cy="307709"/>
            </a:xfrm>
            <a:custGeom>
              <a:avLst/>
              <a:gdLst>
                <a:gd name="T0" fmla="*/ 2147483647 w 146"/>
                <a:gd name="T1" fmla="*/ 2147483647 h 107"/>
                <a:gd name="T2" fmla="*/ 2147483647 w 146"/>
                <a:gd name="T3" fmla="*/ 2147483647 h 107"/>
                <a:gd name="T4" fmla="*/ 2147483647 w 146"/>
                <a:gd name="T5" fmla="*/ 2147483647 h 107"/>
                <a:gd name="T6" fmla="*/ 2147483647 w 146"/>
                <a:gd name="T7" fmla="*/ 2147483647 h 107"/>
                <a:gd name="T8" fmla="*/ 2147483647 w 146"/>
                <a:gd name="T9" fmla="*/ 2147483647 h 107"/>
                <a:gd name="T10" fmla="*/ 2147483647 w 146"/>
                <a:gd name="T11" fmla="*/ 2147483647 h 107"/>
                <a:gd name="T12" fmla="*/ 2147483647 w 146"/>
                <a:gd name="T13" fmla="*/ 2147483647 h 107"/>
                <a:gd name="T14" fmla="*/ 2147483647 w 146"/>
                <a:gd name="T15" fmla="*/ 2147483647 h 107"/>
                <a:gd name="T16" fmla="*/ 2147483647 w 146"/>
                <a:gd name="T17" fmla="*/ 2147483647 h 107"/>
                <a:gd name="T18" fmla="*/ 2147483647 w 146"/>
                <a:gd name="T19" fmla="*/ 2147483647 h 107"/>
                <a:gd name="T20" fmla="*/ 2147483647 w 146"/>
                <a:gd name="T21" fmla="*/ 2147483647 h 107"/>
                <a:gd name="T22" fmla="*/ 2147483647 w 146"/>
                <a:gd name="T23" fmla="*/ 2147483647 h 107"/>
                <a:gd name="T24" fmla="*/ 2147483647 w 146"/>
                <a:gd name="T25" fmla="*/ 2147483647 h 107"/>
                <a:gd name="T26" fmla="*/ 2147483647 w 146"/>
                <a:gd name="T27" fmla="*/ 2147483647 h 107"/>
                <a:gd name="T28" fmla="*/ 2147483647 w 146"/>
                <a:gd name="T29" fmla="*/ 2147483647 h 107"/>
                <a:gd name="T30" fmla="*/ 2147483647 w 146"/>
                <a:gd name="T31" fmla="*/ 2147483647 h 107"/>
                <a:gd name="T32" fmla="*/ 2147483647 w 146"/>
                <a:gd name="T33" fmla="*/ 2147483647 h 107"/>
                <a:gd name="T34" fmla="*/ 2147483647 w 146"/>
                <a:gd name="T35" fmla="*/ 2147483647 h 107"/>
                <a:gd name="T36" fmla="*/ 2147483647 w 146"/>
                <a:gd name="T37" fmla="*/ 2147483647 h 107"/>
                <a:gd name="T38" fmla="*/ 2147483647 w 146"/>
                <a:gd name="T39" fmla="*/ 2147483647 h 107"/>
                <a:gd name="T40" fmla="*/ 2147483647 w 146"/>
                <a:gd name="T41" fmla="*/ 2147483647 h 107"/>
                <a:gd name="T42" fmla="*/ 2147483647 w 146"/>
                <a:gd name="T43" fmla="*/ 2147483647 h 107"/>
                <a:gd name="T44" fmla="*/ 2147483647 w 146"/>
                <a:gd name="T45" fmla="*/ 2147483647 h 107"/>
                <a:gd name="T46" fmla="*/ 2147483647 w 146"/>
                <a:gd name="T47" fmla="*/ 2147483647 h 107"/>
                <a:gd name="T48" fmla="*/ 2147483647 w 146"/>
                <a:gd name="T49" fmla="*/ 2147483647 h 107"/>
                <a:gd name="T50" fmla="*/ 2147483647 w 146"/>
                <a:gd name="T51" fmla="*/ 2147483647 h 107"/>
                <a:gd name="T52" fmla="*/ 2147483647 w 146"/>
                <a:gd name="T53" fmla="*/ 2147483647 h 107"/>
                <a:gd name="T54" fmla="*/ 2147483647 w 146"/>
                <a:gd name="T55" fmla="*/ 2147483647 h 107"/>
                <a:gd name="T56" fmla="*/ 2147483647 w 146"/>
                <a:gd name="T57" fmla="*/ 2147483647 h 107"/>
                <a:gd name="T58" fmla="*/ 2147483647 w 146"/>
                <a:gd name="T59" fmla="*/ 2147483647 h 107"/>
                <a:gd name="T60" fmla="*/ 2147483647 w 146"/>
                <a:gd name="T61" fmla="*/ 2147483647 h 107"/>
                <a:gd name="T62" fmla="*/ 2147483647 w 146"/>
                <a:gd name="T63" fmla="*/ 2147483647 h 107"/>
                <a:gd name="T64" fmla="*/ 2147483647 w 146"/>
                <a:gd name="T65" fmla="*/ 2147483647 h 107"/>
                <a:gd name="T66" fmla="*/ 2147483647 w 146"/>
                <a:gd name="T67" fmla="*/ 0 h 107"/>
                <a:gd name="T68" fmla="*/ 2147483647 w 146"/>
                <a:gd name="T69" fmla="*/ 0 h 107"/>
                <a:gd name="T70" fmla="*/ 2147483647 w 146"/>
                <a:gd name="T71" fmla="*/ 2147483647 h 107"/>
                <a:gd name="T72" fmla="*/ 2147483647 w 146"/>
                <a:gd name="T73" fmla="*/ 2147483647 h 107"/>
                <a:gd name="T74" fmla="*/ 2147483647 w 146"/>
                <a:gd name="T75" fmla="*/ 2147483647 h 107"/>
                <a:gd name="T76" fmla="*/ 2147483647 w 146"/>
                <a:gd name="T77" fmla="*/ 2147483647 h 107"/>
                <a:gd name="T78" fmla="*/ 2147483647 w 146"/>
                <a:gd name="T79" fmla="*/ 2147483647 h 107"/>
                <a:gd name="T80" fmla="*/ 0 w 146"/>
                <a:gd name="T81" fmla="*/ 2147483647 h 107"/>
                <a:gd name="T82" fmla="*/ 2147483647 w 146"/>
                <a:gd name="T83" fmla="*/ 2147483647 h 107"/>
                <a:gd name="T84" fmla="*/ 2147483647 w 146"/>
                <a:gd name="T85" fmla="*/ 2147483647 h 107"/>
                <a:gd name="T86" fmla="*/ 2147483647 w 146"/>
                <a:gd name="T87" fmla="*/ 2147483647 h 107"/>
                <a:gd name="T88" fmla="*/ 2147483647 w 146"/>
                <a:gd name="T89" fmla="*/ 2147483647 h 107"/>
                <a:gd name="T90" fmla="*/ 2147483647 w 146"/>
                <a:gd name="T91" fmla="*/ 2147483647 h 107"/>
                <a:gd name="T92" fmla="*/ 2147483647 w 146"/>
                <a:gd name="T93" fmla="*/ 2147483647 h 107"/>
                <a:gd name="T94" fmla="*/ 2147483647 w 146"/>
                <a:gd name="T95" fmla="*/ 2147483647 h 107"/>
                <a:gd name="T96" fmla="*/ 2147483647 w 146"/>
                <a:gd name="T97" fmla="*/ 2147483647 h 107"/>
                <a:gd name="T98" fmla="*/ 2147483647 w 146"/>
                <a:gd name="T99" fmla="*/ 2147483647 h 107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146"/>
                <a:gd name="T151" fmla="*/ 0 h 107"/>
                <a:gd name="T152" fmla="*/ 146 w 146"/>
                <a:gd name="T153" fmla="*/ 107 h 107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146" h="107">
                  <a:moveTo>
                    <a:pt x="9" y="55"/>
                  </a:moveTo>
                  <a:lnTo>
                    <a:pt x="9" y="55"/>
                  </a:lnTo>
                  <a:lnTo>
                    <a:pt x="9" y="58"/>
                  </a:lnTo>
                  <a:lnTo>
                    <a:pt x="14" y="64"/>
                  </a:lnTo>
                  <a:lnTo>
                    <a:pt x="14" y="66"/>
                  </a:lnTo>
                  <a:lnTo>
                    <a:pt x="12" y="72"/>
                  </a:lnTo>
                  <a:lnTo>
                    <a:pt x="23" y="78"/>
                  </a:lnTo>
                  <a:lnTo>
                    <a:pt x="35" y="78"/>
                  </a:lnTo>
                  <a:lnTo>
                    <a:pt x="43" y="84"/>
                  </a:lnTo>
                  <a:lnTo>
                    <a:pt x="52" y="81"/>
                  </a:lnTo>
                  <a:lnTo>
                    <a:pt x="52" y="84"/>
                  </a:lnTo>
                  <a:lnTo>
                    <a:pt x="55" y="89"/>
                  </a:lnTo>
                  <a:lnTo>
                    <a:pt x="58" y="89"/>
                  </a:lnTo>
                  <a:lnTo>
                    <a:pt x="58" y="86"/>
                  </a:lnTo>
                  <a:lnTo>
                    <a:pt x="66" y="89"/>
                  </a:lnTo>
                  <a:lnTo>
                    <a:pt x="75" y="101"/>
                  </a:lnTo>
                  <a:lnTo>
                    <a:pt x="78" y="95"/>
                  </a:lnTo>
                  <a:lnTo>
                    <a:pt x="86" y="104"/>
                  </a:lnTo>
                  <a:lnTo>
                    <a:pt x="92" y="98"/>
                  </a:lnTo>
                  <a:lnTo>
                    <a:pt x="101" y="101"/>
                  </a:lnTo>
                  <a:lnTo>
                    <a:pt x="106" y="101"/>
                  </a:lnTo>
                  <a:lnTo>
                    <a:pt x="118" y="104"/>
                  </a:lnTo>
                  <a:lnTo>
                    <a:pt x="129" y="107"/>
                  </a:lnTo>
                  <a:lnTo>
                    <a:pt x="126" y="101"/>
                  </a:lnTo>
                  <a:lnTo>
                    <a:pt x="126" y="98"/>
                  </a:lnTo>
                  <a:lnTo>
                    <a:pt x="132" y="89"/>
                  </a:lnTo>
                  <a:lnTo>
                    <a:pt x="138" y="84"/>
                  </a:lnTo>
                  <a:lnTo>
                    <a:pt x="146" y="81"/>
                  </a:lnTo>
                  <a:lnTo>
                    <a:pt x="144" y="75"/>
                  </a:lnTo>
                  <a:lnTo>
                    <a:pt x="138" y="61"/>
                  </a:lnTo>
                  <a:lnTo>
                    <a:pt x="129" y="46"/>
                  </a:lnTo>
                  <a:lnTo>
                    <a:pt x="138" y="38"/>
                  </a:lnTo>
                  <a:lnTo>
                    <a:pt x="138" y="35"/>
                  </a:lnTo>
                  <a:lnTo>
                    <a:pt x="132" y="20"/>
                  </a:lnTo>
                  <a:lnTo>
                    <a:pt x="129" y="15"/>
                  </a:lnTo>
                  <a:lnTo>
                    <a:pt x="121" y="12"/>
                  </a:lnTo>
                  <a:lnTo>
                    <a:pt x="101" y="12"/>
                  </a:lnTo>
                  <a:lnTo>
                    <a:pt x="98" y="12"/>
                  </a:lnTo>
                  <a:lnTo>
                    <a:pt x="83" y="9"/>
                  </a:lnTo>
                  <a:lnTo>
                    <a:pt x="78" y="9"/>
                  </a:lnTo>
                  <a:lnTo>
                    <a:pt x="72" y="12"/>
                  </a:lnTo>
                  <a:lnTo>
                    <a:pt x="66" y="9"/>
                  </a:lnTo>
                  <a:lnTo>
                    <a:pt x="63" y="9"/>
                  </a:lnTo>
                  <a:lnTo>
                    <a:pt x="60" y="6"/>
                  </a:lnTo>
                  <a:lnTo>
                    <a:pt x="60" y="3"/>
                  </a:lnTo>
                  <a:lnTo>
                    <a:pt x="60" y="0"/>
                  </a:lnTo>
                  <a:lnTo>
                    <a:pt x="52" y="0"/>
                  </a:lnTo>
                  <a:lnTo>
                    <a:pt x="40" y="3"/>
                  </a:lnTo>
                  <a:lnTo>
                    <a:pt x="32" y="9"/>
                  </a:lnTo>
                  <a:lnTo>
                    <a:pt x="23" y="12"/>
                  </a:lnTo>
                  <a:lnTo>
                    <a:pt x="12" y="15"/>
                  </a:lnTo>
                  <a:lnTo>
                    <a:pt x="9" y="18"/>
                  </a:lnTo>
                  <a:lnTo>
                    <a:pt x="3" y="18"/>
                  </a:lnTo>
                  <a:lnTo>
                    <a:pt x="0" y="18"/>
                  </a:lnTo>
                  <a:lnTo>
                    <a:pt x="3" y="26"/>
                  </a:lnTo>
                  <a:lnTo>
                    <a:pt x="3" y="29"/>
                  </a:lnTo>
                  <a:lnTo>
                    <a:pt x="0" y="35"/>
                  </a:lnTo>
                  <a:lnTo>
                    <a:pt x="9" y="41"/>
                  </a:lnTo>
                  <a:lnTo>
                    <a:pt x="9" y="43"/>
                  </a:lnTo>
                  <a:lnTo>
                    <a:pt x="6" y="46"/>
                  </a:lnTo>
                  <a:lnTo>
                    <a:pt x="9" y="49"/>
                  </a:lnTo>
                  <a:lnTo>
                    <a:pt x="12" y="52"/>
                  </a:lnTo>
                  <a:lnTo>
                    <a:pt x="9" y="55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82" name="Freeform 243"/>
            <p:cNvSpPr>
              <a:spLocks noChangeAspect="1"/>
            </p:cNvSpPr>
            <p:nvPr/>
          </p:nvSpPr>
          <p:spPr bwMode="gray">
            <a:xfrm>
              <a:off x="6941027" y="4069504"/>
              <a:ext cx="22617" cy="16543"/>
            </a:xfrm>
            <a:custGeom>
              <a:avLst/>
              <a:gdLst>
                <a:gd name="T0" fmla="*/ 2147483647 w 9"/>
                <a:gd name="T1" fmla="*/ 0 h 6"/>
                <a:gd name="T2" fmla="*/ 2147483647 w 9"/>
                <a:gd name="T3" fmla="*/ 0 h 6"/>
                <a:gd name="T4" fmla="*/ 0 w 9"/>
                <a:gd name="T5" fmla="*/ 2147483647 h 6"/>
                <a:gd name="T6" fmla="*/ 0 w 9"/>
                <a:gd name="T7" fmla="*/ 2147483647 h 6"/>
                <a:gd name="T8" fmla="*/ 2147483647 w 9"/>
                <a:gd name="T9" fmla="*/ 2147483647 h 6"/>
                <a:gd name="T10" fmla="*/ 2147483647 w 9"/>
                <a:gd name="T11" fmla="*/ 2147483647 h 6"/>
                <a:gd name="T12" fmla="*/ 2147483647 w 9"/>
                <a:gd name="T13" fmla="*/ 2147483647 h 6"/>
                <a:gd name="T14" fmla="*/ 2147483647 w 9"/>
                <a:gd name="T15" fmla="*/ 2147483647 h 6"/>
                <a:gd name="T16" fmla="*/ 2147483647 w 9"/>
                <a:gd name="T17" fmla="*/ 0 h 6"/>
                <a:gd name="T18" fmla="*/ 2147483647 w 9"/>
                <a:gd name="T19" fmla="*/ 0 h 6"/>
                <a:gd name="T20" fmla="*/ 2147483647 w 9"/>
                <a:gd name="T21" fmla="*/ 0 h 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9"/>
                <a:gd name="T34" fmla="*/ 0 h 6"/>
                <a:gd name="T35" fmla="*/ 9 w 9"/>
                <a:gd name="T36" fmla="*/ 6 h 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9" h="6">
                  <a:moveTo>
                    <a:pt x="9" y="0"/>
                  </a:moveTo>
                  <a:lnTo>
                    <a:pt x="6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6" y="6"/>
                  </a:lnTo>
                  <a:lnTo>
                    <a:pt x="9" y="6"/>
                  </a:lnTo>
                  <a:lnTo>
                    <a:pt x="9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83" name="Freeform 253"/>
            <p:cNvSpPr>
              <a:spLocks noChangeAspect="1"/>
            </p:cNvSpPr>
            <p:nvPr/>
          </p:nvSpPr>
          <p:spPr bwMode="gray">
            <a:xfrm>
              <a:off x="7556608" y="3555552"/>
              <a:ext cx="241906" cy="138966"/>
            </a:xfrm>
            <a:custGeom>
              <a:avLst/>
              <a:gdLst>
                <a:gd name="T0" fmla="*/ 2147483647 w 94"/>
                <a:gd name="T1" fmla="*/ 2147483647 h 49"/>
                <a:gd name="T2" fmla="*/ 2147483647 w 94"/>
                <a:gd name="T3" fmla="*/ 2147483647 h 49"/>
                <a:gd name="T4" fmla="*/ 2147483647 w 94"/>
                <a:gd name="T5" fmla="*/ 2147483647 h 49"/>
                <a:gd name="T6" fmla="*/ 2147483647 w 94"/>
                <a:gd name="T7" fmla="*/ 2147483647 h 49"/>
                <a:gd name="T8" fmla="*/ 2147483647 w 94"/>
                <a:gd name="T9" fmla="*/ 2147483647 h 49"/>
                <a:gd name="T10" fmla="*/ 2147483647 w 94"/>
                <a:gd name="T11" fmla="*/ 2147483647 h 49"/>
                <a:gd name="T12" fmla="*/ 2147483647 w 94"/>
                <a:gd name="T13" fmla="*/ 2147483647 h 49"/>
                <a:gd name="T14" fmla="*/ 2147483647 w 94"/>
                <a:gd name="T15" fmla="*/ 2147483647 h 49"/>
                <a:gd name="T16" fmla="*/ 2147483647 w 94"/>
                <a:gd name="T17" fmla="*/ 2147483647 h 49"/>
                <a:gd name="T18" fmla="*/ 2147483647 w 94"/>
                <a:gd name="T19" fmla="*/ 2147483647 h 49"/>
                <a:gd name="T20" fmla="*/ 2147483647 w 94"/>
                <a:gd name="T21" fmla="*/ 2147483647 h 49"/>
                <a:gd name="T22" fmla="*/ 2147483647 w 94"/>
                <a:gd name="T23" fmla="*/ 2147483647 h 49"/>
                <a:gd name="T24" fmla="*/ 2147483647 w 94"/>
                <a:gd name="T25" fmla="*/ 2147483647 h 49"/>
                <a:gd name="T26" fmla="*/ 2147483647 w 94"/>
                <a:gd name="T27" fmla="*/ 2147483647 h 49"/>
                <a:gd name="T28" fmla="*/ 2147483647 w 94"/>
                <a:gd name="T29" fmla="*/ 2147483647 h 49"/>
                <a:gd name="T30" fmla="*/ 2147483647 w 94"/>
                <a:gd name="T31" fmla="*/ 2147483647 h 49"/>
                <a:gd name="T32" fmla="*/ 2147483647 w 94"/>
                <a:gd name="T33" fmla="*/ 2147483647 h 49"/>
                <a:gd name="T34" fmla="*/ 2147483647 w 94"/>
                <a:gd name="T35" fmla="*/ 2147483647 h 49"/>
                <a:gd name="T36" fmla="*/ 2147483647 w 94"/>
                <a:gd name="T37" fmla="*/ 2147483647 h 49"/>
                <a:gd name="T38" fmla="*/ 2147483647 w 94"/>
                <a:gd name="T39" fmla="*/ 2147483647 h 49"/>
                <a:gd name="T40" fmla="*/ 2147483647 w 94"/>
                <a:gd name="T41" fmla="*/ 2147483647 h 49"/>
                <a:gd name="T42" fmla="*/ 2147483647 w 94"/>
                <a:gd name="T43" fmla="*/ 2147483647 h 49"/>
                <a:gd name="T44" fmla="*/ 2147483647 w 94"/>
                <a:gd name="T45" fmla="*/ 2147483647 h 49"/>
                <a:gd name="T46" fmla="*/ 2147483647 w 94"/>
                <a:gd name="T47" fmla="*/ 2147483647 h 49"/>
                <a:gd name="T48" fmla="*/ 2147483647 w 94"/>
                <a:gd name="T49" fmla="*/ 0 h 49"/>
                <a:gd name="T50" fmla="*/ 2147483647 w 94"/>
                <a:gd name="T51" fmla="*/ 0 h 49"/>
                <a:gd name="T52" fmla="*/ 2147483647 w 94"/>
                <a:gd name="T53" fmla="*/ 0 h 49"/>
                <a:gd name="T54" fmla="*/ 2147483647 w 94"/>
                <a:gd name="T55" fmla="*/ 2147483647 h 49"/>
                <a:gd name="T56" fmla="*/ 2147483647 w 94"/>
                <a:gd name="T57" fmla="*/ 2147483647 h 49"/>
                <a:gd name="T58" fmla="*/ 2147483647 w 94"/>
                <a:gd name="T59" fmla="*/ 2147483647 h 49"/>
                <a:gd name="T60" fmla="*/ 2147483647 w 94"/>
                <a:gd name="T61" fmla="*/ 2147483647 h 49"/>
                <a:gd name="T62" fmla="*/ 2147483647 w 94"/>
                <a:gd name="T63" fmla="*/ 2147483647 h 49"/>
                <a:gd name="T64" fmla="*/ 2147483647 w 94"/>
                <a:gd name="T65" fmla="*/ 2147483647 h 49"/>
                <a:gd name="T66" fmla="*/ 2147483647 w 94"/>
                <a:gd name="T67" fmla="*/ 2147483647 h 49"/>
                <a:gd name="T68" fmla="*/ 2147483647 w 94"/>
                <a:gd name="T69" fmla="*/ 2147483647 h 49"/>
                <a:gd name="T70" fmla="*/ 2147483647 w 94"/>
                <a:gd name="T71" fmla="*/ 2147483647 h 49"/>
                <a:gd name="T72" fmla="*/ 2147483647 w 94"/>
                <a:gd name="T73" fmla="*/ 2147483647 h 49"/>
                <a:gd name="T74" fmla="*/ 2147483647 w 94"/>
                <a:gd name="T75" fmla="*/ 2147483647 h 49"/>
                <a:gd name="T76" fmla="*/ 2147483647 w 94"/>
                <a:gd name="T77" fmla="*/ 2147483647 h 49"/>
                <a:gd name="T78" fmla="*/ 2147483647 w 94"/>
                <a:gd name="T79" fmla="*/ 2147483647 h 49"/>
                <a:gd name="T80" fmla="*/ 2147483647 w 94"/>
                <a:gd name="T81" fmla="*/ 2147483647 h 49"/>
                <a:gd name="T82" fmla="*/ 0 w 94"/>
                <a:gd name="T83" fmla="*/ 2147483647 h 49"/>
                <a:gd name="T84" fmla="*/ 0 w 94"/>
                <a:gd name="T85" fmla="*/ 2147483647 h 49"/>
                <a:gd name="T86" fmla="*/ 2147483647 w 94"/>
                <a:gd name="T87" fmla="*/ 2147483647 h 49"/>
                <a:gd name="T88" fmla="*/ 2147483647 w 94"/>
                <a:gd name="T89" fmla="*/ 2147483647 h 49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94"/>
                <a:gd name="T136" fmla="*/ 0 h 49"/>
                <a:gd name="T137" fmla="*/ 94 w 94"/>
                <a:gd name="T138" fmla="*/ 49 h 49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94" h="49">
                  <a:moveTo>
                    <a:pt x="11" y="40"/>
                  </a:moveTo>
                  <a:lnTo>
                    <a:pt x="14" y="43"/>
                  </a:lnTo>
                  <a:lnTo>
                    <a:pt x="23" y="46"/>
                  </a:lnTo>
                  <a:lnTo>
                    <a:pt x="28" y="49"/>
                  </a:lnTo>
                  <a:lnTo>
                    <a:pt x="34" y="49"/>
                  </a:lnTo>
                  <a:lnTo>
                    <a:pt x="34" y="46"/>
                  </a:lnTo>
                  <a:lnTo>
                    <a:pt x="40" y="46"/>
                  </a:lnTo>
                  <a:lnTo>
                    <a:pt x="43" y="43"/>
                  </a:lnTo>
                  <a:lnTo>
                    <a:pt x="48" y="40"/>
                  </a:lnTo>
                  <a:lnTo>
                    <a:pt x="63" y="40"/>
                  </a:lnTo>
                  <a:lnTo>
                    <a:pt x="66" y="37"/>
                  </a:lnTo>
                  <a:lnTo>
                    <a:pt x="68" y="37"/>
                  </a:lnTo>
                  <a:lnTo>
                    <a:pt x="71" y="37"/>
                  </a:lnTo>
                  <a:lnTo>
                    <a:pt x="74" y="34"/>
                  </a:lnTo>
                  <a:lnTo>
                    <a:pt x="80" y="26"/>
                  </a:lnTo>
                  <a:lnTo>
                    <a:pt x="83" y="23"/>
                  </a:lnTo>
                  <a:lnTo>
                    <a:pt x="83" y="17"/>
                  </a:lnTo>
                  <a:lnTo>
                    <a:pt x="89" y="11"/>
                  </a:lnTo>
                  <a:lnTo>
                    <a:pt x="94" y="9"/>
                  </a:lnTo>
                  <a:lnTo>
                    <a:pt x="94" y="6"/>
                  </a:lnTo>
                  <a:lnTo>
                    <a:pt x="86" y="3"/>
                  </a:lnTo>
                  <a:lnTo>
                    <a:pt x="83" y="3"/>
                  </a:lnTo>
                  <a:lnTo>
                    <a:pt x="77" y="0"/>
                  </a:lnTo>
                  <a:lnTo>
                    <a:pt x="68" y="0"/>
                  </a:lnTo>
                  <a:lnTo>
                    <a:pt x="60" y="0"/>
                  </a:lnTo>
                  <a:lnTo>
                    <a:pt x="63" y="6"/>
                  </a:lnTo>
                  <a:lnTo>
                    <a:pt x="57" y="9"/>
                  </a:lnTo>
                  <a:lnTo>
                    <a:pt x="48" y="9"/>
                  </a:lnTo>
                  <a:lnTo>
                    <a:pt x="34" y="14"/>
                  </a:lnTo>
                  <a:lnTo>
                    <a:pt x="20" y="14"/>
                  </a:lnTo>
                  <a:lnTo>
                    <a:pt x="11" y="9"/>
                  </a:lnTo>
                  <a:lnTo>
                    <a:pt x="8" y="14"/>
                  </a:lnTo>
                  <a:lnTo>
                    <a:pt x="2" y="14"/>
                  </a:lnTo>
                  <a:lnTo>
                    <a:pt x="5" y="14"/>
                  </a:lnTo>
                  <a:lnTo>
                    <a:pt x="5" y="17"/>
                  </a:lnTo>
                  <a:lnTo>
                    <a:pt x="2" y="20"/>
                  </a:lnTo>
                  <a:lnTo>
                    <a:pt x="2" y="29"/>
                  </a:lnTo>
                  <a:lnTo>
                    <a:pt x="0" y="29"/>
                  </a:lnTo>
                  <a:lnTo>
                    <a:pt x="2" y="34"/>
                  </a:lnTo>
                  <a:lnTo>
                    <a:pt x="11" y="4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84" name="Freeform 254"/>
            <p:cNvSpPr>
              <a:spLocks noChangeAspect="1"/>
            </p:cNvSpPr>
            <p:nvPr/>
          </p:nvSpPr>
          <p:spPr bwMode="gray">
            <a:xfrm>
              <a:off x="7577259" y="3498201"/>
              <a:ext cx="208471" cy="88232"/>
            </a:xfrm>
            <a:custGeom>
              <a:avLst/>
              <a:gdLst>
                <a:gd name="T0" fmla="*/ 2147483647 w 81"/>
                <a:gd name="T1" fmla="*/ 2147483647 h 31"/>
                <a:gd name="T2" fmla="*/ 2147483647 w 81"/>
                <a:gd name="T3" fmla="*/ 2147483647 h 31"/>
                <a:gd name="T4" fmla="*/ 2147483647 w 81"/>
                <a:gd name="T5" fmla="*/ 2147483647 h 31"/>
                <a:gd name="T6" fmla="*/ 2147483647 w 81"/>
                <a:gd name="T7" fmla="*/ 2147483647 h 31"/>
                <a:gd name="T8" fmla="*/ 2147483647 w 81"/>
                <a:gd name="T9" fmla="*/ 2147483647 h 31"/>
                <a:gd name="T10" fmla="*/ 2147483647 w 81"/>
                <a:gd name="T11" fmla="*/ 2147483647 h 31"/>
                <a:gd name="T12" fmla="*/ 2147483647 w 81"/>
                <a:gd name="T13" fmla="*/ 0 h 31"/>
                <a:gd name="T14" fmla="*/ 2147483647 w 81"/>
                <a:gd name="T15" fmla="*/ 2147483647 h 31"/>
                <a:gd name="T16" fmla="*/ 2147483647 w 81"/>
                <a:gd name="T17" fmla="*/ 0 h 31"/>
                <a:gd name="T18" fmla="*/ 2147483647 w 81"/>
                <a:gd name="T19" fmla="*/ 2147483647 h 31"/>
                <a:gd name="T20" fmla="*/ 2147483647 w 81"/>
                <a:gd name="T21" fmla="*/ 2147483647 h 31"/>
                <a:gd name="T22" fmla="*/ 2147483647 w 81"/>
                <a:gd name="T23" fmla="*/ 2147483647 h 31"/>
                <a:gd name="T24" fmla="*/ 0 w 81"/>
                <a:gd name="T25" fmla="*/ 2147483647 h 31"/>
                <a:gd name="T26" fmla="*/ 2147483647 w 81"/>
                <a:gd name="T27" fmla="*/ 2147483647 h 31"/>
                <a:gd name="T28" fmla="*/ 2147483647 w 81"/>
                <a:gd name="T29" fmla="*/ 2147483647 h 31"/>
                <a:gd name="T30" fmla="*/ 2147483647 w 81"/>
                <a:gd name="T31" fmla="*/ 2147483647 h 31"/>
                <a:gd name="T32" fmla="*/ 2147483647 w 81"/>
                <a:gd name="T33" fmla="*/ 2147483647 h 31"/>
                <a:gd name="T34" fmla="*/ 2147483647 w 81"/>
                <a:gd name="T35" fmla="*/ 2147483647 h 31"/>
                <a:gd name="T36" fmla="*/ 2147483647 w 81"/>
                <a:gd name="T37" fmla="*/ 2147483647 h 31"/>
                <a:gd name="T38" fmla="*/ 2147483647 w 81"/>
                <a:gd name="T39" fmla="*/ 2147483647 h 31"/>
                <a:gd name="T40" fmla="*/ 2147483647 w 81"/>
                <a:gd name="T41" fmla="*/ 2147483647 h 31"/>
                <a:gd name="T42" fmla="*/ 2147483647 w 81"/>
                <a:gd name="T43" fmla="*/ 2147483647 h 31"/>
                <a:gd name="T44" fmla="*/ 2147483647 w 81"/>
                <a:gd name="T45" fmla="*/ 2147483647 h 31"/>
                <a:gd name="T46" fmla="*/ 2147483647 w 81"/>
                <a:gd name="T47" fmla="*/ 2147483647 h 31"/>
                <a:gd name="T48" fmla="*/ 2147483647 w 81"/>
                <a:gd name="T49" fmla="*/ 2147483647 h 31"/>
                <a:gd name="T50" fmla="*/ 2147483647 w 81"/>
                <a:gd name="T51" fmla="*/ 2147483647 h 31"/>
                <a:gd name="T52" fmla="*/ 2147483647 w 81"/>
                <a:gd name="T53" fmla="*/ 2147483647 h 31"/>
                <a:gd name="T54" fmla="*/ 2147483647 w 81"/>
                <a:gd name="T55" fmla="*/ 2147483647 h 31"/>
                <a:gd name="T56" fmla="*/ 2147483647 w 81"/>
                <a:gd name="T57" fmla="*/ 2147483647 h 31"/>
                <a:gd name="T58" fmla="*/ 2147483647 w 81"/>
                <a:gd name="T59" fmla="*/ 2147483647 h 31"/>
                <a:gd name="T60" fmla="*/ 2147483647 w 81"/>
                <a:gd name="T61" fmla="*/ 2147483647 h 31"/>
                <a:gd name="T62" fmla="*/ 2147483647 w 81"/>
                <a:gd name="T63" fmla="*/ 2147483647 h 3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81"/>
                <a:gd name="T97" fmla="*/ 0 h 31"/>
                <a:gd name="T98" fmla="*/ 81 w 81"/>
                <a:gd name="T99" fmla="*/ 31 h 31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81" h="31">
                  <a:moveTo>
                    <a:pt x="75" y="6"/>
                  </a:moveTo>
                  <a:lnTo>
                    <a:pt x="75" y="6"/>
                  </a:lnTo>
                  <a:lnTo>
                    <a:pt x="63" y="3"/>
                  </a:lnTo>
                  <a:lnTo>
                    <a:pt x="58" y="6"/>
                  </a:lnTo>
                  <a:lnTo>
                    <a:pt x="49" y="3"/>
                  </a:lnTo>
                  <a:lnTo>
                    <a:pt x="43" y="6"/>
                  </a:lnTo>
                  <a:lnTo>
                    <a:pt x="35" y="0"/>
                  </a:lnTo>
                  <a:lnTo>
                    <a:pt x="29" y="3"/>
                  </a:lnTo>
                  <a:lnTo>
                    <a:pt x="26" y="0"/>
                  </a:lnTo>
                  <a:lnTo>
                    <a:pt x="20" y="3"/>
                  </a:lnTo>
                  <a:lnTo>
                    <a:pt x="12" y="11"/>
                  </a:lnTo>
                  <a:lnTo>
                    <a:pt x="3" y="11"/>
                  </a:lnTo>
                  <a:lnTo>
                    <a:pt x="0" y="17"/>
                  </a:lnTo>
                  <a:lnTo>
                    <a:pt x="3" y="26"/>
                  </a:lnTo>
                  <a:lnTo>
                    <a:pt x="15" y="31"/>
                  </a:lnTo>
                  <a:lnTo>
                    <a:pt x="26" y="31"/>
                  </a:lnTo>
                  <a:lnTo>
                    <a:pt x="40" y="26"/>
                  </a:lnTo>
                  <a:lnTo>
                    <a:pt x="49" y="26"/>
                  </a:lnTo>
                  <a:lnTo>
                    <a:pt x="52" y="23"/>
                  </a:lnTo>
                  <a:lnTo>
                    <a:pt x="49" y="14"/>
                  </a:lnTo>
                  <a:lnTo>
                    <a:pt x="60" y="17"/>
                  </a:lnTo>
                  <a:lnTo>
                    <a:pt x="69" y="14"/>
                  </a:lnTo>
                  <a:lnTo>
                    <a:pt x="75" y="20"/>
                  </a:lnTo>
                  <a:lnTo>
                    <a:pt x="75" y="17"/>
                  </a:lnTo>
                  <a:lnTo>
                    <a:pt x="78" y="11"/>
                  </a:lnTo>
                  <a:lnTo>
                    <a:pt x="81" y="8"/>
                  </a:lnTo>
                  <a:lnTo>
                    <a:pt x="75" y="6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85" name="Freeform 269"/>
            <p:cNvSpPr>
              <a:spLocks noChangeAspect="1"/>
            </p:cNvSpPr>
            <p:nvPr/>
          </p:nvSpPr>
          <p:spPr bwMode="gray">
            <a:xfrm>
              <a:off x="6987245" y="4017667"/>
              <a:ext cx="52117" cy="41910"/>
            </a:xfrm>
            <a:custGeom>
              <a:avLst/>
              <a:gdLst>
                <a:gd name="T0" fmla="*/ 2147483647 w 20"/>
                <a:gd name="T1" fmla="*/ 0 h 14"/>
                <a:gd name="T2" fmla="*/ 2147483647 w 20"/>
                <a:gd name="T3" fmla="*/ 0 h 14"/>
                <a:gd name="T4" fmla="*/ 2147483647 w 20"/>
                <a:gd name="T5" fmla="*/ 2147483647 h 14"/>
                <a:gd name="T6" fmla="*/ 2147483647 w 20"/>
                <a:gd name="T7" fmla="*/ 2147483647 h 14"/>
                <a:gd name="T8" fmla="*/ 2147483647 w 20"/>
                <a:gd name="T9" fmla="*/ 2147483647 h 14"/>
                <a:gd name="T10" fmla="*/ 0 w 20"/>
                <a:gd name="T11" fmla="*/ 2147483647 h 14"/>
                <a:gd name="T12" fmla="*/ 2147483647 w 20"/>
                <a:gd name="T13" fmla="*/ 2147483647 h 14"/>
                <a:gd name="T14" fmla="*/ 2147483647 w 20"/>
                <a:gd name="T15" fmla="*/ 2147483647 h 14"/>
                <a:gd name="T16" fmla="*/ 2147483647 w 20"/>
                <a:gd name="T17" fmla="*/ 2147483647 h 14"/>
                <a:gd name="T18" fmla="*/ 2147483647 w 20"/>
                <a:gd name="T19" fmla="*/ 2147483647 h 14"/>
                <a:gd name="T20" fmla="*/ 2147483647 w 20"/>
                <a:gd name="T21" fmla="*/ 2147483647 h 14"/>
                <a:gd name="T22" fmla="*/ 2147483647 w 20"/>
                <a:gd name="T23" fmla="*/ 2147483647 h 14"/>
                <a:gd name="T24" fmla="*/ 2147483647 w 20"/>
                <a:gd name="T25" fmla="*/ 2147483647 h 14"/>
                <a:gd name="T26" fmla="*/ 2147483647 w 20"/>
                <a:gd name="T27" fmla="*/ 2147483647 h 14"/>
                <a:gd name="T28" fmla="*/ 2147483647 w 20"/>
                <a:gd name="T29" fmla="*/ 2147483647 h 14"/>
                <a:gd name="T30" fmla="*/ 2147483647 w 20"/>
                <a:gd name="T31" fmla="*/ 0 h 14"/>
                <a:gd name="T32" fmla="*/ 2147483647 w 20"/>
                <a:gd name="T33" fmla="*/ 0 h 14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0"/>
                <a:gd name="T52" fmla="*/ 0 h 14"/>
                <a:gd name="T53" fmla="*/ 20 w 20"/>
                <a:gd name="T54" fmla="*/ 14 h 14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0" h="14">
                  <a:moveTo>
                    <a:pt x="14" y="0"/>
                  </a:moveTo>
                  <a:lnTo>
                    <a:pt x="14" y="0"/>
                  </a:lnTo>
                  <a:lnTo>
                    <a:pt x="8" y="3"/>
                  </a:lnTo>
                  <a:lnTo>
                    <a:pt x="2" y="5"/>
                  </a:lnTo>
                  <a:lnTo>
                    <a:pt x="0" y="8"/>
                  </a:lnTo>
                  <a:lnTo>
                    <a:pt x="2" y="11"/>
                  </a:lnTo>
                  <a:lnTo>
                    <a:pt x="8" y="11"/>
                  </a:lnTo>
                  <a:lnTo>
                    <a:pt x="17" y="14"/>
                  </a:lnTo>
                  <a:lnTo>
                    <a:pt x="20" y="8"/>
                  </a:lnTo>
                  <a:lnTo>
                    <a:pt x="20" y="3"/>
                  </a:lnTo>
                  <a:lnTo>
                    <a:pt x="17" y="3"/>
                  </a:lnTo>
                  <a:lnTo>
                    <a:pt x="14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86" name="Freeform 300"/>
            <p:cNvSpPr>
              <a:spLocks noChangeAspect="1"/>
            </p:cNvSpPr>
            <p:nvPr/>
          </p:nvSpPr>
          <p:spPr bwMode="gray">
            <a:xfrm>
              <a:off x="6653886" y="3007410"/>
              <a:ext cx="73752" cy="100364"/>
            </a:xfrm>
            <a:custGeom>
              <a:avLst/>
              <a:gdLst>
                <a:gd name="T0" fmla="*/ 2147483647 w 29"/>
                <a:gd name="T1" fmla="*/ 2147483647 h 35"/>
                <a:gd name="T2" fmla="*/ 2147483647 w 29"/>
                <a:gd name="T3" fmla="*/ 2147483647 h 35"/>
                <a:gd name="T4" fmla="*/ 2147483647 w 29"/>
                <a:gd name="T5" fmla="*/ 2147483647 h 35"/>
                <a:gd name="T6" fmla="*/ 0 w 29"/>
                <a:gd name="T7" fmla="*/ 2147483647 h 35"/>
                <a:gd name="T8" fmla="*/ 2147483647 w 29"/>
                <a:gd name="T9" fmla="*/ 2147483647 h 35"/>
                <a:gd name="T10" fmla="*/ 2147483647 w 29"/>
                <a:gd name="T11" fmla="*/ 2147483647 h 35"/>
                <a:gd name="T12" fmla="*/ 2147483647 w 29"/>
                <a:gd name="T13" fmla="*/ 2147483647 h 35"/>
                <a:gd name="T14" fmla="*/ 2147483647 w 29"/>
                <a:gd name="T15" fmla="*/ 2147483647 h 35"/>
                <a:gd name="T16" fmla="*/ 2147483647 w 29"/>
                <a:gd name="T17" fmla="*/ 2147483647 h 35"/>
                <a:gd name="T18" fmla="*/ 2147483647 w 29"/>
                <a:gd name="T19" fmla="*/ 0 h 35"/>
                <a:gd name="T20" fmla="*/ 2147483647 w 29"/>
                <a:gd name="T21" fmla="*/ 2147483647 h 35"/>
                <a:gd name="T22" fmla="*/ 2147483647 w 29"/>
                <a:gd name="T23" fmla="*/ 2147483647 h 3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29"/>
                <a:gd name="T37" fmla="*/ 0 h 35"/>
                <a:gd name="T38" fmla="*/ 29 w 29"/>
                <a:gd name="T39" fmla="*/ 35 h 35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29" h="35">
                  <a:moveTo>
                    <a:pt x="15" y="15"/>
                  </a:moveTo>
                  <a:lnTo>
                    <a:pt x="9" y="18"/>
                  </a:lnTo>
                  <a:lnTo>
                    <a:pt x="9" y="23"/>
                  </a:lnTo>
                  <a:lnTo>
                    <a:pt x="0" y="35"/>
                  </a:lnTo>
                  <a:lnTo>
                    <a:pt x="9" y="32"/>
                  </a:lnTo>
                  <a:lnTo>
                    <a:pt x="12" y="21"/>
                  </a:lnTo>
                  <a:lnTo>
                    <a:pt x="18" y="15"/>
                  </a:lnTo>
                  <a:lnTo>
                    <a:pt x="23" y="12"/>
                  </a:lnTo>
                  <a:lnTo>
                    <a:pt x="29" y="6"/>
                  </a:lnTo>
                  <a:lnTo>
                    <a:pt x="29" y="0"/>
                  </a:lnTo>
                  <a:lnTo>
                    <a:pt x="15" y="9"/>
                  </a:lnTo>
                  <a:lnTo>
                    <a:pt x="15" y="15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87" name="Freeform 307"/>
            <p:cNvSpPr>
              <a:spLocks noChangeAspect="1"/>
            </p:cNvSpPr>
            <p:nvPr/>
          </p:nvSpPr>
          <p:spPr bwMode="gray">
            <a:xfrm>
              <a:off x="6683387" y="3107776"/>
              <a:ext cx="21635" cy="16543"/>
            </a:xfrm>
            <a:custGeom>
              <a:avLst/>
              <a:gdLst>
                <a:gd name="T0" fmla="*/ 0 w 8"/>
                <a:gd name="T1" fmla="*/ 2147483647 h 6"/>
                <a:gd name="T2" fmla="*/ 2147483647 w 8"/>
                <a:gd name="T3" fmla="*/ 2147483647 h 6"/>
                <a:gd name="T4" fmla="*/ 2147483647 w 8"/>
                <a:gd name="T5" fmla="*/ 2147483647 h 6"/>
                <a:gd name="T6" fmla="*/ 2147483647 w 8"/>
                <a:gd name="T7" fmla="*/ 0 h 6"/>
                <a:gd name="T8" fmla="*/ 2147483647 w 8"/>
                <a:gd name="T9" fmla="*/ 0 h 6"/>
                <a:gd name="T10" fmla="*/ 0 w 8"/>
                <a:gd name="T11" fmla="*/ 2147483647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8"/>
                <a:gd name="T19" fmla="*/ 0 h 6"/>
                <a:gd name="T20" fmla="*/ 8 w 8"/>
                <a:gd name="T21" fmla="*/ 6 h 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8" h="6">
                  <a:moveTo>
                    <a:pt x="0" y="6"/>
                  </a:moveTo>
                  <a:lnTo>
                    <a:pt x="3" y="6"/>
                  </a:lnTo>
                  <a:lnTo>
                    <a:pt x="6" y="3"/>
                  </a:lnTo>
                  <a:lnTo>
                    <a:pt x="8" y="0"/>
                  </a:lnTo>
                  <a:lnTo>
                    <a:pt x="6" y="0"/>
                  </a:lnTo>
                  <a:lnTo>
                    <a:pt x="0" y="6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88" name="Freeform 310"/>
            <p:cNvSpPr>
              <a:spLocks noChangeAspect="1"/>
            </p:cNvSpPr>
            <p:nvPr/>
          </p:nvSpPr>
          <p:spPr bwMode="gray">
            <a:xfrm>
              <a:off x="6641103" y="3183875"/>
              <a:ext cx="86535" cy="74997"/>
            </a:xfrm>
            <a:custGeom>
              <a:avLst/>
              <a:gdLst>
                <a:gd name="T0" fmla="*/ 0 w 34"/>
                <a:gd name="T1" fmla="*/ 2147483647 h 26"/>
                <a:gd name="T2" fmla="*/ 0 w 34"/>
                <a:gd name="T3" fmla="*/ 2147483647 h 26"/>
                <a:gd name="T4" fmla="*/ 2147483647 w 34"/>
                <a:gd name="T5" fmla="*/ 2147483647 h 26"/>
                <a:gd name="T6" fmla="*/ 2147483647 w 34"/>
                <a:gd name="T7" fmla="*/ 2147483647 h 26"/>
                <a:gd name="T8" fmla="*/ 2147483647 w 34"/>
                <a:gd name="T9" fmla="*/ 2147483647 h 26"/>
                <a:gd name="T10" fmla="*/ 2147483647 w 34"/>
                <a:gd name="T11" fmla="*/ 2147483647 h 26"/>
                <a:gd name="T12" fmla="*/ 2147483647 w 34"/>
                <a:gd name="T13" fmla="*/ 2147483647 h 26"/>
                <a:gd name="T14" fmla="*/ 2147483647 w 34"/>
                <a:gd name="T15" fmla="*/ 2147483647 h 26"/>
                <a:gd name="T16" fmla="*/ 2147483647 w 34"/>
                <a:gd name="T17" fmla="*/ 2147483647 h 26"/>
                <a:gd name="T18" fmla="*/ 2147483647 w 34"/>
                <a:gd name="T19" fmla="*/ 2147483647 h 26"/>
                <a:gd name="T20" fmla="*/ 2147483647 w 34"/>
                <a:gd name="T21" fmla="*/ 2147483647 h 26"/>
                <a:gd name="T22" fmla="*/ 2147483647 w 34"/>
                <a:gd name="T23" fmla="*/ 2147483647 h 26"/>
                <a:gd name="T24" fmla="*/ 2147483647 w 34"/>
                <a:gd name="T25" fmla="*/ 2147483647 h 26"/>
                <a:gd name="T26" fmla="*/ 2147483647 w 34"/>
                <a:gd name="T27" fmla="*/ 2147483647 h 26"/>
                <a:gd name="T28" fmla="*/ 2147483647 w 34"/>
                <a:gd name="T29" fmla="*/ 2147483647 h 26"/>
                <a:gd name="T30" fmla="*/ 2147483647 w 34"/>
                <a:gd name="T31" fmla="*/ 2147483647 h 26"/>
                <a:gd name="T32" fmla="*/ 2147483647 w 34"/>
                <a:gd name="T33" fmla="*/ 2147483647 h 26"/>
                <a:gd name="T34" fmla="*/ 2147483647 w 34"/>
                <a:gd name="T35" fmla="*/ 2147483647 h 26"/>
                <a:gd name="T36" fmla="*/ 2147483647 w 34"/>
                <a:gd name="T37" fmla="*/ 2147483647 h 26"/>
                <a:gd name="T38" fmla="*/ 2147483647 w 34"/>
                <a:gd name="T39" fmla="*/ 2147483647 h 26"/>
                <a:gd name="T40" fmla="*/ 2147483647 w 34"/>
                <a:gd name="T41" fmla="*/ 2147483647 h 26"/>
                <a:gd name="T42" fmla="*/ 2147483647 w 34"/>
                <a:gd name="T43" fmla="*/ 2147483647 h 26"/>
                <a:gd name="T44" fmla="*/ 2147483647 w 34"/>
                <a:gd name="T45" fmla="*/ 2147483647 h 26"/>
                <a:gd name="T46" fmla="*/ 2147483647 w 34"/>
                <a:gd name="T47" fmla="*/ 0 h 26"/>
                <a:gd name="T48" fmla="*/ 2147483647 w 34"/>
                <a:gd name="T49" fmla="*/ 2147483647 h 26"/>
                <a:gd name="T50" fmla="*/ 2147483647 w 34"/>
                <a:gd name="T51" fmla="*/ 0 h 26"/>
                <a:gd name="T52" fmla="*/ 2147483647 w 34"/>
                <a:gd name="T53" fmla="*/ 2147483647 h 26"/>
                <a:gd name="T54" fmla="*/ 2147483647 w 34"/>
                <a:gd name="T55" fmla="*/ 2147483647 h 26"/>
                <a:gd name="T56" fmla="*/ 2147483647 w 34"/>
                <a:gd name="T57" fmla="*/ 2147483647 h 26"/>
                <a:gd name="T58" fmla="*/ 0 w 34"/>
                <a:gd name="T59" fmla="*/ 2147483647 h 2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34"/>
                <a:gd name="T91" fmla="*/ 0 h 26"/>
                <a:gd name="T92" fmla="*/ 34 w 34"/>
                <a:gd name="T93" fmla="*/ 26 h 2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34" h="26">
                  <a:moveTo>
                    <a:pt x="0" y="17"/>
                  </a:moveTo>
                  <a:lnTo>
                    <a:pt x="0" y="17"/>
                  </a:lnTo>
                  <a:lnTo>
                    <a:pt x="2" y="23"/>
                  </a:lnTo>
                  <a:lnTo>
                    <a:pt x="8" y="20"/>
                  </a:lnTo>
                  <a:lnTo>
                    <a:pt x="14" y="14"/>
                  </a:lnTo>
                  <a:lnTo>
                    <a:pt x="17" y="20"/>
                  </a:lnTo>
                  <a:lnTo>
                    <a:pt x="20" y="20"/>
                  </a:lnTo>
                  <a:lnTo>
                    <a:pt x="23" y="20"/>
                  </a:lnTo>
                  <a:lnTo>
                    <a:pt x="23" y="23"/>
                  </a:lnTo>
                  <a:lnTo>
                    <a:pt x="25" y="26"/>
                  </a:lnTo>
                  <a:lnTo>
                    <a:pt x="31" y="20"/>
                  </a:lnTo>
                  <a:lnTo>
                    <a:pt x="34" y="20"/>
                  </a:lnTo>
                  <a:lnTo>
                    <a:pt x="34" y="17"/>
                  </a:lnTo>
                  <a:lnTo>
                    <a:pt x="34" y="8"/>
                  </a:lnTo>
                  <a:lnTo>
                    <a:pt x="25" y="0"/>
                  </a:lnTo>
                  <a:lnTo>
                    <a:pt x="17" y="3"/>
                  </a:lnTo>
                  <a:lnTo>
                    <a:pt x="11" y="0"/>
                  </a:lnTo>
                  <a:lnTo>
                    <a:pt x="8" y="3"/>
                  </a:lnTo>
                  <a:lnTo>
                    <a:pt x="8" y="8"/>
                  </a:lnTo>
                  <a:lnTo>
                    <a:pt x="2" y="14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89" name="Freeform 313"/>
            <p:cNvSpPr>
              <a:spLocks noChangeAspect="1"/>
            </p:cNvSpPr>
            <p:nvPr/>
          </p:nvSpPr>
          <p:spPr bwMode="gray">
            <a:xfrm>
              <a:off x="6536867" y="3812528"/>
              <a:ext cx="495611" cy="427925"/>
            </a:xfrm>
            <a:custGeom>
              <a:avLst/>
              <a:gdLst>
                <a:gd name="T0" fmla="*/ 2147483647 w 193"/>
                <a:gd name="T1" fmla="*/ 2147483647 h 149"/>
                <a:gd name="T2" fmla="*/ 2147483647 w 193"/>
                <a:gd name="T3" fmla="*/ 2147483647 h 149"/>
                <a:gd name="T4" fmla="*/ 2147483647 w 193"/>
                <a:gd name="T5" fmla="*/ 0 h 149"/>
                <a:gd name="T6" fmla="*/ 2147483647 w 193"/>
                <a:gd name="T7" fmla="*/ 0 h 149"/>
                <a:gd name="T8" fmla="*/ 2147483647 w 193"/>
                <a:gd name="T9" fmla="*/ 2147483647 h 149"/>
                <a:gd name="T10" fmla="*/ 2147483647 w 193"/>
                <a:gd name="T11" fmla="*/ 2147483647 h 149"/>
                <a:gd name="T12" fmla="*/ 0 w 193"/>
                <a:gd name="T13" fmla="*/ 2147483647 h 149"/>
                <a:gd name="T14" fmla="*/ 2147483647 w 193"/>
                <a:gd name="T15" fmla="*/ 2147483647 h 149"/>
                <a:gd name="T16" fmla="*/ 2147483647 w 193"/>
                <a:gd name="T17" fmla="*/ 2147483647 h 149"/>
                <a:gd name="T18" fmla="*/ 2147483647 w 193"/>
                <a:gd name="T19" fmla="*/ 2147483647 h 149"/>
                <a:gd name="T20" fmla="*/ 2147483647 w 193"/>
                <a:gd name="T21" fmla="*/ 2147483647 h 149"/>
                <a:gd name="T22" fmla="*/ 2147483647 w 193"/>
                <a:gd name="T23" fmla="*/ 2147483647 h 149"/>
                <a:gd name="T24" fmla="*/ 2147483647 w 193"/>
                <a:gd name="T25" fmla="*/ 2147483647 h 149"/>
                <a:gd name="T26" fmla="*/ 2147483647 w 193"/>
                <a:gd name="T27" fmla="*/ 2147483647 h 149"/>
                <a:gd name="T28" fmla="*/ 2147483647 w 193"/>
                <a:gd name="T29" fmla="*/ 2147483647 h 149"/>
                <a:gd name="T30" fmla="*/ 2147483647 w 193"/>
                <a:gd name="T31" fmla="*/ 2147483647 h 149"/>
                <a:gd name="T32" fmla="*/ 2147483647 w 193"/>
                <a:gd name="T33" fmla="*/ 2147483647 h 149"/>
                <a:gd name="T34" fmla="*/ 2147483647 w 193"/>
                <a:gd name="T35" fmla="*/ 2147483647 h 149"/>
                <a:gd name="T36" fmla="*/ 2147483647 w 193"/>
                <a:gd name="T37" fmla="*/ 2147483647 h 149"/>
                <a:gd name="T38" fmla="*/ 2147483647 w 193"/>
                <a:gd name="T39" fmla="*/ 2147483647 h 149"/>
                <a:gd name="T40" fmla="*/ 2147483647 w 193"/>
                <a:gd name="T41" fmla="*/ 2147483647 h 149"/>
                <a:gd name="T42" fmla="*/ 2147483647 w 193"/>
                <a:gd name="T43" fmla="*/ 2147483647 h 149"/>
                <a:gd name="T44" fmla="*/ 2147483647 w 193"/>
                <a:gd name="T45" fmla="*/ 2147483647 h 149"/>
                <a:gd name="T46" fmla="*/ 2147483647 w 193"/>
                <a:gd name="T47" fmla="*/ 2147483647 h 149"/>
                <a:gd name="T48" fmla="*/ 2147483647 w 193"/>
                <a:gd name="T49" fmla="*/ 2147483647 h 149"/>
                <a:gd name="T50" fmla="*/ 2147483647 w 193"/>
                <a:gd name="T51" fmla="*/ 2147483647 h 149"/>
                <a:gd name="T52" fmla="*/ 2147483647 w 193"/>
                <a:gd name="T53" fmla="*/ 2147483647 h 149"/>
                <a:gd name="T54" fmla="*/ 2147483647 w 193"/>
                <a:gd name="T55" fmla="*/ 2147483647 h 149"/>
                <a:gd name="T56" fmla="*/ 2147483647 w 193"/>
                <a:gd name="T57" fmla="*/ 2147483647 h 149"/>
                <a:gd name="T58" fmla="*/ 2147483647 w 193"/>
                <a:gd name="T59" fmla="*/ 2147483647 h 149"/>
                <a:gd name="T60" fmla="*/ 2147483647 w 193"/>
                <a:gd name="T61" fmla="*/ 2147483647 h 149"/>
                <a:gd name="T62" fmla="*/ 2147483647 w 193"/>
                <a:gd name="T63" fmla="*/ 2147483647 h 149"/>
                <a:gd name="T64" fmla="*/ 2147483647 w 193"/>
                <a:gd name="T65" fmla="*/ 2147483647 h 149"/>
                <a:gd name="T66" fmla="*/ 2147483647 w 193"/>
                <a:gd name="T67" fmla="*/ 2147483647 h 149"/>
                <a:gd name="T68" fmla="*/ 2147483647 w 193"/>
                <a:gd name="T69" fmla="*/ 2147483647 h 149"/>
                <a:gd name="T70" fmla="*/ 2147483647 w 193"/>
                <a:gd name="T71" fmla="*/ 2147483647 h 149"/>
                <a:gd name="T72" fmla="*/ 2147483647 w 193"/>
                <a:gd name="T73" fmla="*/ 2147483647 h 149"/>
                <a:gd name="T74" fmla="*/ 2147483647 w 193"/>
                <a:gd name="T75" fmla="*/ 2147483647 h 149"/>
                <a:gd name="T76" fmla="*/ 2147483647 w 193"/>
                <a:gd name="T77" fmla="*/ 2147483647 h 149"/>
                <a:gd name="T78" fmla="*/ 2147483647 w 193"/>
                <a:gd name="T79" fmla="*/ 2147483647 h 149"/>
                <a:gd name="T80" fmla="*/ 2147483647 w 193"/>
                <a:gd name="T81" fmla="*/ 2147483647 h 149"/>
                <a:gd name="T82" fmla="*/ 2147483647 w 193"/>
                <a:gd name="T83" fmla="*/ 2147483647 h 149"/>
                <a:gd name="T84" fmla="*/ 2147483647 w 193"/>
                <a:gd name="T85" fmla="*/ 2147483647 h 149"/>
                <a:gd name="T86" fmla="*/ 2147483647 w 193"/>
                <a:gd name="T87" fmla="*/ 2147483647 h 149"/>
                <a:gd name="T88" fmla="*/ 2147483647 w 193"/>
                <a:gd name="T89" fmla="*/ 2147483647 h 149"/>
                <a:gd name="T90" fmla="*/ 2147483647 w 193"/>
                <a:gd name="T91" fmla="*/ 2147483647 h 149"/>
                <a:gd name="T92" fmla="*/ 2147483647 w 193"/>
                <a:gd name="T93" fmla="*/ 2147483647 h 149"/>
                <a:gd name="T94" fmla="*/ 2147483647 w 193"/>
                <a:gd name="T95" fmla="*/ 2147483647 h 149"/>
                <a:gd name="T96" fmla="*/ 2147483647 w 193"/>
                <a:gd name="T97" fmla="*/ 2147483647 h 149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193"/>
                <a:gd name="T148" fmla="*/ 0 h 149"/>
                <a:gd name="T149" fmla="*/ 193 w 193"/>
                <a:gd name="T150" fmla="*/ 149 h 149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193" h="149">
                  <a:moveTo>
                    <a:pt x="58" y="3"/>
                  </a:moveTo>
                  <a:lnTo>
                    <a:pt x="58" y="3"/>
                  </a:lnTo>
                  <a:lnTo>
                    <a:pt x="52" y="3"/>
                  </a:lnTo>
                  <a:lnTo>
                    <a:pt x="49" y="3"/>
                  </a:lnTo>
                  <a:lnTo>
                    <a:pt x="38" y="3"/>
                  </a:lnTo>
                  <a:lnTo>
                    <a:pt x="32" y="3"/>
                  </a:lnTo>
                  <a:lnTo>
                    <a:pt x="29" y="0"/>
                  </a:lnTo>
                  <a:lnTo>
                    <a:pt x="26" y="0"/>
                  </a:lnTo>
                  <a:lnTo>
                    <a:pt x="23" y="0"/>
                  </a:lnTo>
                  <a:lnTo>
                    <a:pt x="20" y="0"/>
                  </a:lnTo>
                  <a:lnTo>
                    <a:pt x="15" y="6"/>
                  </a:lnTo>
                  <a:lnTo>
                    <a:pt x="12" y="9"/>
                  </a:lnTo>
                  <a:lnTo>
                    <a:pt x="3" y="9"/>
                  </a:lnTo>
                  <a:lnTo>
                    <a:pt x="0" y="11"/>
                  </a:lnTo>
                  <a:lnTo>
                    <a:pt x="0" y="14"/>
                  </a:lnTo>
                  <a:lnTo>
                    <a:pt x="0" y="20"/>
                  </a:lnTo>
                  <a:lnTo>
                    <a:pt x="6" y="26"/>
                  </a:lnTo>
                  <a:lnTo>
                    <a:pt x="6" y="29"/>
                  </a:lnTo>
                  <a:lnTo>
                    <a:pt x="3" y="29"/>
                  </a:lnTo>
                  <a:lnTo>
                    <a:pt x="3" y="32"/>
                  </a:lnTo>
                  <a:lnTo>
                    <a:pt x="3" y="34"/>
                  </a:lnTo>
                  <a:lnTo>
                    <a:pt x="15" y="29"/>
                  </a:lnTo>
                  <a:lnTo>
                    <a:pt x="15" y="32"/>
                  </a:lnTo>
                  <a:lnTo>
                    <a:pt x="18" y="37"/>
                  </a:lnTo>
                  <a:lnTo>
                    <a:pt x="20" y="34"/>
                  </a:lnTo>
                  <a:lnTo>
                    <a:pt x="23" y="34"/>
                  </a:lnTo>
                  <a:lnTo>
                    <a:pt x="26" y="37"/>
                  </a:lnTo>
                  <a:lnTo>
                    <a:pt x="29" y="34"/>
                  </a:lnTo>
                  <a:lnTo>
                    <a:pt x="41" y="34"/>
                  </a:lnTo>
                  <a:lnTo>
                    <a:pt x="46" y="43"/>
                  </a:lnTo>
                  <a:lnTo>
                    <a:pt x="38" y="52"/>
                  </a:lnTo>
                  <a:lnTo>
                    <a:pt x="35" y="63"/>
                  </a:lnTo>
                  <a:lnTo>
                    <a:pt x="32" y="69"/>
                  </a:lnTo>
                  <a:lnTo>
                    <a:pt x="32" y="75"/>
                  </a:lnTo>
                  <a:lnTo>
                    <a:pt x="23" y="80"/>
                  </a:lnTo>
                  <a:lnTo>
                    <a:pt x="29" y="92"/>
                  </a:lnTo>
                  <a:lnTo>
                    <a:pt x="26" y="100"/>
                  </a:lnTo>
                  <a:lnTo>
                    <a:pt x="29" y="109"/>
                  </a:lnTo>
                  <a:lnTo>
                    <a:pt x="20" y="118"/>
                  </a:lnTo>
                  <a:lnTo>
                    <a:pt x="20" y="121"/>
                  </a:lnTo>
                  <a:lnTo>
                    <a:pt x="23" y="126"/>
                  </a:lnTo>
                  <a:lnTo>
                    <a:pt x="26" y="126"/>
                  </a:lnTo>
                  <a:lnTo>
                    <a:pt x="32" y="129"/>
                  </a:lnTo>
                  <a:lnTo>
                    <a:pt x="35" y="135"/>
                  </a:lnTo>
                  <a:lnTo>
                    <a:pt x="38" y="141"/>
                  </a:lnTo>
                  <a:lnTo>
                    <a:pt x="41" y="146"/>
                  </a:lnTo>
                  <a:lnTo>
                    <a:pt x="46" y="149"/>
                  </a:lnTo>
                  <a:lnTo>
                    <a:pt x="55" y="146"/>
                  </a:lnTo>
                  <a:lnTo>
                    <a:pt x="66" y="138"/>
                  </a:lnTo>
                  <a:lnTo>
                    <a:pt x="72" y="138"/>
                  </a:lnTo>
                  <a:lnTo>
                    <a:pt x="84" y="135"/>
                  </a:lnTo>
                  <a:lnTo>
                    <a:pt x="95" y="138"/>
                  </a:lnTo>
                  <a:lnTo>
                    <a:pt x="101" y="135"/>
                  </a:lnTo>
                  <a:lnTo>
                    <a:pt x="104" y="135"/>
                  </a:lnTo>
                  <a:lnTo>
                    <a:pt x="109" y="132"/>
                  </a:lnTo>
                  <a:lnTo>
                    <a:pt x="112" y="126"/>
                  </a:lnTo>
                  <a:lnTo>
                    <a:pt x="118" y="121"/>
                  </a:lnTo>
                  <a:lnTo>
                    <a:pt x="127" y="121"/>
                  </a:lnTo>
                  <a:lnTo>
                    <a:pt x="130" y="112"/>
                  </a:lnTo>
                  <a:lnTo>
                    <a:pt x="130" y="109"/>
                  </a:lnTo>
                  <a:lnTo>
                    <a:pt x="135" y="103"/>
                  </a:lnTo>
                  <a:lnTo>
                    <a:pt x="144" y="98"/>
                  </a:lnTo>
                  <a:lnTo>
                    <a:pt x="141" y="92"/>
                  </a:lnTo>
                  <a:lnTo>
                    <a:pt x="138" y="89"/>
                  </a:lnTo>
                  <a:lnTo>
                    <a:pt x="135" y="86"/>
                  </a:lnTo>
                  <a:lnTo>
                    <a:pt x="138" y="77"/>
                  </a:lnTo>
                  <a:lnTo>
                    <a:pt x="144" y="69"/>
                  </a:lnTo>
                  <a:lnTo>
                    <a:pt x="153" y="63"/>
                  </a:lnTo>
                  <a:lnTo>
                    <a:pt x="155" y="60"/>
                  </a:lnTo>
                  <a:lnTo>
                    <a:pt x="155" y="57"/>
                  </a:lnTo>
                  <a:lnTo>
                    <a:pt x="155" y="54"/>
                  </a:lnTo>
                  <a:lnTo>
                    <a:pt x="167" y="49"/>
                  </a:lnTo>
                  <a:lnTo>
                    <a:pt x="181" y="43"/>
                  </a:lnTo>
                  <a:lnTo>
                    <a:pt x="193" y="37"/>
                  </a:lnTo>
                  <a:lnTo>
                    <a:pt x="190" y="29"/>
                  </a:lnTo>
                  <a:lnTo>
                    <a:pt x="193" y="29"/>
                  </a:lnTo>
                  <a:lnTo>
                    <a:pt x="190" y="26"/>
                  </a:lnTo>
                  <a:lnTo>
                    <a:pt x="181" y="29"/>
                  </a:lnTo>
                  <a:lnTo>
                    <a:pt x="178" y="26"/>
                  </a:lnTo>
                  <a:lnTo>
                    <a:pt x="176" y="29"/>
                  </a:lnTo>
                  <a:lnTo>
                    <a:pt x="173" y="26"/>
                  </a:lnTo>
                  <a:lnTo>
                    <a:pt x="170" y="29"/>
                  </a:lnTo>
                  <a:lnTo>
                    <a:pt x="167" y="29"/>
                  </a:lnTo>
                  <a:lnTo>
                    <a:pt x="164" y="29"/>
                  </a:lnTo>
                  <a:lnTo>
                    <a:pt x="161" y="20"/>
                  </a:lnTo>
                  <a:lnTo>
                    <a:pt x="158" y="14"/>
                  </a:lnTo>
                  <a:lnTo>
                    <a:pt x="155" y="20"/>
                  </a:lnTo>
                  <a:lnTo>
                    <a:pt x="141" y="20"/>
                  </a:lnTo>
                  <a:lnTo>
                    <a:pt x="138" y="17"/>
                  </a:lnTo>
                  <a:lnTo>
                    <a:pt x="135" y="17"/>
                  </a:lnTo>
                  <a:lnTo>
                    <a:pt x="124" y="17"/>
                  </a:lnTo>
                  <a:lnTo>
                    <a:pt x="118" y="11"/>
                  </a:lnTo>
                  <a:lnTo>
                    <a:pt x="112" y="9"/>
                  </a:lnTo>
                  <a:lnTo>
                    <a:pt x="104" y="9"/>
                  </a:lnTo>
                  <a:lnTo>
                    <a:pt x="98" y="9"/>
                  </a:lnTo>
                  <a:lnTo>
                    <a:pt x="92" y="6"/>
                  </a:lnTo>
                  <a:lnTo>
                    <a:pt x="87" y="6"/>
                  </a:lnTo>
                  <a:lnTo>
                    <a:pt x="84" y="6"/>
                  </a:lnTo>
                  <a:lnTo>
                    <a:pt x="75" y="6"/>
                  </a:lnTo>
                  <a:lnTo>
                    <a:pt x="69" y="3"/>
                  </a:lnTo>
                  <a:lnTo>
                    <a:pt x="61" y="3"/>
                  </a:lnTo>
                  <a:lnTo>
                    <a:pt x="58" y="3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90" name="Freeform 315"/>
            <p:cNvSpPr>
              <a:spLocks noChangeAspect="1"/>
            </p:cNvSpPr>
            <p:nvPr/>
          </p:nvSpPr>
          <p:spPr bwMode="gray">
            <a:xfrm>
              <a:off x="6705021" y="3073585"/>
              <a:ext cx="15733" cy="16544"/>
            </a:xfrm>
            <a:custGeom>
              <a:avLst/>
              <a:gdLst>
                <a:gd name="T0" fmla="*/ 0 w 6"/>
                <a:gd name="T1" fmla="*/ 0 h 6"/>
                <a:gd name="T2" fmla="*/ 0 w 6"/>
                <a:gd name="T3" fmla="*/ 2147483647 h 6"/>
                <a:gd name="T4" fmla="*/ 2147483647 w 6"/>
                <a:gd name="T5" fmla="*/ 2147483647 h 6"/>
                <a:gd name="T6" fmla="*/ 2147483647 w 6"/>
                <a:gd name="T7" fmla="*/ 0 h 6"/>
                <a:gd name="T8" fmla="*/ 0 w 6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"/>
                <a:gd name="T16" fmla="*/ 0 h 6"/>
                <a:gd name="T17" fmla="*/ 6 w 6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" h="6">
                  <a:moveTo>
                    <a:pt x="0" y="0"/>
                  </a:moveTo>
                  <a:lnTo>
                    <a:pt x="0" y="6"/>
                  </a:lnTo>
                  <a:lnTo>
                    <a:pt x="6" y="3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91" name="Freeform 220"/>
            <p:cNvSpPr>
              <a:spLocks noChangeAspect="1"/>
            </p:cNvSpPr>
            <p:nvPr/>
          </p:nvSpPr>
          <p:spPr bwMode="gray">
            <a:xfrm>
              <a:off x="7406154" y="4118031"/>
              <a:ext cx="127836" cy="91541"/>
            </a:xfrm>
            <a:custGeom>
              <a:avLst/>
              <a:gdLst>
                <a:gd name="T0" fmla="*/ 2147483647 w 49"/>
                <a:gd name="T1" fmla="*/ 2147483647 h 32"/>
                <a:gd name="T2" fmla="*/ 2147483647 w 49"/>
                <a:gd name="T3" fmla="*/ 2147483647 h 32"/>
                <a:gd name="T4" fmla="*/ 2147483647 w 49"/>
                <a:gd name="T5" fmla="*/ 2147483647 h 32"/>
                <a:gd name="T6" fmla="*/ 2147483647 w 49"/>
                <a:gd name="T7" fmla="*/ 2147483647 h 32"/>
                <a:gd name="T8" fmla="*/ 2147483647 w 49"/>
                <a:gd name="T9" fmla="*/ 2147483647 h 32"/>
                <a:gd name="T10" fmla="*/ 2147483647 w 49"/>
                <a:gd name="T11" fmla="*/ 2147483647 h 32"/>
                <a:gd name="T12" fmla="*/ 2147483647 w 49"/>
                <a:gd name="T13" fmla="*/ 0 h 32"/>
                <a:gd name="T14" fmla="*/ 2147483647 w 49"/>
                <a:gd name="T15" fmla="*/ 2147483647 h 32"/>
                <a:gd name="T16" fmla="*/ 2147483647 w 49"/>
                <a:gd name="T17" fmla="*/ 2147483647 h 32"/>
                <a:gd name="T18" fmla="*/ 2147483647 w 49"/>
                <a:gd name="T19" fmla="*/ 2147483647 h 32"/>
                <a:gd name="T20" fmla="*/ 2147483647 w 49"/>
                <a:gd name="T21" fmla="*/ 0 h 32"/>
                <a:gd name="T22" fmla="*/ 2147483647 w 49"/>
                <a:gd name="T23" fmla="*/ 0 h 32"/>
                <a:gd name="T24" fmla="*/ 0 w 49"/>
                <a:gd name="T25" fmla="*/ 2147483647 h 32"/>
                <a:gd name="T26" fmla="*/ 0 w 49"/>
                <a:gd name="T27" fmla="*/ 2147483647 h 32"/>
                <a:gd name="T28" fmla="*/ 0 w 49"/>
                <a:gd name="T29" fmla="*/ 2147483647 h 32"/>
                <a:gd name="T30" fmla="*/ 0 w 49"/>
                <a:gd name="T31" fmla="*/ 2147483647 h 32"/>
                <a:gd name="T32" fmla="*/ 2147483647 w 49"/>
                <a:gd name="T33" fmla="*/ 2147483647 h 32"/>
                <a:gd name="T34" fmla="*/ 2147483647 w 49"/>
                <a:gd name="T35" fmla="*/ 2147483647 h 32"/>
                <a:gd name="T36" fmla="*/ 2147483647 w 49"/>
                <a:gd name="T37" fmla="*/ 2147483647 h 32"/>
                <a:gd name="T38" fmla="*/ 2147483647 w 49"/>
                <a:gd name="T39" fmla="*/ 2147483647 h 32"/>
                <a:gd name="T40" fmla="*/ 2147483647 w 49"/>
                <a:gd name="T41" fmla="*/ 2147483647 h 32"/>
                <a:gd name="T42" fmla="*/ 2147483647 w 49"/>
                <a:gd name="T43" fmla="*/ 2147483647 h 32"/>
                <a:gd name="T44" fmla="*/ 2147483647 w 49"/>
                <a:gd name="T45" fmla="*/ 2147483647 h 32"/>
                <a:gd name="T46" fmla="*/ 2147483647 w 49"/>
                <a:gd name="T47" fmla="*/ 2147483647 h 32"/>
                <a:gd name="T48" fmla="*/ 2147483647 w 49"/>
                <a:gd name="T49" fmla="*/ 2147483647 h 32"/>
                <a:gd name="T50" fmla="*/ 2147483647 w 49"/>
                <a:gd name="T51" fmla="*/ 2147483647 h 32"/>
                <a:gd name="T52" fmla="*/ 2147483647 w 49"/>
                <a:gd name="T53" fmla="*/ 2147483647 h 32"/>
                <a:gd name="T54" fmla="*/ 2147483647 w 49"/>
                <a:gd name="T55" fmla="*/ 2147483647 h 32"/>
                <a:gd name="T56" fmla="*/ 2147483647 w 49"/>
                <a:gd name="T57" fmla="*/ 2147483647 h 32"/>
                <a:gd name="T58" fmla="*/ 2147483647 w 49"/>
                <a:gd name="T59" fmla="*/ 2147483647 h 32"/>
                <a:gd name="T60" fmla="*/ 2147483647 w 49"/>
                <a:gd name="T61" fmla="*/ 2147483647 h 32"/>
                <a:gd name="T62" fmla="*/ 2147483647 w 49"/>
                <a:gd name="T63" fmla="*/ 2147483647 h 32"/>
                <a:gd name="T64" fmla="*/ 2147483647 w 49"/>
                <a:gd name="T65" fmla="*/ 2147483647 h 32"/>
                <a:gd name="T66" fmla="*/ 2147483647 w 49"/>
                <a:gd name="T67" fmla="*/ 2147483647 h 32"/>
                <a:gd name="T68" fmla="*/ 2147483647 w 49"/>
                <a:gd name="T69" fmla="*/ 2147483647 h 32"/>
                <a:gd name="T70" fmla="*/ 2147483647 w 49"/>
                <a:gd name="T71" fmla="*/ 2147483647 h 32"/>
                <a:gd name="T72" fmla="*/ 2147483647 w 49"/>
                <a:gd name="T73" fmla="*/ 0 h 32"/>
                <a:gd name="T74" fmla="*/ 2147483647 w 49"/>
                <a:gd name="T75" fmla="*/ 0 h 32"/>
                <a:gd name="T76" fmla="*/ 2147483647 w 49"/>
                <a:gd name="T77" fmla="*/ 0 h 32"/>
                <a:gd name="T78" fmla="*/ 2147483647 w 49"/>
                <a:gd name="T79" fmla="*/ 2147483647 h 32"/>
                <a:gd name="T80" fmla="*/ 2147483647 w 49"/>
                <a:gd name="T81" fmla="*/ 2147483647 h 32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49"/>
                <a:gd name="T124" fmla="*/ 0 h 32"/>
                <a:gd name="T125" fmla="*/ 49 w 49"/>
                <a:gd name="T126" fmla="*/ 32 h 32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49" h="32">
                  <a:moveTo>
                    <a:pt x="37" y="3"/>
                  </a:moveTo>
                  <a:lnTo>
                    <a:pt x="37" y="3"/>
                  </a:lnTo>
                  <a:lnTo>
                    <a:pt x="35" y="6"/>
                  </a:lnTo>
                  <a:lnTo>
                    <a:pt x="29" y="6"/>
                  </a:lnTo>
                  <a:lnTo>
                    <a:pt x="17" y="3"/>
                  </a:lnTo>
                  <a:lnTo>
                    <a:pt x="12" y="0"/>
                  </a:lnTo>
                  <a:lnTo>
                    <a:pt x="9" y="6"/>
                  </a:lnTo>
                  <a:lnTo>
                    <a:pt x="6" y="3"/>
                  </a:lnTo>
                  <a:lnTo>
                    <a:pt x="6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0" y="12"/>
                  </a:lnTo>
                  <a:lnTo>
                    <a:pt x="9" y="15"/>
                  </a:lnTo>
                  <a:lnTo>
                    <a:pt x="17" y="20"/>
                  </a:lnTo>
                  <a:lnTo>
                    <a:pt x="20" y="20"/>
                  </a:lnTo>
                  <a:lnTo>
                    <a:pt x="23" y="23"/>
                  </a:lnTo>
                  <a:lnTo>
                    <a:pt x="26" y="23"/>
                  </a:lnTo>
                  <a:lnTo>
                    <a:pt x="29" y="23"/>
                  </a:lnTo>
                  <a:lnTo>
                    <a:pt x="32" y="29"/>
                  </a:lnTo>
                  <a:lnTo>
                    <a:pt x="37" y="32"/>
                  </a:lnTo>
                  <a:lnTo>
                    <a:pt x="43" y="29"/>
                  </a:lnTo>
                  <a:lnTo>
                    <a:pt x="46" y="26"/>
                  </a:lnTo>
                  <a:lnTo>
                    <a:pt x="43" y="20"/>
                  </a:lnTo>
                  <a:lnTo>
                    <a:pt x="46" y="15"/>
                  </a:lnTo>
                  <a:lnTo>
                    <a:pt x="46" y="6"/>
                  </a:lnTo>
                  <a:lnTo>
                    <a:pt x="49" y="3"/>
                  </a:lnTo>
                  <a:lnTo>
                    <a:pt x="46" y="0"/>
                  </a:lnTo>
                  <a:lnTo>
                    <a:pt x="40" y="0"/>
                  </a:lnTo>
                  <a:lnTo>
                    <a:pt x="37" y="3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92" name="Freeform 212"/>
            <p:cNvSpPr>
              <a:spLocks noChangeAspect="1"/>
            </p:cNvSpPr>
            <p:nvPr/>
          </p:nvSpPr>
          <p:spPr bwMode="gray">
            <a:xfrm>
              <a:off x="7341253" y="3521363"/>
              <a:ext cx="236006" cy="141172"/>
            </a:xfrm>
            <a:custGeom>
              <a:avLst/>
              <a:gdLst>
                <a:gd name="T0" fmla="*/ 2147483647 w 348"/>
                <a:gd name="T1" fmla="*/ 2147483647 h 185"/>
                <a:gd name="T2" fmla="*/ 2147483647 w 348"/>
                <a:gd name="T3" fmla="*/ 2147483647 h 185"/>
                <a:gd name="T4" fmla="*/ 2147483647 w 348"/>
                <a:gd name="T5" fmla="*/ 2147483647 h 185"/>
                <a:gd name="T6" fmla="*/ 2147483647 w 348"/>
                <a:gd name="T7" fmla="*/ 2147483647 h 185"/>
                <a:gd name="T8" fmla="*/ 2147483647 w 348"/>
                <a:gd name="T9" fmla="*/ 2147483647 h 185"/>
                <a:gd name="T10" fmla="*/ 2147483647 w 348"/>
                <a:gd name="T11" fmla="*/ 2147483647 h 185"/>
                <a:gd name="T12" fmla="*/ 2147483647 w 348"/>
                <a:gd name="T13" fmla="*/ 2147483647 h 185"/>
                <a:gd name="T14" fmla="*/ 2147483647 w 348"/>
                <a:gd name="T15" fmla="*/ 2147483647 h 185"/>
                <a:gd name="T16" fmla="*/ 2147483647 w 348"/>
                <a:gd name="T17" fmla="*/ 2147483647 h 185"/>
                <a:gd name="T18" fmla="*/ 2147483647 w 348"/>
                <a:gd name="T19" fmla="*/ 2147483647 h 185"/>
                <a:gd name="T20" fmla="*/ 2147483647 w 348"/>
                <a:gd name="T21" fmla="*/ 2147483647 h 185"/>
                <a:gd name="T22" fmla="*/ 2147483647 w 348"/>
                <a:gd name="T23" fmla="*/ 2147483647 h 185"/>
                <a:gd name="T24" fmla="*/ 2147483647 w 348"/>
                <a:gd name="T25" fmla="*/ 2147483647 h 185"/>
                <a:gd name="T26" fmla="*/ 2147483647 w 348"/>
                <a:gd name="T27" fmla="*/ 2147483647 h 185"/>
                <a:gd name="T28" fmla="*/ 2147483647 w 348"/>
                <a:gd name="T29" fmla="*/ 2147483647 h 185"/>
                <a:gd name="T30" fmla="*/ 2147483647 w 348"/>
                <a:gd name="T31" fmla="*/ 2147483647 h 185"/>
                <a:gd name="T32" fmla="*/ 2147483647 w 348"/>
                <a:gd name="T33" fmla="*/ 2147483647 h 185"/>
                <a:gd name="T34" fmla="*/ 0 w 348"/>
                <a:gd name="T35" fmla="*/ 2147483647 h 185"/>
                <a:gd name="T36" fmla="*/ 2147483647 w 348"/>
                <a:gd name="T37" fmla="*/ 2147483647 h 185"/>
                <a:gd name="T38" fmla="*/ 2147483647 w 348"/>
                <a:gd name="T39" fmla="*/ 2147483647 h 185"/>
                <a:gd name="T40" fmla="*/ 2147483647 w 348"/>
                <a:gd name="T41" fmla="*/ 2147483647 h 185"/>
                <a:gd name="T42" fmla="*/ 2147483647 w 348"/>
                <a:gd name="T43" fmla="*/ 2147483647 h 185"/>
                <a:gd name="T44" fmla="*/ 2147483647 w 348"/>
                <a:gd name="T45" fmla="*/ 2147483647 h 185"/>
                <a:gd name="T46" fmla="*/ 2147483647 w 348"/>
                <a:gd name="T47" fmla="*/ 2147483647 h 185"/>
                <a:gd name="T48" fmla="*/ 2147483647 w 348"/>
                <a:gd name="T49" fmla="*/ 2147483647 h 185"/>
                <a:gd name="T50" fmla="*/ 2147483647 w 348"/>
                <a:gd name="T51" fmla="*/ 2147483647 h 185"/>
                <a:gd name="T52" fmla="*/ 2147483647 w 348"/>
                <a:gd name="T53" fmla="*/ 2147483647 h 185"/>
                <a:gd name="T54" fmla="*/ 2147483647 w 348"/>
                <a:gd name="T55" fmla="*/ 2147483647 h 185"/>
                <a:gd name="T56" fmla="*/ 2147483647 w 348"/>
                <a:gd name="T57" fmla="*/ 2147483647 h 185"/>
                <a:gd name="T58" fmla="*/ 2147483647 w 348"/>
                <a:gd name="T59" fmla="*/ 2147483647 h 185"/>
                <a:gd name="T60" fmla="*/ 2147483647 w 348"/>
                <a:gd name="T61" fmla="*/ 2147483647 h 185"/>
                <a:gd name="T62" fmla="*/ 2147483647 w 348"/>
                <a:gd name="T63" fmla="*/ 2147483647 h 185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348"/>
                <a:gd name="T97" fmla="*/ 0 h 185"/>
                <a:gd name="T98" fmla="*/ 92 w 348"/>
                <a:gd name="T99" fmla="*/ 66 h 185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348" h="185">
                  <a:moveTo>
                    <a:pt x="308" y="157"/>
                  </a:moveTo>
                  <a:lnTo>
                    <a:pt x="306" y="143"/>
                  </a:lnTo>
                  <a:lnTo>
                    <a:pt x="318" y="143"/>
                  </a:lnTo>
                  <a:lnTo>
                    <a:pt x="318" y="120"/>
                  </a:lnTo>
                  <a:lnTo>
                    <a:pt x="325" y="109"/>
                  </a:lnTo>
                  <a:lnTo>
                    <a:pt x="318" y="98"/>
                  </a:lnTo>
                  <a:lnTo>
                    <a:pt x="325" y="86"/>
                  </a:lnTo>
                  <a:lnTo>
                    <a:pt x="348" y="86"/>
                  </a:lnTo>
                  <a:lnTo>
                    <a:pt x="348" y="68"/>
                  </a:lnTo>
                  <a:lnTo>
                    <a:pt x="337" y="34"/>
                  </a:lnTo>
                  <a:lnTo>
                    <a:pt x="325" y="23"/>
                  </a:lnTo>
                  <a:lnTo>
                    <a:pt x="318" y="23"/>
                  </a:lnTo>
                  <a:lnTo>
                    <a:pt x="295" y="34"/>
                  </a:lnTo>
                  <a:lnTo>
                    <a:pt x="295" y="23"/>
                  </a:lnTo>
                  <a:lnTo>
                    <a:pt x="272" y="11"/>
                  </a:lnTo>
                  <a:lnTo>
                    <a:pt x="250" y="11"/>
                  </a:lnTo>
                  <a:lnTo>
                    <a:pt x="238" y="0"/>
                  </a:lnTo>
                  <a:lnTo>
                    <a:pt x="231" y="11"/>
                  </a:lnTo>
                  <a:lnTo>
                    <a:pt x="219" y="34"/>
                  </a:lnTo>
                  <a:lnTo>
                    <a:pt x="174" y="34"/>
                  </a:lnTo>
                  <a:lnTo>
                    <a:pt x="163" y="34"/>
                  </a:lnTo>
                  <a:lnTo>
                    <a:pt x="151" y="34"/>
                  </a:lnTo>
                  <a:lnTo>
                    <a:pt x="132" y="56"/>
                  </a:lnTo>
                  <a:lnTo>
                    <a:pt x="121" y="56"/>
                  </a:lnTo>
                  <a:lnTo>
                    <a:pt x="121" y="68"/>
                  </a:lnTo>
                  <a:lnTo>
                    <a:pt x="132" y="98"/>
                  </a:lnTo>
                  <a:lnTo>
                    <a:pt x="132" y="120"/>
                  </a:lnTo>
                  <a:lnTo>
                    <a:pt x="121" y="109"/>
                  </a:lnTo>
                  <a:lnTo>
                    <a:pt x="110" y="109"/>
                  </a:lnTo>
                  <a:lnTo>
                    <a:pt x="76" y="109"/>
                  </a:lnTo>
                  <a:lnTo>
                    <a:pt x="34" y="120"/>
                  </a:lnTo>
                  <a:lnTo>
                    <a:pt x="0" y="120"/>
                  </a:lnTo>
                  <a:lnTo>
                    <a:pt x="0" y="143"/>
                  </a:lnTo>
                  <a:lnTo>
                    <a:pt x="11" y="143"/>
                  </a:lnTo>
                  <a:lnTo>
                    <a:pt x="59" y="140"/>
                  </a:lnTo>
                  <a:lnTo>
                    <a:pt x="79" y="137"/>
                  </a:lnTo>
                  <a:lnTo>
                    <a:pt x="94" y="158"/>
                  </a:lnTo>
                  <a:lnTo>
                    <a:pt x="101" y="178"/>
                  </a:lnTo>
                  <a:lnTo>
                    <a:pt x="128" y="182"/>
                  </a:lnTo>
                  <a:lnTo>
                    <a:pt x="202" y="185"/>
                  </a:lnTo>
                  <a:lnTo>
                    <a:pt x="307" y="160"/>
                  </a:lnTo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93" name="Freeform 215"/>
            <p:cNvSpPr>
              <a:spLocks noChangeAspect="1"/>
            </p:cNvSpPr>
            <p:nvPr/>
          </p:nvSpPr>
          <p:spPr bwMode="gray">
            <a:xfrm>
              <a:off x="7341253" y="3140862"/>
              <a:ext cx="59001" cy="83820"/>
            </a:xfrm>
            <a:custGeom>
              <a:avLst/>
              <a:gdLst>
                <a:gd name="T0" fmla="*/ 1 w 138515"/>
                <a:gd name="T1" fmla="*/ 0 h 174542"/>
                <a:gd name="T2" fmla="*/ 1 w 138515"/>
                <a:gd name="T3" fmla="*/ 1 h 174542"/>
                <a:gd name="T4" fmla="*/ 1 w 138515"/>
                <a:gd name="T5" fmla="*/ 1 h 174542"/>
                <a:gd name="T6" fmla="*/ 1 w 138515"/>
                <a:gd name="T7" fmla="*/ 1 h 174542"/>
                <a:gd name="T8" fmla="*/ 1 w 138515"/>
                <a:gd name="T9" fmla="*/ 1 h 174542"/>
                <a:gd name="T10" fmla="*/ 1 w 138515"/>
                <a:gd name="T11" fmla="*/ 1 h 174542"/>
                <a:gd name="T12" fmla="*/ 1 w 138515"/>
                <a:gd name="T13" fmla="*/ 1 h 174542"/>
                <a:gd name="T14" fmla="*/ 1 w 138515"/>
                <a:gd name="T15" fmla="*/ 1 h 174542"/>
                <a:gd name="T16" fmla="*/ 1 w 138515"/>
                <a:gd name="T17" fmla="*/ 1 h 174542"/>
                <a:gd name="T18" fmla="*/ 1 w 138515"/>
                <a:gd name="T19" fmla="*/ 1 h 174542"/>
                <a:gd name="T20" fmla="*/ 1 w 138515"/>
                <a:gd name="T21" fmla="*/ 1 h 174542"/>
                <a:gd name="T22" fmla="*/ 0 w 138515"/>
                <a:gd name="T23" fmla="*/ 1 h 174542"/>
                <a:gd name="T24" fmla="*/ 1 w 138515"/>
                <a:gd name="T25" fmla="*/ 1 h 174542"/>
                <a:gd name="T26" fmla="*/ 1 w 138515"/>
                <a:gd name="T27" fmla="*/ 1 h 174542"/>
                <a:gd name="T28" fmla="*/ 1 w 138515"/>
                <a:gd name="T29" fmla="*/ 1 h 174542"/>
                <a:gd name="T30" fmla="*/ 1 w 138515"/>
                <a:gd name="T31" fmla="*/ 0 h 174542"/>
                <a:gd name="T32" fmla="*/ 1 w 138515"/>
                <a:gd name="T33" fmla="*/ 1 h 174542"/>
                <a:gd name="T34" fmla="*/ 1 w 138515"/>
                <a:gd name="T35" fmla="*/ 0 h 17454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38515"/>
                <a:gd name="T55" fmla="*/ 0 h 174542"/>
                <a:gd name="T56" fmla="*/ 138515 w 138515"/>
                <a:gd name="T57" fmla="*/ 174542 h 174542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38515" h="174542">
                  <a:moveTo>
                    <a:pt x="138515" y="0"/>
                  </a:moveTo>
                  <a:lnTo>
                    <a:pt x="138515" y="36075"/>
                  </a:lnTo>
                  <a:lnTo>
                    <a:pt x="120408" y="72150"/>
                  </a:lnTo>
                  <a:lnTo>
                    <a:pt x="108438" y="108379"/>
                  </a:lnTo>
                  <a:lnTo>
                    <a:pt x="138515" y="120353"/>
                  </a:lnTo>
                  <a:lnTo>
                    <a:pt x="108438" y="156428"/>
                  </a:lnTo>
                  <a:lnTo>
                    <a:pt x="54118" y="174542"/>
                  </a:lnTo>
                  <a:lnTo>
                    <a:pt x="18006" y="138467"/>
                  </a:lnTo>
                  <a:lnTo>
                    <a:pt x="72325" y="138467"/>
                  </a:lnTo>
                  <a:lnTo>
                    <a:pt x="54118" y="108379"/>
                  </a:lnTo>
                  <a:lnTo>
                    <a:pt x="18006" y="90265"/>
                  </a:lnTo>
                  <a:cubicBezTo>
                    <a:pt x="11971" y="78291"/>
                    <a:pt x="6036" y="66163"/>
                    <a:pt x="0" y="54189"/>
                  </a:cubicBezTo>
                  <a:lnTo>
                    <a:pt x="18006" y="36075"/>
                  </a:lnTo>
                  <a:lnTo>
                    <a:pt x="54118" y="17961"/>
                  </a:lnTo>
                  <a:lnTo>
                    <a:pt x="90331" y="36075"/>
                  </a:lnTo>
                  <a:lnTo>
                    <a:pt x="120408" y="0"/>
                  </a:lnTo>
                  <a:lnTo>
                    <a:pt x="138515" y="17961"/>
                  </a:lnTo>
                  <a:lnTo>
                    <a:pt x="138515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  <a:extLst/>
          </p:spPr>
          <p:txBody>
            <a:bodyPr/>
            <a:lstStyle/>
            <a:p>
              <a:endParaRPr lang="de-DE"/>
            </a:p>
          </p:txBody>
        </p:sp>
        <p:sp>
          <p:nvSpPr>
            <p:cNvPr id="94" name="Oval 125"/>
            <p:cNvSpPr>
              <a:spLocks noChangeArrowheads="1"/>
            </p:cNvSpPr>
            <p:nvPr/>
          </p:nvSpPr>
          <p:spPr bwMode="gray">
            <a:xfrm>
              <a:off x="7648885" y="3596081"/>
              <a:ext cx="33178" cy="3721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/>
          </p:spPr>
          <p:txBody>
            <a:bodyPr wrap="none" anchor="ctr"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de-DE">
                <a:latin typeface="Tele-GroteskFet" charset="0"/>
              </a:endParaRPr>
            </a:p>
          </p:txBody>
        </p:sp>
        <p:sp>
          <p:nvSpPr>
            <p:cNvPr id="95" name="Oval 129"/>
            <p:cNvSpPr>
              <a:spLocks noChangeArrowheads="1"/>
            </p:cNvSpPr>
            <p:nvPr/>
          </p:nvSpPr>
          <p:spPr bwMode="gray">
            <a:xfrm>
              <a:off x="7720101" y="3588760"/>
              <a:ext cx="33178" cy="3845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/>
          </p:spPr>
          <p:txBody>
            <a:bodyPr wrap="none" anchor="ctr"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de-DE">
                <a:latin typeface="Tele-GroteskFet" charset="0"/>
              </a:endParaRPr>
            </a:p>
          </p:txBody>
        </p:sp>
        <p:sp>
          <p:nvSpPr>
            <p:cNvPr id="96" name="Oval 129"/>
            <p:cNvSpPr>
              <a:spLocks noChangeArrowheads="1"/>
            </p:cNvSpPr>
            <p:nvPr/>
          </p:nvSpPr>
          <p:spPr bwMode="gray">
            <a:xfrm>
              <a:off x="7604243" y="3634481"/>
              <a:ext cx="33178" cy="3845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/>
          </p:spPr>
          <p:txBody>
            <a:bodyPr wrap="none" anchor="ctr"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de-DE">
                <a:latin typeface="Tele-GroteskFet" charset="0"/>
              </a:endParaRPr>
            </a:p>
          </p:txBody>
        </p:sp>
        <p:sp>
          <p:nvSpPr>
            <p:cNvPr id="97" name="Oval 125"/>
            <p:cNvSpPr>
              <a:spLocks noChangeArrowheads="1"/>
            </p:cNvSpPr>
            <p:nvPr/>
          </p:nvSpPr>
          <p:spPr bwMode="gray">
            <a:xfrm>
              <a:off x="7677561" y="3626857"/>
              <a:ext cx="33178" cy="3721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/>
          </p:spPr>
          <p:txBody>
            <a:bodyPr wrap="none" anchor="ctr"/>
            <a:lstStyle/>
            <a:p>
              <a:pPr algn="ctr">
                <a:lnSpc>
                  <a:spcPct val="90000"/>
                </a:lnSpc>
                <a:spcBef>
                  <a:spcPct val="50000"/>
                </a:spcBef>
                <a:buSzPct val="75000"/>
                <a:defRPr/>
              </a:pPr>
              <a:endParaRPr lang="de-DE">
                <a:latin typeface="Tele-GroteskFet" charset="0"/>
              </a:endParaRPr>
            </a:p>
          </p:txBody>
        </p:sp>
      </p:grp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079" y="395053"/>
            <a:ext cx="8391428" cy="4795102"/>
          </a:xfrm>
          <a:prstGeom prst="rect">
            <a:avLst/>
          </a:prstGeom>
        </p:spPr>
      </p:pic>
      <p:sp>
        <p:nvSpPr>
          <p:cNvPr id="9" name="Rectangle 35"/>
          <p:cNvSpPr>
            <a:spLocks noChangeArrowheads="1"/>
          </p:cNvSpPr>
          <p:nvPr/>
        </p:nvSpPr>
        <p:spPr bwMode="auto">
          <a:xfrm>
            <a:off x="298800" y="194400"/>
            <a:ext cx="8015288" cy="4726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hu-HU" sz="2800" cap="all" dirty="0" smtClean="0">
                <a:solidFill>
                  <a:schemeClr val="bg1"/>
                </a:solidFill>
                <a:latin typeface="Tele-GroteskUlt"/>
              </a:rPr>
              <a:t>10 </a:t>
            </a:r>
            <a:r>
              <a:rPr lang="hu-HU" sz="2800" cap="all" dirty="0" smtClean="0">
                <a:solidFill>
                  <a:schemeClr val="bg1"/>
                </a:solidFill>
                <a:latin typeface="Tele-GroteskUlt"/>
              </a:rPr>
              <a:t>ÉV ITSH</a:t>
            </a:r>
            <a:endParaRPr lang="en-US" sz="2800" cap="all" dirty="0">
              <a:solidFill>
                <a:schemeClr val="bg1"/>
              </a:solidFill>
              <a:latin typeface="Tele-GroteskUlt"/>
            </a:endParaRPr>
          </a:p>
        </p:txBody>
      </p:sp>
    </p:spTree>
    <p:extLst>
      <p:ext uri="{BB962C8B-B14F-4D97-AF65-F5344CB8AC3E}">
        <p14:creationId xmlns:p14="http://schemas.microsoft.com/office/powerpoint/2010/main" val="17535782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714" y="1198"/>
          <a:ext cx="119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5017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0" name="Object 4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714" y="1198"/>
                        <a:ext cx="1190" cy="119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3"/>
            </p:custDataLst>
          </p:nvPr>
        </p:nvSpPr>
        <p:spPr bwMode="gray">
          <a:xfrm>
            <a:off x="1143524" y="0"/>
            <a:ext cx="119044" cy="119062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62650">
              <a:lnSpc>
                <a:spcPct val="100000"/>
              </a:lnSpc>
              <a:spcBef>
                <a:spcPct val="0"/>
              </a:spcBef>
              <a:buClr>
                <a:srgbClr val="E20074"/>
              </a:buClr>
            </a:pPr>
            <a:endParaRPr lang="en-US" sz="1200" dirty="0" err="1">
              <a:solidFill>
                <a:srgbClr val="000000"/>
              </a:solidFill>
              <a:latin typeface="Tele-GroteskNor"/>
              <a:sym typeface="Tele-GroteskNor"/>
            </a:endParaRPr>
          </a:p>
        </p:txBody>
      </p:sp>
      <p:sp>
        <p:nvSpPr>
          <p:cNvPr id="140" name="Rechteck 139"/>
          <p:cNvSpPr/>
          <p:nvPr/>
        </p:nvSpPr>
        <p:spPr>
          <a:xfrm>
            <a:off x="0" y="0"/>
            <a:ext cx="3438000" cy="5143500"/>
          </a:xfrm>
          <a:prstGeom prst="rect">
            <a:avLst/>
          </a:prstGeom>
          <a:solidFill>
            <a:schemeClr val="tx1"/>
          </a:solidFill>
        </p:spPr>
        <p:txBody>
          <a:bodyPr wrap="square" lIns="36000" tIns="108000" rIns="36000" bIns="10800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>
                <a:srgbClr val="E20074"/>
              </a:buClr>
            </a:pPr>
            <a:endParaRPr lang="de-DE" sz="1200">
              <a:solidFill>
                <a:srgbClr val="000000"/>
              </a:solidFill>
              <a:latin typeface="Tele-GroteskNor"/>
              <a:sym typeface="Tele-GroteskNor"/>
            </a:endParaRPr>
          </a:p>
        </p:txBody>
      </p:sp>
      <p:grpSp>
        <p:nvGrpSpPr>
          <p:cNvPr id="4" name="Gruppieren 140"/>
          <p:cNvGrpSpPr/>
          <p:nvPr/>
        </p:nvGrpSpPr>
        <p:grpSpPr>
          <a:xfrm>
            <a:off x="333261" y="1313869"/>
            <a:ext cx="2841259" cy="2001412"/>
            <a:chOff x="333262" y="1559583"/>
            <a:chExt cx="2772000" cy="1654045"/>
          </a:xfrm>
        </p:grpSpPr>
        <p:cxnSp>
          <p:nvCxnSpPr>
            <p:cNvPr id="142" name="Gerade Verbindung 18"/>
            <p:cNvCxnSpPr/>
            <p:nvPr/>
          </p:nvCxnSpPr>
          <p:spPr>
            <a:xfrm flipH="1">
              <a:off x="333262" y="1559583"/>
              <a:ext cx="2772000" cy="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</p:cxnSp>
        <p:cxnSp>
          <p:nvCxnSpPr>
            <p:cNvPr id="143" name="Gerade Verbindung 18"/>
            <p:cNvCxnSpPr/>
            <p:nvPr/>
          </p:nvCxnSpPr>
          <p:spPr>
            <a:xfrm flipH="1">
              <a:off x="333262" y="3213628"/>
              <a:ext cx="2772000" cy="0"/>
            </a:xfrm>
            <a:prstGeom prst="lin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</p:cxnSp>
      </p:grpSp>
      <p:sp>
        <p:nvSpPr>
          <p:cNvPr id="144" name="Rechteck 143"/>
          <p:cNvSpPr/>
          <p:nvPr/>
        </p:nvSpPr>
        <p:spPr>
          <a:xfrm>
            <a:off x="34325" y="2449800"/>
            <a:ext cx="3473793" cy="72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lvl="0" algn="ctr" defTabSz="457054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defRPr/>
            </a:pPr>
            <a:r>
              <a:rPr lang="en-US" sz="5400" cap="all" dirty="0" smtClean="0">
                <a:solidFill>
                  <a:schemeClr val="tx2"/>
                </a:solidFill>
                <a:latin typeface="TeleGrotesk Headline Ultra" pitchFamily="2" charset="0"/>
              </a:rPr>
              <a:t>ARE READY</a:t>
            </a:r>
            <a:endParaRPr lang="en-US" sz="5400" cap="all" dirty="0">
              <a:solidFill>
                <a:schemeClr val="tx2"/>
              </a:solidFill>
              <a:latin typeface="TeleGrotesk Headline Ultra" pitchFamily="2" charset="0"/>
            </a:endParaRPr>
          </a:p>
        </p:txBody>
      </p:sp>
      <p:sp>
        <p:nvSpPr>
          <p:cNvPr id="145" name="Rechteck 144"/>
          <p:cNvSpPr/>
          <p:nvPr/>
        </p:nvSpPr>
        <p:spPr>
          <a:xfrm>
            <a:off x="-16045" y="1331986"/>
            <a:ext cx="3473793" cy="72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lvl="0" algn="ctr" defTabSz="457054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defRPr/>
            </a:pPr>
            <a:r>
              <a:rPr lang="en-US" sz="4800" cap="all" dirty="0" smtClean="0">
                <a:solidFill>
                  <a:srgbClr val="FFFFFF"/>
                </a:solidFill>
                <a:latin typeface="TeleGrotesk Headline" pitchFamily="2" charset="0"/>
              </a:rPr>
              <a:t>Our</a:t>
            </a:r>
            <a:endParaRPr lang="en-US" sz="4800" cap="all" dirty="0">
              <a:solidFill>
                <a:srgbClr val="FFFFFF"/>
              </a:solidFill>
              <a:latin typeface="TeleGrotesk Headline" pitchFamily="2" charset="0"/>
            </a:endParaRPr>
          </a:p>
        </p:txBody>
      </p:sp>
      <p:sp>
        <p:nvSpPr>
          <p:cNvPr id="146" name="Rechteck 145"/>
          <p:cNvSpPr/>
          <p:nvPr/>
        </p:nvSpPr>
        <p:spPr>
          <a:xfrm>
            <a:off x="-16045" y="1871843"/>
            <a:ext cx="3473793" cy="720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lvl="0" algn="ctr" defTabSz="457054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defRPr/>
            </a:pPr>
            <a:r>
              <a:rPr lang="en-US" sz="4700" cap="all" dirty="0" smtClean="0">
                <a:solidFill>
                  <a:schemeClr val="bg1"/>
                </a:solidFill>
                <a:latin typeface="TeleGrotesk Headline Ultra" pitchFamily="2" charset="0"/>
              </a:rPr>
              <a:t>Platforms</a:t>
            </a:r>
            <a:endParaRPr lang="en-US" sz="4700" cap="all" dirty="0">
              <a:solidFill>
                <a:schemeClr val="bg1"/>
              </a:solidFill>
              <a:latin typeface="TeleGrotesk Headline Ultra" pitchFamily="2" charset="0"/>
            </a:endParaRPr>
          </a:p>
        </p:txBody>
      </p:sp>
      <p:sp>
        <p:nvSpPr>
          <p:cNvPr id="147" name="Rechteck 146"/>
          <p:cNvSpPr/>
          <p:nvPr/>
        </p:nvSpPr>
        <p:spPr>
          <a:xfrm>
            <a:off x="-16045" y="2461341"/>
            <a:ext cx="3473793" cy="581882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ctr" defTabSz="457054">
              <a:lnSpc>
                <a:spcPct val="75000"/>
              </a:lnSpc>
              <a:spcBef>
                <a:spcPct val="0"/>
              </a:spcBef>
              <a:spcAft>
                <a:spcPts val="0"/>
              </a:spcAft>
              <a:buClrTx/>
              <a:buSzTx/>
              <a:defRPr/>
            </a:pPr>
            <a:endParaRPr lang="de-DE" sz="4800" cap="all" dirty="0">
              <a:solidFill>
                <a:srgbClr val="FFFFFF"/>
              </a:solidFill>
              <a:latin typeface="TeleGrotesk Headline Ultra" pitchFamily="2" charset="0"/>
              <a:sym typeface="Tele-GroteskNor"/>
            </a:endParaRPr>
          </a:p>
        </p:txBody>
      </p:sp>
      <p:pic>
        <p:nvPicPr>
          <p:cNvPr id="2644996" name="Picture 4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3770" y="95127"/>
            <a:ext cx="3762202" cy="24374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645000" name="Picture 8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8632" y="2604995"/>
            <a:ext cx="2292478" cy="24405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79583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9" name="Objekt 14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44468" y="1261"/>
          <a:ext cx="944" cy="12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10550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Object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468" y="1261"/>
                        <a:ext cx="944" cy="126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8" name="Rechteck 147" hidden="1"/>
          <p:cNvSpPr/>
          <p:nvPr>
            <p:custDataLst>
              <p:tags r:id="rId3"/>
            </p:custDataLst>
          </p:nvPr>
        </p:nvSpPr>
        <p:spPr bwMode="gray">
          <a:xfrm>
            <a:off x="1143525" y="0"/>
            <a:ext cx="94474" cy="126004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362834">
              <a:lnSpc>
                <a:spcPct val="90000"/>
              </a:lnSpc>
              <a:spcBef>
                <a:spcPct val="0"/>
              </a:spcBef>
              <a:buClr>
                <a:srgbClr val="E20074"/>
              </a:buClr>
            </a:pPr>
            <a:endParaRPr lang="de-DE" sz="1400" b="1" dirty="0" err="1">
              <a:solidFill>
                <a:srgbClr val="646464"/>
              </a:solidFill>
              <a:latin typeface="Tele-GroteskNor"/>
              <a:sym typeface="Tele-GroteskNor"/>
            </a:endParaRPr>
          </a:p>
        </p:txBody>
      </p:sp>
      <p:grpSp>
        <p:nvGrpSpPr>
          <p:cNvPr id="2" name="Gruppieren 4"/>
          <p:cNvGrpSpPr/>
          <p:nvPr/>
        </p:nvGrpSpPr>
        <p:grpSpPr>
          <a:xfrm rot="21300000">
            <a:off x="4099695" y="255641"/>
            <a:ext cx="3956074" cy="1604021"/>
            <a:chOff x="129782" y="2378841"/>
            <a:chExt cx="4016251" cy="419316"/>
          </a:xfrm>
          <a:solidFill>
            <a:schemeClr val="bg1"/>
          </a:solidFill>
        </p:grpSpPr>
        <p:grpSp>
          <p:nvGrpSpPr>
            <p:cNvPr id="3" name="Gruppieren 20"/>
            <p:cNvGrpSpPr/>
            <p:nvPr/>
          </p:nvGrpSpPr>
          <p:grpSpPr>
            <a:xfrm rot="5400000" flipV="1">
              <a:off x="2338699" y="990822"/>
              <a:ext cx="419315" cy="3195353"/>
              <a:chOff x="11171239" y="481014"/>
              <a:chExt cx="2244725" cy="928688"/>
            </a:xfrm>
            <a:grpFill/>
            <a:effectLst/>
          </p:grpSpPr>
          <p:sp>
            <p:nvSpPr>
              <p:cNvPr id="188" name="Freeform 123"/>
              <p:cNvSpPr>
                <a:spLocks noEditPoints="1"/>
              </p:cNvSpPr>
              <p:nvPr/>
            </p:nvSpPr>
            <p:spPr bwMode="auto">
              <a:xfrm>
                <a:off x="12192001" y="625476"/>
                <a:ext cx="203200" cy="735013"/>
              </a:xfrm>
              <a:custGeom>
                <a:avLst/>
                <a:gdLst>
                  <a:gd name="T0" fmla="*/ 7 w 128"/>
                  <a:gd name="T1" fmla="*/ 451 h 463"/>
                  <a:gd name="T2" fmla="*/ 2 w 128"/>
                  <a:gd name="T3" fmla="*/ 450 h 463"/>
                  <a:gd name="T4" fmla="*/ 1 w 128"/>
                  <a:gd name="T5" fmla="*/ 451 h 463"/>
                  <a:gd name="T6" fmla="*/ 0 w 128"/>
                  <a:gd name="T7" fmla="*/ 13 h 463"/>
                  <a:gd name="T8" fmla="*/ 59 w 128"/>
                  <a:gd name="T9" fmla="*/ 7 h 463"/>
                  <a:gd name="T10" fmla="*/ 127 w 128"/>
                  <a:gd name="T11" fmla="*/ 5 h 463"/>
                  <a:gd name="T12" fmla="*/ 127 w 128"/>
                  <a:gd name="T13" fmla="*/ 457 h 463"/>
                  <a:gd name="T14" fmla="*/ 119 w 128"/>
                  <a:gd name="T15" fmla="*/ 455 h 463"/>
                  <a:gd name="T16" fmla="*/ 117 w 128"/>
                  <a:gd name="T17" fmla="*/ 455 h 463"/>
                  <a:gd name="T18" fmla="*/ 111 w 128"/>
                  <a:gd name="T19" fmla="*/ 456 h 463"/>
                  <a:gd name="T20" fmla="*/ 101 w 128"/>
                  <a:gd name="T21" fmla="*/ 458 h 463"/>
                  <a:gd name="T22" fmla="*/ 98 w 128"/>
                  <a:gd name="T23" fmla="*/ 460 h 463"/>
                  <a:gd name="T24" fmla="*/ 93 w 128"/>
                  <a:gd name="T25" fmla="*/ 460 h 463"/>
                  <a:gd name="T26" fmla="*/ 87 w 128"/>
                  <a:gd name="T27" fmla="*/ 456 h 463"/>
                  <a:gd name="T28" fmla="*/ 84 w 128"/>
                  <a:gd name="T29" fmla="*/ 455 h 463"/>
                  <a:gd name="T30" fmla="*/ 79 w 128"/>
                  <a:gd name="T31" fmla="*/ 453 h 463"/>
                  <a:gd name="T32" fmla="*/ 76 w 128"/>
                  <a:gd name="T33" fmla="*/ 456 h 463"/>
                  <a:gd name="T34" fmla="*/ 71 w 128"/>
                  <a:gd name="T35" fmla="*/ 453 h 463"/>
                  <a:gd name="T36" fmla="*/ 69 w 128"/>
                  <a:gd name="T37" fmla="*/ 450 h 463"/>
                  <a:gd name="T38" fmla="*/ 67 w 128"/>
                  <a:gd name="T39" fmla="*/ 453 h 463"/>
                  <a:gd name="T40" fmla="*/ 62 w 128"/>
                  <a:gd name="T41" fmla="*/ 453 h 463"/>
                  <a:gd name="T42" fmla="*/ 61 w 128"/>
                  <a:gd name="T43" fmla="*/ 453 h 463"/>
                  <a:gd name="T44" fmla="*/ 57 w 128"/>
                  <a:gd name="T45" fmla="*/ 451 h 463"/>
                  <a:gd name="T46" fmla="*/ 52 w 128"/>
                  <a:gd name="T47" fmla="*/ 452 h 463"/>
                  <a:gd name="T48" fmla="*/ 50 w 128"/>
                  <a:gd name="T49" fmla="*/ 453 h 463"/>
                  <a:gd name="T50" fmla="*/ 45 w 128"/>
                  <a:gd name="T51" fmla="*/ 450 h 463"/>
                  <a:gd name="T52" fmla="*/ 43 w 128"/>
                  <a:gd name="T53" fmla="*/ 447 h 463"/>
                  <a:gd name="T54" fmla="*/ 41 w 128"/>
                  <a:gd name="T55" fmla="*/ 445 h 463"/>
                  <a:gd name="T56" fmla="*/ 36 w 128"/>
                  <a:gd name="T57" fmla="*/ 444 h 463"/>
                  <a:gd name="T58" fmla="*/ 36 w 128"/>
                  <a:gd name="T59" fmla="*/ 448 h 463"/>
                  <a:gd name="T60" fmla="*/ 32 w 128"/>
                  <a:gd name="T61" fmla="*/ 448 h 463"/>
                  <a:gd name="T62" fmla="*/ 24 w 128"/>
                  <a:gd name="T63" fmla="*/ 449 h 463"/>
                  <a:gd name="T64" fmla="*/ 19 w 128"/>
                  <a:gd name="T65" fmla="*/ 451 h 463"/>
                  <a:gd name="T66" fmla="*/ 9 w 128"/>
                  <a:gd name="T67" fmla="*/ 451 h 463"/>
                  <a:gd name="T68" fmla="*/ 6 w 128"/>
                  <a:gd name="T69" fmla="*/ 451 h 463"/>
                  <a:gd name="T70" fmla="*/ 3 w 128"/>
                  <a:gd name="T71" fmla="*/ 450 h 463"/>
                  <a:gd name="T72" fmla="*/ 2 w 128"/>
                  <a:gd name="T73" fmla="*/ 14 h 463"/>
                  <a:gd name="T74" fmla="*/ 9 w 128"/>
                  <a:gd name="T75" fmla="*/ 16 h 463"/>
                  <a:gd name="T76" fmla="*/ 17 w 128"/>
                  <a:gd name="T77" fmla="*/ 17 h 463"/>
                  <a:gd name="T78" fmla="*/ 21 w 128"/>
                  <a:gd name="T79" fmla="*/ 15 h 463"/>
                  <a:gd name="T80" fmla="*/ 29 w 128"/>
                  <a:gd name="T81" fmla="*/ 15 h 463"/>
                  <a:gd name="T82" fmla="*/ 34 w 128"/>
                  <a:gd name="T83" fmla="*/ 12 h 463"/>
                  <a:gd name="T84" fmla="*/ 42 w 128"/>
                  <a:gd name="T85" fmla="*/ 9 h 463"/>
                  <a:gd name="T86" fmla="*/ 44 w 128"/>
                  <a:gd name="T87" fmla="*/ 10 h 463"/>
                  <a:gd name="T88" fmla="*/ 48 w 128"/>
                  <a:gd name="T89" fmla="*/ 6 h 463"/>
                  <a:gd name="T90" fmla="*/ 53 w 128"/>
                  <a:gd name="T91" fmla="*/ 9 h 463"/>
                  <a:gd name="T92" fmla="*/ 61 w 128"/>
                  <a:gd name="T93" fmla="*/ 7 h 463"/>
                  <a:gd name="T94" fmla="*/ 66 w 128"/>
                  <a:gd name="T95" fmla="*/ 8 h 463"/>
                  <a:gd name="T96" fmla="*/ 70 w 128"/>
                  <a:gd name="T97" fmla="*/ 8 h 463"/>
                  <a:gd name="T98" fmla="*/ 73 w 128"/>
                  <a:gd name="T99" fmla="*/ 7 h 463"/>
                  <a:gd name="T100" fmla="*/ 76 w 128"/>
                  <a:gd name="T101" fmla="*/ 7 h 463"/>
                  <a:gd name="T102" fmla="*/ 79 w 128"/>
                  <a:gd name="T103" fmla="*/ 7 h 463"/>
                  <a:gd name="T104" fmla="*/ 87 w 128"/>
                  <a:gd name="T105" fmla="*/ 8 h 463"/>
                  <a:gd name="T106" fmla="*/ 91 w 128"/>
                  <a:gd name="T107" fmla="*/ 9 h 463"/>
                  <a:gd name="T108" fmla="*/ 95 w 128"/>
                  <a:gd name="T109" fmla="*/ 9 h 463"/>
                  <a:gd name="T110" fmla="*/ 99 w 128"/>
                  <a:gd name="T111" fmla="*/ 12 h 463"/>
                  <a:gd name="T112" fmla="*/ 101 w 128"/>
                  <a:gd name="T113" fmla="*/ 12 h 463"/>
                  <a:gd name="T114" fmla="*/ 108 w 128"/>
                  <a:gd name="T115" fmla="*/ 13 h 463"/>
                  <a:gd name="T116" fmla="*/ 117 w 128"/>
                  <a:gd name="T117" fmla="*/ 1 h 463"/>
                  <a:gd name="T118" fmla="*/ 124 w 128"/>
                  <a:gd name="T119" fmla="*/ 4 h 463"/>
                  <a:gd name="T120" fmla="*/ 125 w 128"/>
                  <a:gd name="T121" fmla="*/ 4 h 4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28" h="463">
                    <a:moveTo>
                      <a:pt x="7" y="451"/>
                    </a:moveTo>
                    <a:lnTo>
                      <a:pt x="8" y="452"/>
                    </a:lnTo>
                    <a:lnTo>
                      <a:pt x="7" y="452"/>
                    </a:lnTo>
                    <a:lnTo>
                      <a:pt x="7" y="451"/>
                    </a:lnTo>
                    <a:close/>
                    <a:moveTo>
                      <a:pt x="2" y="450"/>
                    </a:moveTo>
                    <a:lnTo>
                      <a:pt x="3" y="450"/>
                    </a:lnTo>
                    <a:lnTo>
                      <a:pt x="4" y="450"/>
                    </a:lnTo>
                    <a:lnTo>
                      <a:pt x="2" y="450"/>
                    </a:lnTo>
                    <a:close/>
                    <a:moveTo>
                      <a:pt x="0" y="449"/>
                    </a:moveTo>
                    <a:lnTo>
                      <a:pt x="2" y="450"/>
                    </a:lnTo>
                    <a:lnTo>
                      <a:pt x="1" y="450"/>
                    </a:lnTo>
                    <a:lnTo>
                      <a:pt x="1" y="451"/>
                    </a:lnTo>
                    <a:lnTo>
                      <a:pt x="0" y="449"/>
                    </a:lnTo>
                    <a:lnTo>
                      <a:pt x="0" y="449"/>
                    </a:lnTo>
                    <a:close/>
                    <a:moveTo>
                      <a:pt x="1" y="13"/>
                    </a:moveTo>
                    <a:lnTo>
                      <a:pt x="0" y="13"/>
                    </a:lnTo>
                    <a:lnTo>
                      <a:pt x="0" y="13"/>
                    </a:lnTo>
                    <a:lnTo>
                      <a:pt x="1" y="13"/>
                    </a:lnTo>
                    <a:close/>
                    <a:moveTo>
                      <a:pt x="59" y="6"/>
                    </a:moveTo>
                    <a:lnTo>
                      <a:pt x="59" y="7"/>
                    </a:lnTo>
                    <a:lnTo>
                      <a:pt x="59" y="7"/>
                    </a:lnTo>
                    <a:lnTo>
                      <a:pt x="59" y="6"/>
                    </a:lnTo>
                    <a:close/>
                    <a:moveTo>
                      <a:pt x="125" y="0"/>
                    </a:moveTo>
                    <a:lnTo>
                      <a:pt x="127" y="5"/>
                    </a:lnTo>
                    <a:lnTo>
                      <a:pt x="127" y="3"/>
                    </a:lnTo>
                    <a:lnTo>
                      <a:pt x="128" y="4"/>
                    </a:lnTo>
                    <a:lnTo>
                      <a:pt x="128" y="457"/>
                    </a:lnTo>
                    <a:lnTo>
                      <a:pt x="127" y="457"/>
                    </a:lnTo>
                    <a:lnTo>
                      <a:pt x="126" y="455"/>
                    </a:lnTo>
                    <a:lnTo>
                      <a:pt x="120" y="453"/>
                    </a:lnTo>
                    <a:lnTo>
                      <a:pt x="121" y="455"/>
                    </a:lnTo>
                    <a:lnTo>
                      <a:pt x="119" y="455"/>
                    </a:lnTo>
                    <a:lnTo>
                      <a:pt x="119" y="457"/>
                    </a:lnTo>
                    <a:lnTo>
                      <a:pt x="117" y="455"/>
                    </a:lnTo>
                    <a:lnTo>
                      <a:pt x="117" y="456"/>
                    </a:lnTo>
                    <a:lnTo>
                      <a:pt x="117" y="455"/>
                    </a:lnTo>
                    <a:lnTo>
                      <a:pt x="115" y="456"/>
                    </a:lnTo>
                    <a:lnTo>
                      <a:pt x="115" y="453"/>
                    </a:lnTo>
                    <a:lnTo>
                      <a:pt x="113" y="456"/>
                    </a:lnTo>
                    <a:lnTo>
                      <a:pt x="111" y="456"/>
                    </a:lnTo>
                    <a:lnTo>
                      <a:pt x="111" y="457"/>
                    </a:lnTo>
                    <a:lnTo>
                      <a:pt x="107" y="463"/>
                    </a:lnTo>
                    <a:lnTo>
                      <a:pt x="102" y="461"/>
                    </a:lnTo>
                    <a:lnTo>
                      <a:pt x="101" y="458"/>
                    </a:lnTo>
                    <a:lnTo>
                      <a:pt x="101" y="458"/>
                    </a:lnTo>
                    <a:lnTo>
                      <a:pt x="99" y="458"/>
                    </a:lnTo>
                    <a:lnTo>
                      <a:pt x="100" y="463"/>
                    </a:lnTo>
                    <a:lnTo>
                      <a:pt x="98" y="460"/>
                    </a:lnTo>
                    <a:lnTo>
                      <a:pt x="98" y="463"/>
                    </a:lnTo>
                    <a:lnTo>
                      <a:pt x="94" y="459"/>
                    </a:lnTo>
                    <a:lnTo>
                      <a:pt x="94" y="461"/>
                    </a:lnTo>
                    <a:lnTo>
                      <a:pt x="93" y="460"/>
                    </a:lnTo>
                    <a:lnTo>
                      <a:pt x="93" y="461"/>
                    </a:lnTo>
                    <a:lnTo>
                      <a:pt x="90" y="460"/>
                    </a:lnTo>
                    <a:lnTo>
                      <a:pt x="91" y="461"/>
                    </a:lnTo>
                    <a:lnTo>
                      <a:pt x="87" y="456"/>
                    </a:lnTo>
                    <a:lnTo>
                      <a:pt x="85" y="458"/>
                    </a:lnTo>
                    <a:lnTo>
                      <a:pt x="86" y="455"/>
                    </a:lnTo>
                    <a:lnTo>
                      <a:pt x="84" y="453"/>
                    </a:lnTo>
                    <a:lnTo>
                      <a:pt x="84" y="455"/>
                    </a:lnTo>
                    <a:lnTo>
                      <a:pt x="83" y="453"/>
                    </a:lnTo>
                    <a:lnTo>
                      <a:pt x="82" y="455"/>
                    </a:lnTo>
                    <a:lnTo>
                      <a:pt x="80" y="456"/>
                    </a:lnTo>
                    <a:lnTo>
                      <a:pt x="79" y="453"/>
                    </a:lnTo>
                    <a:lnTo>
                      <a:pt x="80" y="457"/>
                    </a:lnTo>
                    <a:lnTo>
                      <a:pt x="78" y="453"/>
                    </a:lnTo>
                    <a:lnTo>
                      <a:pt x="77" y="453"/>
                    </a:lnTo>
                    <a:lnTo>
                      <a:pt x="76" y="456"/>
                    </a:lnTo>
                    <a:lnTo>
                      <a:pt x="75" y="455"/>
                    </a:lnTo>
                    <a:lnTo>
                      <a:pt x="75" y="456"/>
                    </a:lnTo>
                    <a:lnTo>
                      <a:pt x="71" y="456"/>
                    </a:lnTo>
                    <a:lnTo>
                      <a:pt x="71" y="453"/>
                    </a:lnTo>
                    <a:lnTo>
                      <a:pt x="70" y="452"/>
                    </a:lnTo>
                    <a:lnTo>
                      <a:pt x="68" y="453"/>
                    </a:lnTo>
                    <a:lnTo>
                      <a:pt x="69" y="453"/>
                    </a:lnTo>
                    <a:lnTo>
                      <a:pt x="69" y="450"/>
                    </a:lnTo>
                    <a:lnTo>
                      <a:pt x="68" y="453"/>
                    </a:lnTo>
                    <a:lnTo>
                      <a:pt x="66" y="449"/>
                    </a:lnTo>
                    <a:lnTo>
                      <a:pt x="65" y="449"/>
                    </a:lnTo>
                    <a:lnTo>
                      <a:pt x="67" y="453"/>
                    </a:lnTo>
                    <a:lnTo>
                      <a:pt x="63" y="449"/>
                    </a:lnTo>
                    <a:lnTo>
                      <a:pt x="63" y="452"/>
                    </a:lnTo>
                    <a:lnTo>
                      <a:pt x="62" y="450"/>
                    </a:lnTo>
                    <a:lnTo>
                      <a:pt x="62" y="453"/>
                    </a:lnTo>
                    <a:lnTo>
                      <a:pt x="61" y="452"/>
                    </a:lnTo>
                    <a:lnTo>
                      <a:pt x="60" y="452"/>
                    </a:lnTo>
                    <a:lnTo>
                      <a:pt x="61" y="453"/>
                    </a:lnTo>
                    <a:lnTo>
                      <a:pt x="61" y="453"/>
                    </a:lnTo>
                    <a:lnTo>
                      <a:pt x="61" y="453"/>
                    </a:lnTo>
                    <a:lnTo>
                      <a:pt x="57" y="455"/>
                    </a:lnTo>
                    <a:lnTo>
                      <a:pt x="59" y="453"/>
                    </a:lnTo>
                    <a:lnTo>
                      <a:pt x="57" y="451"/>
                    </a:lnTo>
                    <a:lnTo>
                      <a:pt x="57" y="452"/>
                    </a:lnTo>
                    <a:lnTo>
                      <a:pt x="54" y="455"/>
                    </a:lnTo>
                    <a:lnTo>
                      <a:pt x="53" y="451"/>
                    </a:lnTo>
                    <a:lnTo>
                      <a:pt x="52" y="452"/>
                    </a:lnTo>
                    <a:lnTo>
                      <a:pt x="53" y="455"/>
                    </a:lnTo>
                    <a:lnTo>
                      <a:pt x="52" y="453"/>
                    </a:lnTo>
                    <a:lnTo>
                      <a:pt x="51" y="455"/>
                    </a:lnTo>
                    <a:lnTo>
                      <a:pt x="50" y="453"/>
                    </a:lnTo>
                    <a:lnTo>
                      <a:pt x="50" y="450"/>
                    </a:lnTo>
                    <a:lnTo>
                      <a:pt x="48" y="452"/>
                    </a:lnTo>
                    <a:lnTo>
                      <a:pt x="48" y="450"/>
                    </a:lnTo>
                    <a:lnTo>
                      <a:pt x="45" y="450"/>
                    </a:lnTo>
                    <a:lnTo>
                      <a:pt x="46" y="448"/>
                    </a:lnTo>
                    <a:lnTo>
                      <a:pt x="46" y="448"/>
                    </a:lnTo>
                    <a:lnTo>
                      <a:pt x="45" y="449"/>
                    </a:lnTo>
                    <a:lnTo>
                      <a:pt x="43" y="447"/>
                    </a:lnTo>
                    <a:lnTo>
                      <a:pt x="42" y="447"/>
                    </a:lnTo>
                    <a:lnTo>
                      <a:pt x="44" y="450"/>
                    </a:lnTo>
                    <a:lnTo>
                      <a:pt x="42" y="449"/>
                    </a:lnTo>
                    <a:lnTo>
                      <a:pt x="41" y="445"/>
                    </a:lnTo>
                    <a:lnTo>
                      <a:pt x="40" y="448"/>
                    </a:lnTo>
                    <a:lnTo>
                      <a:pt x="40" y="445"/>
                    </a:lnTo>
                    <a:lnTo>
                      <a:pt x="38" y="447"/>
                    </a:lnTo>
                    <a:lnTo>
                      <a:pt x="36" y="444"/>
                    </a:lnTo>
                    <a:lnTo>
                      <a:pt x="38" y="449"/>
                    </a:lnTo>
                    <a:lnTo>
                      <a:pt x="41" y="448"/>
                    </a:lnTo>
                    <a:lnTo>
                      <a:pt x="40" y="450"/>
                    </a:lnTo>
                    <a:lnTo>
                      <a:pt x="36" y="448"/>
                    </a:lnTo>
                    <a:lnTo>
                      <a:pt x="36" y="449"/>
                    </a:lnTo>
                    <a:lnTo>
                      <a:pt x="33" y="447"/>
                    </a:lnTo>
                    <a:lnTo>
                      <a:pt x="33" y="449"/>
                    </a:lnTo>
                    <a:lnTo>
                      <a:pt x="32" y="448"/>
                    </a:lnTo>
                    <a:lnTo>
                      <a:pt x="31" y="452"/>
                    </a:lnTo>
                    <a:lnTo>
                      <a:pt x="27" y="449"/>
                    </a:lnTo>
                    <a:lnTo>
                      <a:pt x="25" y="451"/>
                    </a:lnTo>
                    <a:lnTo>
                      <a:pt x="24" y="449"/>
                    </a:lnTo>
                    <a:lnTo>
                      <a:pt x="21" y="451"/>
                    </a:lnTo>
                    <a:lnTo>
                      <a:pt x="19" y="448"/>
                    </a:lnTo>
                    <a:lnTo>
                      <a:pt x="18" y="448"/>
                    </a:lnTo>
                    <a:lnTo>
                      <a:pt x="19" y="451"/>
                    </a:lnTo>
                    <a:lnTo>
                      <a:pt x="16" y="448"/>
                    </a:lnTo>
                    <a:lnTo>
                      <a:pt x="16" y="450"/>
                    </a:lnTo>
                    <a:lnTo>
                      <a:pt x="9" y="449"/>
                    </a:lnTo>
                    <a:lnTo>
                      <a:pt x="9" y="451"/>
                    </a:lnTo>
                    <a:lnTo>
                      <a:pt x="8" y="449"/>
                    </a:lnTo>
                    <a:lnTo>
                      <a:pt x="8" y="450"/>
                    </a:lnTo>
                    <a:lnTo>
                      <a:pt x="7" y="448"/>
                    </a:lnTo>
                    <a:lnTo>
                      <a:pt x="6" y="451"/>
                    </a:lnTo>
                    <a:lnTo>
                      <a:pt x="7" y="452"/>
                    </a:lnTo>
                    <a:lnTo>
                      <a:pt x="7" y="452"/>
                    </a:lnTo>
                    <a:lnTo>
                      <a:pt x="4" y="451"/>
                    </a:lnTo>
                    <a:lnTo>
                      <a:pt x="3" y="450"/>
                    </a:lnTo>
                    <a:lnTo>
                      <a:pt x="1" y="447"/>
                    </a:lnTo>
                    <a:lnTo>
                      <a:pt x="0" y="448"/>
                    </a:lnTo>
                    <a:lnTo>
                      <a:pt x="0" y="14"/>
                    </a:lnTo>
                    <a:lnTo>
                      <a:pt x="2" y="14"/>
                    </a:lnTo>
                    <a:lnTo>
                      <a:pt x="2" y="16"/>
                    </a:lnTo>
                    <a:lnTo>
                      <a:pt x="7" y="14"/>
                    </a:lnTo>
                    <a:lnTo>
                      <a:pt x="8" y="13"/>
                    </a:lnTo>
                    <a:lnTo>
                      <a:pt x="9" y="16"/>
                    </a:lnTo>
                    <a:lnTo>
                      <a:pt x="11" y="15"/>
                    </a:lnTo>
                    <a:lnTo>
                      <a:pt x="12" y="17"/>
                    </a:lnTo>
                    <a:lnTo>
                      <a:pt x="13" y="14"/>
                    </a:lnTo>
                    <a:lnTo>
                      <a:pt x="17" y="17"/>
                    </a:lnTo>
                    <a:lnTo>
                      <a:pt x="19" y="16"/>
                    </a:lnTo>
                    <a:lnTo>
                      <a:pt x="20" y="13"/>
                    </a:lnTo>
                    <a:lnTo>
                      <a:pt x="21" y="12"/>
                    </a:lnTo>
                    <a:lnTo>
                      <a:pt x="21" y="15"/>
                    </a:lnTo>
                    <a:lnTo>
                      <a:pt x="26" y="15"/>
                    </a:lnTo>
                    <a:lnTo>
                      <a:pt x="26" y="13"/>
                    </a:lnTo>
                    <a:lnTo>
                      <a:pt x="27" y="15"/>
                    </a:lnTo>
                    <a:lnTo>
                      <a:pt x="29" y="15"/>
                    </a:lnTo>
                    <a:lnTo>
                      <a:pt x="28" y="14"/>
                    </a:lnTo>
                    <a:lnTo>
                      <a:pt x="33" y="15"/>
                    </a:lnTo>
                    <a:lnTo>
                      <a:pt x="34" y="14"/>
                    </a:lnTo>
                    <a:lnTo>
                      <a:pt x="34" y="12"/>
                    </a:lnTo>
                    <a:lnTo>
                      <a:pt x="36" y="9"/>
                    </a:lnTo>
                    <a:lnTo>
                      <a:pt x="37" y="8"/>
                    </a:lnTo>
                    <a:lnTo>
                      <a:pt x="42" y="13"/>
                    </a:lnTo>
                    <a:lnTo>
                      <a:pt x="42" y="9"/>
                    </a:lnTo>
                    <a:lnTo>
                      <a:pt x="42" y="9"/>
                    </a:lnTo>
                    <a:lnTo>
                      <a:pt x="44" y="13"/>
                    </a:lnTo>
                    <a:lnTo>
                      <a:pt x="44" y="10"/>
                    </a:lnTo>
                    <a:lnTo>
                      <a:pt x="44" y="10"/>
                    </a:lnTo>
                    <a:lnTo>
                      <a:pt x="45" y="12"/>
                    </a:lnTo>
                    <a:lnTo>
                      <a:pt x="44" y="9"/>
                    </a:lnTo>
                    <a:lnTo>
                      <a:pt x="46" y="10"/>
                    </a:lnTo>
                    <a:lnTo>
                      <a:pt x="48" y="6"/>
                    </a:lnTo>
                    <a:lnTo>
                      <a:pt x="50" y="6"/>
                    </a:lnTo>
                    <a:lnTo>
                      <a:pt x="50" y="8"/>
                    </a:lnTo>
                    <a:lnTo>
                      <a:pt x="52" y="8"/>
                    </a:lnTo>
                    <a:lnTo>
                      <a:pt x="53" y="9"/>
                    </a:lnTo>
                    <a:lnTo>
                      <a:pt x="58" y="8"/>
                    </a:lnTo>
                    <a:lnTo>
                      <a:pt x="59" y="7"/>
                    </a:lnTo>
                    <a:lnTo>
                      <a:pt x="61" y="7"/>
                    </a:lnTo>
                    <a:lnTo>
                      <a:pt x="61" y="7"/>
                    </a:lnTo>
                    <a:lnTo>
                      <a:pt x="61" y="7"/>
                    </a:lnTo>
                    <a:lnTo>
                      <a:pt x="62" y="8"/>
                    </a:lnTo>
                    <a:lnTo>
                      <a:pt x="65" y="6"/>
                    </a:lnTo>
                    <a:lnTo>
                      <a:pt x="66" y="8"/>
                    </a:lnTo>
                    <a:lnTo>
                      <a:pt x="68" y="8"/>
                    </a:lnTo>
                    <a:lnTo>
                      <a:pt x="68" y="5"/>
                    </a:lnTo>
                    <a:lnTo>
                      <a:pt x="69" y="8"/>
                    </a:lnTo>
                    <a:lnTo>
                      <a:pt x="70" y="8"/>
                    </a:lnTo>
                    <a:lnTo>
                      <a:pt x="69" y="6"/>
                    </a:lnTo>
                    <a:lnTo>
                      <a:pt x="69" y="4"/>
                    </a:lnTo>
                    <a:lnTo>
                      <a:pt x="71" y="7"/>
                    </a:lnTo>
                    <a:lnTo>
                      <a:pt x="73" y="7"/>
                    </a:lnTo>
                    <a:lnTo>
                      <a:pt x="73" y="8"/>
                    </a:lnTo>
                    <a:lnTo>
                      <a:pt x="74" y="9"/>
                    </a:lnTo>
                    <a:lnTo>
                      <a:pt x="76" y="10"/>
                    </a:lnTo>
                    <a:lnTo>
                      <a:pt x="76" y="7"/>
                    </a:lnTo>
                    <a:lnTo>
                      <a:pt x="78" y="8"/>
                    </a:lnTo>
                    <a:lnTo>
                      <a:pt x="77" y="5"/>
                    </a:lnTo>
                    <a:lnTo>
                      <a:pt x="78" y="6"/>
                    </a:lnTo>
                    <a:lnTo>
                      <a:pt x="79" y="7"/>
                    </a:lnTo>
                    <a:lnTo>
                      <a:pt x="84" y="5"/>
                    </a:lnTo>
                    <a:lnTo>
                      <a:pt x="86" y="8"/>
                    </a:lnTo>
                    <a:lnTo>
                      <a:pt x="87" y="6"/>
                    </a:lnTo>
                    <a:lnTo>
                      <a:pt x="87" y="8"/>
                    </a:lnTo>
                    <a:lnTo>
                      <a:pt x="88" y="9"/>
                    </a:lnTo>
                    <a:lnTo>
                      <a:pt x="90" y="7"/>
                    </a:lnTo>
                    <a:lnTo>
                      <a:pt x="92" y="6"/>
                    </a:lnTo>
                    <a:lnTo>
                      <a:pt x="91" y="9"/>
                    </a:lnTo>
                    <a:lnTo>
                      <a:pt x="91" y="7"/>
                    </a:lnTo>
                    <a:lnTo>
                      <a:pt x="92" y="8"/>
                    </a:lnTo>
                    <a:lnTo>
                      <a:pt x="93" y="7"/>
                    </a:lnTo>
                    <a:lnTo>
                      <a:pt x="95" y="9"/>
                    </a:lnTo>
                    <a:lnTo>
                      <a:pt x="93" y="9"/>
                    </a:lnTo>
                    <a:lnTo>
                      <a:pt x="95" y="12"/>
                    </a:lnTo>
                    <a:lnTo>
                      <a:pt x="95" y="10"/>
                    </a:lnTo>
                    <a:lnTo>
                      <a:pt x="99" y="12"/>
                    </a:lnTo>
                    <a:lnTo>
                      <a:pt x="101" y="15"/>
                    </a:lnTo>
                    <a:lnTo>
                      <a:pt x="100" y="13"/>
                    </a:lnTo>
                    <a:lnTo>
                      <a:pt x="101" y="13"/>
                    </a:lnTo>
                    <a:lnTo>
                      <a:pt x="101" y="12"/>
                    </a:lnTo>
                    <a:lnTo>
                      <a:pt x="101" y="14"/>
                    </a:lnTo>
                    <a:lnTo>
                      <a:pt x="103" y="13"/>
                    </a:lnTo>
                    <a:lnTo>
                      <a:pt x="108" y="15"/>
                    </a:lnTo>
                    <a:lnTo>
                      <a:pt x="108" y="13"/>
                    </a:lnTo>
                    <a:lnTo>
                      <a:pt x="110" y="13"/>
                    </a:lnTo>
                    <a:lnTo>
                      <a:pt x="110" y="9"/>
                    </a:lnTo>
                    <a:lnTo>
                      <a:pt x="116" y="0"/>
                    </a:lnTo>
                    <a:lnTo>
                      <a:pt x="117" y="1"/>
                    </a:lnTo>
                    <a:lnTo>
                      <a:pt x="116" y="4"/>
                    </a:lnTo>
                    <a:lnTo>
                      <a:pt x="118" y="1"/>
                    </a:lnTo>
                    <a:lnTo>
                      <a:pt x="121" y="5"/>
                    </a:lnTo>
                    <a:lnTo>
                      <a:pt x="124" y="4"/>
                    </a:lnTo>
                    <a:lnTo>
                      <a:pt x="123" y="5"/>
                    </a:lnTo>
                    <a:lnTo>
                      <a:pt x="125" y="4"/>
                    </a:lnTo>
                    <a:lnTo>
                      <a:pt x="125" y="5"/>
                    </a:lnTo>
                    <a:lnTo>
                      <a:pt x="125" y="4"/>
                    </a:lnTo>
                    <a:lnTo>
                      <a:pt x="125" y="4"/>
                    </a:lnTo>
                    <a:lnTo>
                      <a:pt x="125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E20074"/>
                  </a:buClr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0" cap="none" spc="0" normalizeH="0" baseline="0" noProof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9" name="Freeform 129"/>
              <p:cNvSpPr>
                <a:spLocks noEditPoints="1"/>
              </p:cNvSpPr>
              <p:nvPr/>
            </p:nvSpPr>
            <p:spPr bwMode="auto">
              <a:xfrm>
                <a:off x="11171239" y="493714"/>
                <a:ext cx="187325" cy="833438"/>
              </a:xfrm>
              <a:custGeom>
                <a:avLst/>
                <a:gdLst>
                  <a:gd name="T0" fmla="*/ 2 w 118"/>
                  <a:gd name="T1" fmla="*/ 414 h 525"/>
                  <a:gd name="T2" fmla="*/ 45 w 118"/>
                  <a:gd name="T3" fmla="*/ 92 h 525"/>
                  <a:gd name="T4" fmla="*/ 45 w 118"/>
                  <a:gd name="T5" fmla="*/ 90 h 525"/>
                  <a:gd name="T6" fmla="*/ 112 w 118"/>
                  <a:gd name="T7" fmla="*/ 6 h 525"/>
                  <a:gd name="T8" fmla="*/ 114 w 118"/>
                  <a:gd name="T9" fmla="*/ 523 h 525"/>
                  <a:gd name="T10" fmla="*/ 104 w 118"/>
                  <a:gd name="T11" fmla="*/ 522 h 525"/>
                  <a:gd name="T12" fmla="*/ 95 w 118"/>
                  <a:gd name="T13" fmla="*/ 519 h 525"/>
                  <a:gd name="T14" fmla="*/ 89 w 118"/>
                  <a:gd name="T15" fmla="*/ 516 h 525"/>
                  <a:gd name="T16" fmla="*/ 82 w 118"/>
                  <a:gd name="T17" fmla="*/ 514 h 525"/>
                  <a:gd name="T18" fmla="*/ 70 w 118"/>
                  <a:gd name="T19" fmla="*/ 509 h 525"/>
                  <a:gd name="T20" fmla="*/ 59 w 118"/>
                  <a:gd name="T21" fmla="*/ 510 h 525"/>
                  <a:gd name="T22" fmla="*/ 52 w 118"/>
                  <a:gd name="T23" fmla="*/ 509 h 525"/>
                  <a:gd name="T24" fmla="*/ 42 w 118"/>
                  <a:gd name="T25" fmla="*/ 511 h 525"/>
                  <a:gd name="T26" fmla="*/ 35 w 118"/>
                  <a:gd name="T27" fmla="*/ 513 h 525"/>
                  <a:gd name="T28" fmla="*/ 27 w 118"/>
                  <a:gd name="T29" fmla="*/ 508 h 525"/>
                  <a:gd name="T30" fmla="*/ 20 w 118"/>
                  <a:gd name="T31" fmla="*/ 509 h 525"/>
                  <a:gd name="T32" fmla="*/ 12 w 118"/>
                  <a:gd name="T33" fmla="*/ 510 h 525"/>
                  <a:gd name="T34" fmla="*/ 7 w 118"/>
                  <a:gd name="T35" fmla="*/ 517 h 525"/>
                  <a:gd name="T36" fmla="*/ 6 w 118"/>
                  <a:gd name="T37" fmla="*/ 499 h 525"/>
                  <a:gd name="T38" fmla="*/ 7 w 118"/>
                  <a:gd name="T39" fmla="*/ 490 h 525"/>
                  <a:gd name="T40" fmla="*/ 5 w 118"/>
                  <a:gd name="T41" fmla="*/ 476 h 525"/>
                  <a:gd name="T42" fmla="*/ 5 w 118"/>
                  <a:gd name="T43" fmla="*/ 460 h 525"/>
                  <a:gd name="T44" fmla="*/ 7 w 118"/>
                  <a:gd name="T45" fmla="*/ 444 h 525"/>
                  <a:gd name="T46" fmla="*/ 6 w 118"/>
                  <a:gd name="T47" fmla="*/ 436 h 525"/>
                  <a:gd name="T48" fmla="*/ 5 w 118"/>
                  <a:gd name="T49" fmla="*/ 422 h 525"/>
                  <a:gd name="T50" fmla="*/ 3 w 118"/>
                  <a:gd name="T51" fmla="*/ 402 h 525"/>
                  <a:gd name="T52" fmla="*/ 8 w 118"/>
                  <a:gd name="T53" fmla="*/ 396 h 525"/>
                  <a:gd name="T54" fmla="*/ 7 w 118"/>
                  <a:gd name="T55" fmla="*/ 386 h 525"/>
                  <a:gd name="T56" fmla="*/ 8 w 118"/>
                  <a:gd name="T57" fmla="*/ 364 h 525"/>
                  <a:gd name="T58" fmla="*/ 7 w 118"/>
                  <a:gd name="T59" fmla="*/ 359 h 525"/>
                  <a:gd name="T60" fmla="*/ 5 w 118"/>
                  <a:gd name="T61" fmla="*/ 340 h 525"/>
                  <a:gd name="T62" fmla="*/ 9 w 118"/>
                  <a:gd name="T63" fmla="*/ 329 h 525"/>
                  <a:gd name="T64" fmla="*/ 12 w 118"/>
                  <a:gd name="T65" fmla="*/ 316 h 525"/>
                  <a:gd name="T66" fmla="*/ 17 w 118"/>
                  <a:gd name="T67" fmla="*/ 302 h 525"/>
                  <a:gd name="T68" fmla="*/ 19 w 118"/>
                  <a:gd name="T69" fmla="*/ 291 h 525"/>
                  <a:gd name="T70" fmla="*/ 19 w 118"/>
                  <a:gd name="T71" fmla="*/ 283 h 525"/>
                  <a:gd name="T72" fmla="*/ 19 w 118"/>
                  <a:gd name="T73" fmla="*/ 257 h 525"/>
                  <a:gd name="T74" fmla="*/ 24 w 118"/>
                  <a:gd name="T75" fmla="*/ 231 h 525"/>
                  <a:gd name="T76" fmla="*/ 24 w 118"/>
                  <a:gd name="T77" fmla="*/ 225 h 525"/>
                  <a:gd name="T78" fmla="*/ 25 w 118"/>
                  <a:gd name="T79" fmla="*/ 217 h 525"/>
                  <a:gd name="T80" fmla="*/ 27 w 118"/>
                  <a:gd name="T81" fmla="*/ 213 h 525"/>
                  <a:gd name="T82" fmla="*/ 28 w 118"/>
                  <a:gd name="T83" fmla="*/ 201 h 525"/>
                  <a:gd name="T84" fmla="*/ 34 w 118"/>
                  <a:gd name="T85" fmla="*/ 188 h 525"/>
                  <a:gd name="T86" fmla="*/ 37 w 118"/>
                  <a:gd name="T87" fmla="*/ 181 h 525"/>
                  <a:gd name="T88" fmla="*/ 40 w 118"/>
                  <a:gd name="T89" fmla="*/ 168 h 525"/>
                  <a:gd name="T90" fmla="*/ 41 w 118"/>
                  <a:gd name="T91" fmla="*/ 154 h 525"/>
                  <a:gd name="T92" fmla="*/ 42 w 118"/>
                  <a:gd name="T93" fmla="*/ 141 h 525"/>
                  <a:gd name="T94" fmla="*/ 43 w 118"/>
                  <a:gd name="T95" fmla="*/ 121 h 525"/>
                  <a:gd name="T96" fmla="*/ 47 w 118"/>
                  <a:gd name="T97" fmla="*/ 109 h 525"/>
                  <a:gd name="T98" fmla="*/ 48 w 118"/>
                  <a:gd name="T99" fmla="*/ 100 h 525"/>
                  <a:gd name="T100" fmla="*/ 47 w 118"/>
                  <a:gd name="T101" fmla="*/ 88 h 525"/>
                  <a:gd name="T102" fmla="*/ 51 w 118"/>
                  <a:gd name="T103" fmla="*/ 82 h 525"/>
                  <a:gd name="T104" fmla="*/ 50 w 118"/>
                  <a:gd name="T105" fmla="*/ 64 h 525"/>
                  <a:gd name="T106" fmla="*/ 49 w 118"/>
                  <a:gd name="T107" fmla="*/ 58 h 525"/>
                  <a:gd name="T108" fmla="*/ 53 w 118"/>
                  <a:gd name="T109" fmla="*/ 46 h 525"/>
                  <a:gd name="T110" fmla="*/ 51 w 118"/>
                  <a:gd name="T111" fmla="*/ 40 h 525"/>
                  <a:gd name="T112" fmla="*/ 55 w 118"/>
                  <a:gd name="T113" fmla="*/ 40 h 525"/>
                  <a:gd name="T114" fmla="*/ 55 w 118"/>
                  <a:gd name="T115" fmla="*/ 31 h 525"/>
                  <a:gd name="T116" fmla="*/ 59 w 118"/>
                  <a:gd name="T117" fmla="*/ 14 h 525"/>
                  <a:gd name="T118" fmla="*/ 70 w 118"/>
                  <a:gd name="T119" fmla="*/ 7 h 525"/>
                  <a:gd name="T120" fmla="*/ 84 w 118"/>
                  <a:gd name="T121" fmla="*/ 6 h 5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18" h="525">
                    <a:moveTo>
                      <a:pt x="108" y="525"/>
                    </a:moveTo>
                    <a:lnTo>
                      <a:pt x="108" y="525"/>
                    </a:lnTo>
                    <a:lnTo>
                      <a:pt x="108" y="525"/>
                    </a:lnTo>
                    <a:lnTo>
                      <a:pt x="108" y="525"/>
                    </a:lnTo>
                    <a:close/>
                    <a:moveTo>
                      <a:pt x="2" y="414"/>
                    </a:moveTo>
                    <a:lnTo>
                      <a:pt x="2" y="414"/>
                    </a:lnTo>
                    <a:lnTo>
                      <a:pt x="2" y="414"/>
                    </a:lnTo>
                    <a:lnTo>
                      <a:pt x="2" y="414"/>
                    </a:lnTo>
                    <a:close/>
                    <a:moveTo>
                      <a:pt x="12" y="313"/>
                    </a:moveTo>
                    <a:lnTo>
                      <a:pt x="12" y="315"/>
                    </a:lnTo>
                    <a:lnTo>
                      <a:pt x="12" y="315"/>
                    </a:lnTo>
                    <a:lnTo>
                      <a:pt x="12" y="313"/>
                    </a:lnTo>
                    <a:close/>
                    <a:moveTo>
                      <a:pt x="45" y="91"/>
                    </a:moveTo>
                    <a:lnTo>
                      <a:pt x="45" y="92"/>
                    </a:lnTo>
                    <a:lnTo>
                      <a:pt x="44" y="93"/>
                    </a:lnTo>
                    <a:lnTo>
                      <a:pt x="44" y="93"/>
                    </a:lnTo>
                    <a:lnTo>
                      <a:pt x="45" y="91"/>
                    </a:lnTo>
                    <a:close/>
                    <a:moveTo>
                      <a:pt x="45" y="90"/>
                    </a:moveTo>
                    <a:lnTo>
                      <a:pt x="45" y="91"/>
                    </a:lnTo>
                    <a:lnTo>
                      <a:pt x="45" y="90"/>
                    </a:lnTo>
                    <a:lnTo>
                      <a:pt x="45" y="90"/>
                    </a:lnTo>
                    <a:close/>
                    <a:moveTo>
                      <a:pt x="100" y="0"/>
                    </a:moveTo>
                    <a:lnTo>
                      <a:pt x="100" y="0"/>
                    </a:lnTo>
                    <a:lnTo>
                      <a:pt x="103" y="5"/>
                    </a:lnTo>
                    <a:lnTo>
                      <a:pt x="108" y="7"/>
                    </a:lnTo>
                    <a:lnTo>
                      <a:pt x="109" y="9"/>
                    </a:lnTo>
                    <a:lnTo>
                      <a:pt x="114" y="9"/>
                    </a:lnTo>
                    <a:lnTo>
                      <a:pt x="112" y="6"/>
                    </a:lnTo>
                    <a:lnTo>
                      <a:pt x="116" y="9"/>
                    </a:lnTo>
                    <a:lnTo>
                      <a:pt x="117" y="13"/>
                    </a:lnTo>
                    <a:lnTo>
                      <a:pt x="118" y="14"/>
                    </a:lnTo>
                    <a:lnTo>
                      <a:pt x="118" y="522"/>
                    </a:lnTo>
                    <a:lnTo>
                      <a:pt x="117" y="521"/>
                    </a:lnTo>
                    <a:lnTo>
                      <a:pt x="115" y="524"/>
                    </a:lnTo>
                    <a:lnTo>
                      <a:pt x="114" y="523"/>
                    </a:lnTo>
                    <a:lnTo>
                      <a:pt x="108" y="525"/>
                    </a:lnTo>
                    <a:lnTo>
                      <a:pt x="108" y="523"/>
                    </a:lnTo>
                    <a:lnTo>
                      <a:pt x="107" y="523"/>
                    </a:lnTo>
                    <a:lnTo>
                      <a:pt x="107" y="525"/>
                    </a:lnTo>
                    <a:lnTo>
                      <a:pt x="106" y="525"/>
                    </a:lnTo>
                    <a:lnTo>
                      <a:pt x="106" y="523"/>
                    </a:lnTo>
                    <a:lnTo>
                      <a:pt x="104" y="522"/>
                    </a:lnTo>
                    <a:lnTo>
                      <a:pt x="104" y="524"/>
                    </a:lnTo>
                    <a:lnTo>
                      <a:pt x="102" y="521"/>
                    </a:lnTo>
                    <a:lnTo>
                      <a:pt x="102" y="524"/>
                    </a:lnTo>
                    <a:lnTo>
                      <a:pt x="99" y="518"/>
                    </a:lnTo>
                    <a:lnTo>
                      <a:pt x="99" y="521"/>
                    </a:lnTo>
                    <a:lnTo>
                      <a:pt x="98" y="517"/>
                    </a:lnTo>
                    <a:lnTo>
                      <a:pt x="95" y="519"/>
                    </a:lnTo>
                    <a:lnTo>
                      <a:pt x="94" y="516"/>
                    </a:lnTo>
                    <a:lnTo>
                      <a:pt x="93" y="516"/>
                    </a:lnTo>
                    <a:lnTo>
                      <a:pt x="91" y="517"/>
                    </a:lnTo>
                    <a:lnTo>
                      <a:pt x="91" y="515"/>
                    </a:lnTo>
                    <a:lnTo>
                      <a:pt x="91" y="515"/>
                    </a:lnTo>
                    <a:lnTo>
                      <a:pt x="90" y="514"/>
                    </a:lnTo>
                    <a:lnTo>
                      <a:pt x="89" y="516"/>
                    </a:lnTo>
                    <a:lnTo>
                      <a:pt x="89" y="513"/>
                    </a:lnTo>
                    <a:lnTo>
                      <a:pt x="85" y="515"/>
                    </a:lnTo>
                    <a:lnTo>
                      <a:pt x="83" y="513"/>
                    </a:lnTo>
                    <a:lnTo>
                      <a:pt x="83" y="515"/>
                    </a:lnTo>
                    <a:lnTo>
                      <a:pt x="82" y="514"/>
                    </a:lnTo>
                    <a:lnTo>
                      <a:pt x="83" y="517"/>
                    </a:lnTo>
                    <a:lnTo>
                      <a:pt x="82" y="514"/>
                    </a:lnTo>
                    <a:lnTo>
                      <a:pt x="81" y="514"/>
                    </a:lnTo>
                    <a:lnTo>
                      <a:pt x="76" y="509"/>
                    </a:lnTo>
                    <a:lnTo>
                      <a:pt x="74" y="511"/>
                    </a:lnTo>
                    <a:lnTo>
                      <a:pt x="73" y="510"/>
                    </a:lnTo>
                    <a:lnTo>
                      <a:pt x="72" y="509"/>
                    </a:lnTo>
                    <a:lnTo>
                      <a:pt x="72" y="510"/>
                    </a:lnTo>
                    <a:lnTo>
                      <a:pt x="70" y="509"/>
                    </a:lnTo>
                    <a:lnTo>
                      <a:pt x="68" y="509"/>
                    </a:lnTo>
                    <a:lnTo>
                      <a:pt x="68" y="511"/>
                    </a:lnTo>
                    <a:lnTo>
                      <a:pt x="67" y="510"/>
                    </a:lnTo>
                    <a:lnTo>
                      <a:pt x="67" y="509"/>
                    </a:lnTo>
                    <a:lnTo>
                      <a:pt x="64" y="514"/>
                    </a:lnTo>
                    <a:lnTo>
                      <a:pt x="61" y="511"/>
                    </a:lnTo>
                    <a:lnTo>
                      <a:pt x="59" y="510"/>
                    </a:lnTo>
                    <a:lnTo>
                      <a:pt x="57" y="514"/>
                    </a:lnTo>
                    <a:lnTo>
                      <a:pt x="57" y="510"/>
                    </a:lnTo>
                    <a:lnTo>
                      <a:pt x="56" y="513"/>
                    </a:lnTo>
                    <a:lnTo>
                      <a:pt x="56" y="510"/>
                    </a:lnTo>
                    <a:lnTo>
                      <a:pt x="55" y="513"/>
                    </a:lnTo>
                    <a:lnTo>
                      <a:pt x="52" y="510"/>
                    </a:lnTo>
                    <a:lnTo>
                      <a:pt x="52" y="509"/>
                    </a:lnTo>
                    <a:lnTo>
                      <a:pt x="50" y="510"/>
                    </a:lnTo>
                    <a:lnTo>
                      <a:pt x="50" y="509"/>
                    </a:lnTo>
                    <a:lnTo>
                      <a:pt x="49" y="513"/>
                    </a:lnTo>
                    <a:lnTo>
                      <a:pt x="47" y="514"/>
                    </a:lnTo>
                    <a:lnTo>
                      <a:pt x="45" y="511"/>
                    </a:lnTo>
                    <a:lnTo>
                      <a:pt x="44" y="514"/>
                    </a:lnTo>
                    <a:lnTo>
                      <a:pt x="42" y="511"/>
                    </a:lnTo>
                    <a:lnTo>
                      <a:pt x="41" y="513"/>
                    </a:lnTo>
                    <a:lnTo>
                      <a:pt x="41" y="510"/>
                    </a:lnTo>
                    <a:lnTo>
                      <a:pt x="41" y="511"/>
                    </a:lnTo>
                    <a:lnTo>
                      <a:pt x="40" y="509"/>
                    </a:lnTo>
                    <a:lnTo>
                      <a:pt x="39" y="508"/>
                    </a:lnTo>
                    <a:lnTo>
                      <a:pt x="36" y="509"/>
                    </a:lnTo>
                    <a:lnTo>
                      <a:pt x="35" y="513"/>
                    </a:lnTo>
                    <a:lnTo>
                      <a:pt x="32" y="508"/>
                    </a:lnTo>
                    <a:lnTo>
                      <a:pt x="34" y="511"/>
                    </a:lnTo>
                    <a:lnTo>
                      <a:pt x="30" y="508"/>
                    </a:lnTo>
                    <a:lnTo>
                      <a:pt x="32" y="511"/>
                    </a:lnTo>
                    <a:lnTo>
                      <a:pt x="28" y="508"/>
                    </a:lnTo>
                    <a:lnTo>
                      <a:pt x="28" y="509"/>
                    </a:lnTo>
                    <a:lnTo>
                      <a:pt x="27" y="508"/>
                    </a:lnTo>
                    <a:lnTo>
                      <a:pt x="25" y="508"/>
                    </a:lnTo>
                    <a:lnTo>
                      <a:pt x="24" y="513"/>
                    </a:lnTo>
                    <a:lnTo>
                      <a:pt x="24" y="509"/>
                    </a:lnTo>
                    <a:lnTo>
                      <a:pt x="23" y="508"/>
                    </a:lnTo>
                    <a:lnTo>
                      <a:pt x="22" y="509"/>
                    </a:lnTo>
                    <a:lnTo>
                      <a:pt x="20" y="507"/>
                    </a:lnTo>
                    <a:lnTo>
                      <a:pt x="20" y="509"/>
                    </a:lnTo>
                    <a:lnTo>
                      <a:pt x="18" y="508"/>
                    </a:lnTo>
                    <a:lnTo>
                      <a:pt x="18" y="510"/>
                    </a:lnTo>
                    <a:lnTo>
                      <a:pt x="17" y="508"/>
                    </a:lnTo>
                    <a:lnTo>
                      <a:pt x="16" y="509"/>
                    </a:lnTo>
                    <a:lnTo>
                      <a:pt x="15" y="506"/>
                    </a:lnTo>
                    <a:lnTo>
                      <a:pt x="10" y="508"/>
                    </a:lnTo>
                    <a:lnTo>
                      <a:pt x="12" y="510"/>
                    </a:lnTo>
                    <a:lnTo>
                      <a:pt x="9" y="510"/>
                    </a:lnTo>
                    <a:lnTo>
                      <a:pt x="10" y="514"/>
                    </a:lnTo>
                    <a:lnTo>
                      <a:pt x="9" y="514"/>
                    </a:lnTo>
                    <a:lnTo>
                      <a:pt x="9" y="511"/>
                    </a:lnTo>
                    <a:lnTo>
                      <a:pt x="9" y="513"/>
                    </a:lnTo>
                    <a:lnTo>
                      <a:pt x="8" y="510"/>
                    </a:lnTo>
                    <a:lnTo>
                      <a:pt x="7" y="517"/>
                    </a:lnTo>
                    <a:lnTo>
                      <a:pt x="6" y="519"/>
                    </a:lnTo>
                    <a:lnTo>
                      <a:pt x="5" y="508"/>
                    </a:lnTo>
                    <a:lnTo>
                      <a:pt x="5" y="503"/>
                    </a:lnTo>
                    <a:lnTo>
                      <a:pt x="6" y="505"/>
                    </a:lnTo>
                    <a:lnTo>
                      <a:pt x="6" y="500"/>
                    </a:lnTo>
                    <a:lnTo>
                      <a:pt x="0" y="502"/>
                    </a:lnTo>
                    <a:lnTo>
                      <a:pt x="6" y="499"/>
                    </a:lnTo>
                    <a:lnTo>
                      <a:pt x="3" y="499"/>
                    </a:lnTo>
                    <a:lnTo>
                      <a:pt x="5" y="496"/>
                    </a:lnTo>
                    <a:lnTo>
                      <a:pt x="2" y="494"/>
                    </a:lnTo>
                    <a:lnTo>
                      <a:pt x="2" y="492"/>
                    </a:lnTo>
                    <a:lnTo>
                      <a:pt x="5" y="494"/>
                    </a:lnTo>
                    <a:lnTo>
                      <a:pt x="5" y="493"/>
                    </a:lnTo>
                    <a:lnTo>
                      <a:pt x="7" y="490"/>
                    </a:lnTo>
                    <a:lnTo>
                      <a:pt x="6" y="488"/>
                    </a:lnTo>
                    <a:lnTo>
                      <a:pt x="5" y="485"/>
                    </a:lnTo>
                    <a:lnTo>
                      <a:pt x="6" y="484"/>
                    </a:lnTo>
                    <a:lnTo>
                      <a:pt x="5" y="478"/>
                    </a:lnTo>
                    <a:lnTo>
                      <a:pt x="2" y="477"/>
                    </a:lnTo>
                    <a:lnTo>
                      <a:pt x="6" y="476"/>
                    </a:lnTo>
                    <a:lnTo>
                      <a:pt x="5" y="476"/>
                    </a:lnTo>
                    <a:lnTo>
                      <a:pt x="6" y="476"/>
                    </a:lnTo>
                    <a:lnTo>
                      <a:pt x="3" y="473"/>
                    </a:lnTo>
                    <a:lnTo>
                      <a:pt x="6" y="464"/>
                    </a:lnTo>
                    <a:lnTo>
                      <a:pt x="5" y="465"/>
                    </a:lnTo>
                    <a:lnTo>
                      <a:pt x="6" y="464"/>
                    </a:lnTo>
                    <a:lnTo>
                      <a:pt x="5" y="463"/>
                    </a:lnTo>
                    <a:lnTo>
                      <a:pt x="5" y="460"/>
                    </a:lnTo>
                    <a:lnTo>
                      <a:pt x="6" y="461"/>
                    </a:lnTo>
                    <a:lnTo>
                      <a:pt x="3" y="459"/>
                    </a:lnTo>
                    <a:lnTo>
                      <a:pt x="6" y="454"/>
                    </a:lnTo>
                    <a:lnTo>
                      <a:pt x="5" y="452"/>
                    </a:lnTo>
                    <a:lnTo>
                      <a:pt x="6" y="446"/>
                    </a:lnTo>
                    <a:lnTo>
                      <a:pt x="7" y="447"/>
                    </a:lnTo>
                    <a:lnTo>
                      <a:pt x="7" y="444"/>
                    </a:lnTo>
                    <a:lnTo>
                      <a:pt x="5" y="446"/>
                    </a:lnTo>
                    <a:lnTo>
                      <a:pt x="6" y="443"/>
                    </a:lnTo>
                    <a:lnTo>
                      <a:pt x="6" y="444"/>
                    </a:lnTo>
                    <a:lnTo>
                      <a:pt x="6" y="441"/>
                    </a:lnTo>
                    <a:lnTo>
                      <a:pt x="5" y="441"/>
                    </a:lnTo>
                    <a:lnTo>
                      <a:pt x="5" y="436"/>
                    </a:lnTo>
                    <a:lnTo>
                      <a:pt x="6" y="436"/>
                    </a:lnTo>
                    <a:lnTo>
                      <a:pt x="6" y="434"/>
                    </a:lnTo>
                    <a:lnTo>
                      <a:pt x="6" y="435"/>
                    </a:lnTo>
                    <a:lnTo>
                      <a:pt x="6" y="432"/>
                    </a:lnTo>
                    <a:lnTo>
                      <a:pt x="5" y="433"/>
                    </a:lnTo>
                    <a:lnTo>
                      <a:pt x="5" y="426"/>
                    </a:lnTo>
                    <a:lnTo>
                      <a:pt x="3" y="419"/>
                    </a:lnTo>
                    <a:lnTo>
                      <a:pt x="5" y="422"/>
                    </a:lnTo>
                    <a:lnTo>
                      <a:pt x="5" y="415"/>
                    </a:lnTo>
                    <a:lnTo>
                      <a:pt x="6" y="414"/>
                    </a:lnTo>
                    <a:lnTo>
                      <a:pt x="5" y="413"/>
                    </a:lnTo>
                    <a:lnTo>
                      <a:pt x="2" y="414"/>
                    </a:lnTo>
                    <a:lnTo>
                      <a:pt x="7" y="411"/>
                    </a:lnTo>
                    <a:lnTo>
                      <a:pt x="6" y="405"/>
                    </a:lnTo>
                    <a:lnTo>
                      <a:pt x="3" y="402"/>
                    </a:lnTo>
                    <a:lnTo>
                      <a:pt x="6" y="404"/>
                    </a:lnTo>
                    <a:lnTo>
                      <a:pt x="6" y="399"/>
                    </a:lnTo>
                    <a:lnTo>
                      <a:pt x="5" y="399"/>
                    </a:lnTo>
                    <a:lnTo>
                      <a:pt x="2" y="398"/>
                    </a:lnTo>
                    <a:lnTo>
                      <a:pt x="7" y="396"/>
                    </a:lnTo>
                    <a:lnTo>
                      <a:pt x="5" y="396"/>
                    </a:lnTo>
                    <a:lnTo>
                      <a:pt x="8" y="396"/>
                    </a:lnTo>
                    <a:lnTo>
                      <a:pt x="6" y="394"/>
                    </a:lnTo>
                    <a:lnTo>
                      <a:pt x="6" y="392"/>
                    </a:lnTo>
                    <a:lnTo>
                      <a:pt x="7" y="390"/>
                    </a:lnTo>
                    <a:lnTo>
                      <a:pt x="6" y="389"/>
                    </a:lnTo>
                    <a:lnTo>
                      <a:pt x="8" y="388"/>
                    </a:lnTo>
                    <a:lnTo>
                      <a:pt x="3" y="382"/>
                    </a:lnTo>
                    <a:lnTo>
                      <a:pt x="7" y="386"/>
                    </a:lnTo>
                    <a:lnTo>
                      <a:pt x="8" y="382"/>
                    </a:lnTo>
                    <a:lnTo>
                      <a:pt x="8" y="383"/>
                    </a:lnTo>
                    <a:lnTo>
                      <a:pt x="6" y="382"/>
                    </a:lnTo>
                    <a:lnTo>
                      <a:pt x="7" y="381"/>
                    </a:lnTo>
                    <a:lnTo>
                      <a:pt x="7" y="368"/>
                    </a:lnTo>
                    <a:lnTo>
                      <a:pt x="8" y="369"/>
                    </a:lnTo>
                    <a:lnTo>
                      <a:pt x="8" y="364"/>
                    </a:lnTo>
                    <a:lnTo>
                      <a:pt x="7" y="364"/>
                    </a:lnTo>
                    <a:lnTo>
                      <a:pt x="7" y="362"/>
                    </a:lnTo>
                    <a:lnTo>
                      <a:pt x="9" y="362"/>
                    </a:lnTo>
                    <a:lnTo>
                      <a:pt x="7" y="360"/>
                    </a:lnTo>
                    <a:lnTo>
                      <a:pt x="8" y="360"/>
                    </a:lnTo>
                    <a:lnTo>
                      <a:pt x="8" y="358"/>
                    </a:lnTo>
                    <a:lnTo>
                      <a:pt x="7" y="359"/>
                    </a:lnTo>
                    <a:lnTo>
                      <a:pt x="9" y="354"/>
                    </a:lnTo>
                    <a:lnTo>
                      <a:pt x="8" y="351"/>
                    </a:lnTo>
                    <a:lnTo>
                      <a:pt x="9" y="350"/>
                    </a:lnTo>
                    <a:lnTo>
                      <a:pt x="8" y="349"/>
                    </a:lnTo>
                    <a:lnTo>
                      <a:pt x="9" y="347"/>
                    </a:lnTo>
                    <a:lnTo>
                      <a:pt x="11" y="342"/>
                    </a:lnTo>
                    <a:lnTo>
                      <a:pt x="5" y="340"/>
                    </a:lnTo>
                    <a:lnTo>
                      <a:pt x="10" y="340"/>
                    </a:lnTo>
                    <a:lnTo>
                      <a:pt x="9" y="335"/>
                    </a:lnTo>
                    <a:lnTo>
                      <a:pt x="11" y="339"/>
                    </a:lnTo>
                    <a:lnTo>
                      <a:pt x="8" y="334"/>
                    </a:lnTo>
                    <a:lnTo>
                      <a:pt x="10" y="331"/>
                    </a:lnTo>
                    <a:lnTo>
                      <a:pt x="9" y="331"/>
                    </a:lnTo>
                    <a:lnTo>
                      <a:pt x="9" y="329"/>
                    </a:lnTo>
                    <a:lnTo>
                      <a:pt x="9" y="325"/>
                    </a:lnTo>
                    <a:lnTo>
                      <a:pt x="9" y="323"/>
                    </a:lnTo>
                    <a:lnTo>
                      <a:pt x="11" y="327"/>
                    </a:lnTo>
                    <a:lnTo>
                      <a:pt x="10" y="325"/>
                    </a:lnTo>
                    <a:lnTo>
                      <a:pt x="12" y="322"/>
                    </a:lnTo>
                    <a:lnTo>
                      <a:pt x="11" y="323"/>
                    </a:lnTo>
                    <a:lnTo>
                      <a:pt x="12" y="316"/>
                    </a:lnTo>
                    <a:lnTo>
                      <a:pt x="14" y="316"/>
                    </a:lnTo>
                    <a:lnTo>
                      <a:pt x="12" y="315"/>
                    </a:lnTo>
                    <a:lnTo>
                      <a:pt x="15" y="313"/>
                    </a:lnTo>
                    <a:lnTo>
                      <a:pt x="14" y="310"/>
                    </a:lnTo>
                    <a:lnTo>
                      <a:pt x="14" y="307"/>
                    </a:lnTo>
                    <a:lnTo>
                      <a:pt x="16" y="307"/>
                    </a:lnTo>
                    <a:lnTo>
                      <a:pt x="17" y="302"/>
                    </a:lnTo>
                    <a:lnTo>
                      <a:pt x="17" y="297"/>
                    </a:lnTo>
                    <a:lnTo>
                      <a:pt x="16" y="295"/>
                    </a:lnTo>
                    <a:lnTo>
                      <a:pt x="18" y="297"/>
                    </a:lnTo>
                    <a:lnTo>
                      <a:pt x="17" y="295"/>
                    </a:lnTo>
                    <a:lnTo>
                      <a:pt x="19" y="295"/>
                    </a:lnTo>
                    <a:lnTo>
                      <a:pt x="18" y="292"/>
                    </a:lnTo>
                    <a:lnTo>
                      <a:pt x="19" y="291"/>
                    </a:lnTo>
                    <a:lnTo>
                      <a:pt x="18" y="290"/>
                    </a:lnTo>
                    <a:lnTo>
                      <a:pt x="18" y="288"/>
                    </a:lnTo>
                    <a:lnTo>
                      <a:pt x="19" y="289"/>
                    </a:lnTo>
                    <a:lnTo>
                      <a:pt x="19" y="287"/>
                    </a:lnTo>
                    <a:lnTo>
                      <a:pt x="20" y="285"/>
                    </a:lnTo>
                    <a:lnTo>
                      <a:pt x="18" y="281"/>
                    </a:lnTo>
                    <a:lnTo>
                      <a:pt x="19" y="283"/>
                    </a:lnTo>
                    <a:lnTo>
                      <a:pt x="19" y="281"/>
                    </a:lnTo>
                    <a:lnTo>
                      <a:pt x="17" y="281"/>
                    </a:lnTo>
                    <a:lnTo>
                      <a:pt x="18" y="276"/>
                    </a:lnTo>
                    <a:lnTo>
                      <a:pt x="18" y="270"/>
                    </a:lnTo>
                    <a:lnTo>
                      <a:pt x="16" y="267"/>
                    </a:lnTo>
                    <a:lnTo>
                      <a:pt x="20" y="258"/>
                    </a:lnTo>
                    <a:lnTo>
                      <a:pt x="19" y="257"/>
                    </a:lnTo>
                    <a:lnTo>
                      <a:pt x="22" y="257"/>
                    </a:lnTo>
                    <a:lnTo>
                      <a:pt x="20" y="240"/>
                    </a:lnTo>
                    <a:lnTo>
                      <a:pt x="22" y="240"/>
                    </a:lnTo>
                    <a:lnTo>
                      <a:pt x="20" y="239"/>
                    </a:lnTo>
                    <a:lnTo>
                      <a:pt x="23" y="238"/>
                    </a:lnTo>
                    <a:lnTo>
                      <a:pt x="25" y="232"/>
                    </a:lnTo>
                    <a:lnTo>
                      <a:pt x="24" y="231"/>
                    </a:lnTo>
                    <a:lnTo>
                      <a:pt x="24" y="230"/>
                    </a:lnTo>
                    <a:lnTo>
                      <a:pt x="25" y="229"/>
                    </a:lnTo>
                    <a:lnTo>
                      <a:pt x="25" y="229"/>
                    </a:lnTo>
                    <a:lnTo>
                      <a:pt x="25" y="229"/>
                    </a:lnTo>
                    <a:lnTo>
                      <a:pt x="24" y="231"/>
                    </a:lnTo>
                    <a:lnTo>
                      <a:pt x="26" y="227"/>
                    </a:lnTo>
                    <a:lnTo>
                      <a:pt x="24" y="225"/>
                    </a:lnTo>
                    <a:lnTo>
                      <a:pt x="24" y="223"/>
                    </a:lnTo>
                    <a:lnTo>
                      <a:pt x="25" y="225"/>
                    </a:lnTo>
                    <a:lnTo>
                      <a:pt x="25" y="222"/>
                    </a:lnTo>
                    <a:lnTo>
                      <a:pt x="24" y="223"/>
                    </a:lnTo>
                    <a:lnTo>
                      <a:pt x="25" y="222"/>
                    </a:lnTo>
                    <a:lnTo>
                      <a:pt x="23" y="221"/>
                    </a:lnTo>
                    <a:lnTo>
                      <a:pt x="25" y="217"/>
                    </a:lnTo>
                    <a:lnTo>
                      <a:pt x="23" y="218"/>
                    </a:lnTo>
                    <a:lnTo>
                      <a:pt x="24" y="216"/>
                    </a:lnTo>
                    <a:lnTo>
                      <a:pt x="25" y="217"/>
                    </a:lnTo>
                    <a:lnTo>
                      <a:pt x="25" y="214"/>
                    </a:lnTo>
                    <a:lnTo>
                      <a:pt x="26" y="215"/>
                    </a:lnTo>
                    <a:lnTo>
                      <a:pt x="26" y="213"/>
                    </a:lnTo>
                    <a:lnTo>
                      <a:pt x="27" y="213"/>
                    </a:lnTo>
                    <a:lnTo>
                      <a:pt x="26" y="212"/>
                    </a:lnTo>
                    <a:lnTo>
                      <a:pt x="28" y="213"/>
                    </a:lnTo>
                    <a:lnTo>
                      <a:pt x="30" y="209"/>
                    </a:lnTo>
                    <a:lnTo>
                      <a:pt x="28" y="209"/>
                    </a:lnTo>
                    <a:lnTo>
                      <a:pt x="27" y="206"/>
                    </a:lnTo>
                    <a:lnTo>
                      <a:pt x="30" y="206"/>
                    </a:lnTo>
                    <a:lnTo>
                      <a:pt x="28" y="201"/>
                    </a:lnTo>
                    <a:lnTo>
                      <a:pt x="32" y="200"/>
                    </a:lnTo>
                    <a:lnTo>
                      <a:pt x="30" y="199"/>
                    </a:lnTo>
                    <a:lnTo>
                      <a:pt x="31" y="198"/>
                    </a:lnTo>
                    <a:lnTo>
                      <a:pt x="32" y="193"/>
                    </a:lnTo>
                    <a:lnTo>
                      <a:pt x="35" y="193"/>
                    </a:lnTo>
                    <a:lnTo>
                      <a:pt x="35" y="191"/>
                    </a:lnTo>
                    <a:lnTo>
                      <a:pt x="34" y="188"/>
                    </a:lnTo>
                    <a:lnTo>
                      <a:pt x="31" y="187"/>
                    </a:lnTo>
                    <a:lnTo>
                      <a:pt x="32" y="184"/>
                    </a:lnTo>
                    <a:lnTo>
                      <a:pt x="34" y="187"/>
                    </a:lnTo>
                    <a:lnTo>
                      <a:pt x="36" y="185"/>
                    </a:lnTo>
                    <a:lnTo>
                      <a:pt x="33" y="183"/>
                    </a:lnTo>
                    <a:lnTo>
                      <a:pt x="37" y="183"/>
                    </a:lnTo>
                    <a:lnTo>
                      <a:pt x="37" y="181"/>
                    </a:lnTo>
                    <a:lnTo>
                      <a:pt x="36" y="181"/>
                    </a:lnTo>
                    <a:lnTo>
                      <a:pt x="40" y="176"/>
                    </a:lnTo>
                    <a:lnTo>
                      <a:pt x="39" y="173"/>
                    </a:lnTo>
                    <a:lnTo>
                      <a:pt x="40" y="171"/>
                    </a:lnTo>
                    <a:lnTo>
                      <a:pt x="41" y="172"/>
                    </a:lnTo>
                    <a:lnTo>
                      <a:pt x="41" y="168"/>
                    </a:lnTo>
                    <a:lnTo>
                      <a:pt x="40" y="168"/>
                    </a:lnTo>
                    <a:lnTo>
                      <a:pt x="39" y="167"/>
                    </a:lnTo>
                    <a:lnTo>
                      <a:pt x="42" y="167"/>
                    </a:lnTo>
                    <a:lnTo>
                      <a:pt x="42" y="162"/>
                    </a:lnTo>
                    <a:lnTo>
                      <a:pt x="42" y="160"/>
                    </a:lnTo>
                    <a:lnTo>
                      <a:pt x="40" y="159"/>
                    </a:lnTo>
                    <a:lnTo>
                      <a:pt x="42" y="159"/>
                    </a:lnTo>
                    <a:lnTo>
                      <a:pt x="41" y="154"/>
                    </a:lnTo>
                    <a:lnTo>
                      <a:pt x="43" y="153"/>
                    </a:lnTo>
                    <a:lnTo>
                      <a:pt x="43" y="150"/>
                    </a:lnTo>
                    <a:lnTo>
                      <a:pt x="42" y="149"/>
                    </a:lnTo>
                    <a:lnTo>
                      <a:pt x="43" y="149"/>
                    </a:lnTo>
                    <a:lnTo>
                      <a:pt x="41" y="146"/>
                    </a:lnTo>
                    <a:lnTo>
                      <a:pt x="44" y="143"/>
                    </a:lnTo>
                    <a:lnTo>
                      <a:pt x="42" y="141"/>
                    </a:lnTo>
                    <a:lnTo>
                      <a:pt x="44" y="140"/>
                    </a:lnTo>
                    <a:lnTo>
                      <a:pt x="42" y="138"/>
                    </a:lnTo>
                    <a:lnTo>
                      <a:pt x="43" y="138"/>
                    </a:lnTo>
                    <a:lnTo>
                      <a:pt x="43" y="137"/>
                    </a:lnTo>
                    <a:lnTo>
                      <a:pt x="43" y="133"/>
                    </a:lnTo>
                    <a:lnTo>
                      <a:pt x="42" y="133"/>
                    </a:lnTo>
                    <a:lnTo>
                      <a:pt x="43" y="121"/>
                    </a:lnTo>
                    <a:lnTo>
                      <a:pt x="45" y="121"/>
                    </a:lnTo>
                    <a:lnTo>
                      <a:pt x="44" y="115"/>
                    </a:lnTo>
                    <a:lnTo>
                      <a:pt x="45" y="118"/>
                    </a:lnTo>
                    <a:lnTo>
                      <a:pt x="48" y="118"/>
                    </a:lnTo>
                    <a:lnTo>
                      <a:pt x="48" y="117"/>
                    </a:lnTo>
                    <a:lnTo>
                      <a:pt x="45" y="115"/>
                    </a:lnTo>
                    <a:lnTo>
                      <a:pt x="47" y="109"/>
                    </a:lnTo>
                    <a:lnTo>
                      <a:pt x="48" y="111"/>
                    </a:lnTo>
                    <a:lnTo>
                      <a:pt x="47" y="108"/>
                    </a:lnTo>
                    <a:lnTo>
                      <a:pt x="49" y="107"/>
                    </a:lnTo>
                    <a:lnTo>
                      <a:pt x="49" y="106"/>
                    </a:lnTo>
                    <a:lnTo>
                      <a:pt x="47" y="101"/>
                    </a:lnTo>
                    <a:lnTo>
                      <a:pt x="50" y="103"/>
                    </a:lnTo>
                    <a:lnTo>
                      <a:pt x="48" y="100"/>
                    </a:lnTo>
                    <a:lnTo>
                      <a:pt x="49" y="100"/>
                    </a:lnTo>
                    <a:lnTo>
                      <a:pt x="50" y="100"/>
                    </a:lnTo>
                    <a:lnTo>
                      <a:pt x="49" y="100"/>
                    </a:lnTo>
                    <a:lnTo>
                      <a:pt x="49" y="88"/>
                    </a:lnTo>
                    <a:lnTo>
                      <a:pt x="48" y="89"/>
                    </a:lnTo>
                    <a:lnTo>
                      <a:pt x="45" y="90"/>
                    </a:lnTo>
                    <a:lnTo>
                      <a:pt x="47" y="88"/>
                    </a:lnTo>
                    <a:lnTo>
                      <a:pt x="48" y="87"/>
                    </a:lnTo>
                    <a:lnTo>
                      <a:pt x="50" y="88"/>
                    </a:lnTo>
                    <a:lnTo>
                      <a:pt x="51" y="87"/>
                    </a:lnTo>
                    <a:lnTo>
                      <a:pt x="50" y="84"/>
                    </a:lnTo>
                    <a:lnTo>
                      <a:pt x="51" y="84"/>
                    </a:lnTo>
                    <a:lnTo>
                      <a:pt x="49" y="83"/>
                    </a:lnTo>
                    <a:lnTo>
                      <a:pt x="51" y="82"/>
                    </a:lnTo>
                    <a:lnTo>
                      <a:pt x="49" y="75"/>
                    </a:lnTo>
                    <a:lnTo>
                      <a:pt x="48" y="75"/>
                    </a:lnTo>
                    <a:lnTo>
                      <a:pt x="44" y="73"/>
                    </a:lnTo>
                    <a:lnTo>
                      <a:pt x="49" y="68"/>
                    </a:lnTo>
                    <a:lnTo>
                      <a:pt x="50" y="64"/>
                    </a:lnTo>
                    <a:lnTo>
                      <a:pt x="49" y="65"/>
                    </a:lnTo>
                    <a:lnTo>
                      <a:pt x="50" y="64"/>
                    </a:lnTo>
                    <a:lnTo>
                      <a:pt x="48" y="62"/>
                    </a:lnTo>
                    <a:lnTo>
                      <a:pt x="49" y="59"/>
                    </a:lnTo>
                    <a:lnTo>
                      <a:pt x="50" y="61"/>
                    </a:lnTo>
                    <a:lnTo>
                      <a:pt x="52" y="59"/>
                    </a:lnTo>
                    <a:lnTo>
                      <a:pt x="51" y="57"/>
                    </a:lnTo>
                    <a:lnTo>
                      <a:pt x="49" y="59"/>
                    </a:lnTo>
                    <a:lnTo>
                      <a:pt x="49" y="58"/>
                    </a:lnTo>
                    <a:lnTo>
                      <a:pt x="48" y="57"/>
                    </a:lnTo>
                    <a:lnTo>
                      <a:pt x="52" y="55"/>
                    </a:lnTo>
                    <a:lnTo>
                      <a:pt x="55" y="50"/>
                    </a:lnTo>
                    <a:lnTo>
                      <a:pt x="53" y="50"/>
                    </a:lnTo>
                    <a:lnTo>
                      <a:pt x="53" y="48"/>
                    </a:lnTo>
                    <a:lnTo>
                      <a:pt x="55" y="49"/>
                    </a:lnTo>
                    <a:lnTo>
                      <a:pt x="53" y="46"/>
                    </a:lnTo>
                    <a:lnTo>
                      <a:pt x="56" y="47"/>
                    </a:lnTo>
                    <a:lnTo>
                      <a:pt x="56" y="45"/>
                    </a:lnTo>
                    <a:lnTo>
                      <a:pt x="51" y="46"/>
                    </a:lnTo>
                    <a:lnTo>
                      <a:pt x="55" y="45"/>
                    </a:lnTo>
                    <a:lnTo>
                      <a:pt x="55" y="42"/>
                    </a:lnTo>
                    <a:lnTo>
                      <a:pt x="51" y="42"/>
                    </a:lnTo>
                    <a:lnTo>
                      <a:pt x="51" y="40"/>
                    </a:lnTo>
                    <a:lnTo>
                      <a:pt x="52" y="39"/>
                    </a:lnTo>
                    <a:lnTo>
                      <a:pt x="53" y="40"/>
                    </a:lnTo>
                    <a:lnTo>
                      <a:pt x="52" y="40"/>
                    </a:lnTo>
                    <a:lnTo>
                      <a:pt x="55" y="41"/>
                    </a:lnTo>
                    <a:lnTo>
                      <a:pt x="53" y="40"/>
                    </a:lnTo>
                    <a:lnTo>
                      <a:pt x="55" y="40"/>
                    </a:lnTo>
                    <a:lnTo>
                      <a:pt x="55" y="40"/>
                    </a:lnTo>
                    <a:lnTo>
                      <a:pt x="55" y="38"/>
                    </a:lnTo>
                    <a:lnTo>
                      <a:pt x="53" y="38"/>
                    </a:lnTo>
                    <a:lnTo>
                      <a:pt x="56" y="37"/>
                    </a:lnTo>
                    <a:lnTo>
                      <a:pt x="55" y="36"/>
                    </a:lnTo>
                    <a:lnTo>
                      <a:pt x="55" y="33"/>
                    </a:lnTo>
                    <a:lnTo>
                      <a:pt x="56" y="33"/>
                    </a:lnTo>
                    <a:lnTo>
                      <a:pt x="55" y="31"/>
                    </a:lnTo>
                    <a:lnTo>
                      <a:pt x="53" y="30"/>
                    </a:lnTo>
                    <a:lnTo>
                      <a:pt x="56" y="26"/>
                    </a:lnTo>
                    <a:lnTo>
                      <a:pt x="55" y="23"/>
                    </a:lnTo>
                    <a:lnTo>
                      <a:pt x="59" y="20"/>
                    </a:lnTo>
                    <a:lnTo>
                      <a:pt x="58" y="19"/>
                    </a:lnTo>
                    <a:lnTo>
                      <a:pt x="58" y="15"/>
                    </a:lnTo>
                    <a:lnTo>
                      <a:pt x="59" y="14"/>
                    </a:lnTo>
                    <a:lnTo>
                      <a:pt x="61" y="15"/>
                    </a:lnTo>
                    <a:lnTo>
                      <a:pt x="62" y="13"/>
                    </a:lnTo>
                    <a:lnTo>
                      <a:pt x="68" y="6"/>
                    </a:lnTo>
                    <a:lnTo>
                      <a:pt x="68" y="5"/>
                    </a:lnTo>
                    <a:lnTo>
                      <a:pt x="69" y="6"/>
                    </a:lnTo>
                    <a:lnTo>
                      <a:pt x="70" y="5"/>
                    </a:lnTo>
                    <a:lnTo>
                      <a:pt x="70" y="7"/>
                    </a:lnTo>
                    <a:lnTo>
                      <a:pt x="73" y="5"/>
                    </a:lnTo>
                    <a:lnTo>
                      <a:pt x="74" y="6"/>
                    </a:lnTo>
                    <a:lnTo>
                      <a:pt x="76" y="6"/>
                    </a:lnTo>
                    <a:lnTo>
                      <a:pt x="78" y="7"/>
                    </a:lnTo>
                    <a:lnTo>
                      <a:pt x="81" y="7"/>
                    </a:lnTo>
                    <a:lnTo>
                      <a:pt x="83" y="7"/>
                    </a:lnTo>
                    <a:lnTo>
                      <a:pt x="84" y="6"/>
                    </a:lnTo>
                    <a:lnTo>
                      <a:pt x="85" y="4"/>
                    </a:lnTo>
                    <a:lnTo>
                      <a:pt x="87" y="7"/>
                    </a:lnTo>
                    <a:lnTo>
                      <a:pt x="89" y="5"/>
                    </a:lnTo>
                    <a:lnTo>
                      <a:pt x="90" y="6"/>
                    </a:lnTo>
                    <a:lnTo>
                      <a:pt x="100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E20074"/>
                  </a:buClr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0" cap="none" spc="0" normalizeH="0" baseline="0" noProof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90" name="Freeform 130"/>
              <p:cNvSpPr>
                <a:spLocks/>
              </p:cNvSpPr>
              <p:nvPr/>
            </p:nvSpPr>
            <p:spPr bwMode="auto">
              <a:xfrm>
                <a:off x="11358564" y="515939"/>
                <a:ext cx="185738" cy="836613"/>
              </a:xfrm>
              <a:custGeom>
                <a:avLst/>
                <a:gdLst>
                  <a:gd name="T0" fmla="*/ 4 w 117"/>
                  <a:gd name="T1" fmla="*/ 5 h 527"/>
                  <a:gd name="T2" fmla="*/ 7 w 117"/>
                  <a:gd name="T3" fmla="*/ 5 h 527"/>
                  <a:gd name="T4" fmla="*/ 10 w 117"/>
                  <a:gd name="T5" fmla="*/ 7 h 527"/>
                  <a:gd name="T6" fmla="*/ 14 w 117"/>
                  <a:gd name="T7" fmla="*/ 5 h 527"/>
                  <a:gd name="T8" fmla="*/ 18 w 117"/>
                  <a:gd name="T9" fmla="*/ 5 h 527"/>
                  <a:gd name="T10" fmla="*/ 23 w 117"/>
                  <a:gd name="T11" fmla="*/ 5 h 527"/>
                  <a:gd name="T12" fmla="*/ 24 w 117"/>
                  <a:gd name="T13" fmla="*/ 6 h 527"/>
                  <a:gd name="T14" fmla="*/ 29 w 117"/>
                  <a:gd name="T15" fmla="*/ 7 h 527"/>
                  <a:gd name="T16" fmla="*/ 32 w 117"/>
                  <a:gd name="T17" fmla="*/ 7 h 527"/>
                  <a:gd name="T18" fmla="*/ 40 w 117"/>
                  <a:gd name="T19" fmla="*/ 6 h 527"/>
                  <a:gd name="T20" fmla="*/ 47 w 117"/>
                  <a:gd name="T21" fmla="*/ 10 h 527"/>
                  <a:gd name="T22" fmla="*/ 56 w 117"/>
                  <a:gd name="T23" fmla="*/ 12 h 527"/>
                  <a:gd name="T24" fmla="*/ 66 w 117"/>
                  <a:gd name="T25" fmla="*/ 15 h 527"/>
                  <a:gd name="T26" fmla="*/ 72 w 117"/>
                  <a:gd name="T27" fmla="*/ 17 h 527"/>
                  <a:gd name="T28" fmla="*/ 73 w 117"/>
                  <a:gd name="T29" fmla="*/ 18 h 527"/>
                  <a:gd name="T30" fmla="*/ 75 w 117"/>
                  <a:gd name="T31" fmla="*/ 18 h 527"/>
                  <a:gd name="T32" fmla="*/ 81 w 117"/>
                  <a:gd name="T33" fmla="*/ 17 h 527"/>
                  <a:gd name="T34" fmla="*/ 85 w 117"/>
                  <a:gd name="T35" fmla="*/ 14 h 527"/>
                  <a:gd name="T36" fmla="*/ 91 w 117"/>
                  <a:gd name="T37" fmla="*/ 16 h 527"/>
                  <a:gd name="T38" fmla="*/ 103 w 117"/>
                  <a:gd name="T39" fmla="*/ 19 h 527"/>
                  <a:gd name="T40" fmla="*/ 111 w 117"/>
                  <a:gd name="T41" fmla="*/ 24 h 527"/>
                  <a:gd name="T42" fmla="*/ 117 w 117"/>
                  <a:gd name="T43" fmla="*/ 23 h 527"/>
                  <a:gd name="T44" fmla="*/ 117 w 117"/>
                  <a:gd name="T45" fmla="*/ 519 h 527"/>
                  <a:gd name="T46" fmla="*/ 116 w 117"/>
                  <a:gd name="T47" fmla="*/ 522 h 527"/>
                  <a:gd name="T48" fmla="*/ 111 w 117"/>
                  <a:gd name="T49" fmla="*/ 519 h 527"/>
                  <a:gd name="T50" fmla="*/ 105 w 117"/>
                  <a:gd name="T51" fmla="*/ 517 h 527"/>
                  <a:gd name="T52" fmla="*/ 100 w 117"/>
                  <a:gd name="T53" fmla="*/ 517 h 527"/>
                  <a:gd name="T54" fmla="*/ 91 w 117"/>
                  <a:gd name="T55" fmla="*/ 516 h 527"/>
                  <a:gd name="T56" fmla="*/ 84 w 117"/>
                  <a:gd name="T57" fmla="*/ 517 h 527"/>
                  <a:gd name="T58" fmla="*/ 78 w 117"/>
                  <a:gd name="T59" fmla="*/ 520 h 527"/>
                  <a:gd name="T60" fmla="*/ 77 w 117"/>
                  <a:gd name="T61" fmla="*/ 521 h 527"/>
                  <a:gd name="T62" fmla="*/ 76 w 117"/>
                  <a:gd name="T63" fmla="*/ 527 h 527"/>
                  <a:gd name="T64" fmla="*/ 66 w 117"/>
                  <a:gd name="T65" fmla="*/ 519 h 527"/>
                  <a:gd name="T66" fmla="*/ 61 w 117"/>
                  <a:gd name="T67" fmla="*/ 517 h 527"/>
                  <a:gd name="T68" fmla="*/ 60 w 117"/>
                  <a:gd name="T69" fmla="*/ 514 h 527"/>
                  <a:gd name="T70" fmla="*/ 57 w 117"/>
                  <a:gd name="T71" fmla="*/ 518 h 527"/>
                  <a:gd name="T72" fmla="*/ 54 w 117"/>
                  <a:gd name="T73" fmla="*/ 512 h 527"/>
                  <a:gd name="T74" fmla="*/ 51 w 117"/>
                  <a:gd name="T75" fmla="*/ 513 h 527"/>
                  <a:gd name="T76" fmla="*/ 50 w 117"/>
                  <a:gd name="T77" fmla="*/ 511 h 527"/>
                  <a:gd name="T78" fmla="*/ 50 w 117"/>
                  <a:gd name="T79" fmla="*/ 514 h 527"/>
                  <a:gd name="T80" fmla="*/ 49 w 117"/>
                  <a:gd name="T81" fmla="*/ 516 h 527"/>
                  <a:gd name="T82" fmla="*/ 47 w 117"/>
                  <a:gd name="T83" fmla="*/ 514 h 527"/>
                  <a:gd name="T84" fmla="*/ 42 w 117"/>
                  <a:gd name="T85" fmla="*/ 510 h 527"/>
                  <a:gd name="T86" fmla="*/ 42 w 117"/>
                  <a:gd name="T87" fmla="*/ 514 h 527"/>
                  <a:gd name="T88" fmla="*/ 39 w 117"/>
                  <a:gd name="T89" fmla="*/ 517 h 527"/>
                  <a:gd name="T90" fmla="*/ 35 w 117"/>
                  <a:gd name="T91" fmla="*/ 511 h 527"/>
                  <a:gd name="T92" fmla="*/ 33 w 117"/>
                  <a:gd name="T93" fmla="*/ 510 h 527"/>
                  <a:gd name="T94" fmla="*/ 30 w 117"/>
                  <a:gd name="T95" fmla="*/ 512 h 527"/>
                  <a:gd name="T96" fmla="*/ 17 w 117"/>
                  <a:gd name="T97" fmla="*/ 512 h 527"/>
                  <a:gd name="T98" fmla="*/ 10 w 117"/>
                  <a:gd name="T99" fmla="*/ 507 h 527"/>
                  <a:gd name="T100" fmla="*/ 2 w 117"/>
                  <a:gd name="T101" fmla="*/ 509 h 5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17" h="527">
                    <a:moveTo>
                      <a:pt x="0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4" y="5"/>
                    </a:lnTo>
                    <a:lnTo>
                      <a:pt x="4" y="0"/>
                    </a:lnTo>
                    <a:lnTo>
                      <a:pt x="6" y="3"/>
                    </a:lnTo>
                    <a:lnTo>
                      <a:pt x="6" y="0"/>
                    </a:lnTo>
                    <a:lnTo>
                      <a:pt x="7" y="5"/>
                    </a:lnTo>
                    <a:lnTo>
                      <a:pt x="7" y="0"/>
                    </a:lnTo>
                    <a:lnTo>
                      <a:pt x="9" y="6"/>
                    </a:lnTo>
                    <a:lnTo>
                      <a:pt x="11" y="5"/>
                    </a:lnTo>
                    <a:lnTo>
                      <a:pt x="10" y="7"/>
                    </a:lnTo>
                    <a:lnTo>
                      <a:pt x="13" y="8"/>
                    </a:lnTo>
                    <a:lnTo>
                      <a:pt x="13" y="6"/>
                    </a:lnTo>
                    <a:lnTo>
                      <a:pt x="13" y="5"/>
                    </a:lnTo>
                    <a:lnTo>
                      <a:pt x="14" y="5"/>
                    </a:lnTo>
                    <a:lnTo>
                      <a:pt x="13" y="1"/>
                    </a:lnTo>
                    <a:lnTo>
                      <a:pt x="16" y="2"/>
                    </a:lnTo>
                    <a:lnTo>
                      <a:pt x="16" y="3"/>
                    </a:lnTo>
                    <a:lnTo>
                      <a:pt x="18" y="5"/>
                    </a:lnTo>
                    <a:lnTo>
                      <a:pt x="18" y="0"/>
                    </a:lnTo>
                    <a:lnTo>
                      <a:pt x="19" y="5"/>
                    </a:lnTo>
                    <a:lnTo>
                      <a:pt x="23" y="2"/>
                    </a:lnTo>
                    <a:lnTo>
                      <a:pt x="23" y="5"/>
                    </a:lnTo>
                    <a:lnTo>
                      <a:pt x="25" y="3"/>
                    </a:lnTo>
                    <a:lnTo>
                      <a:pt x="24" y="6"/>
                    </a:lnTo>
                    <a:lnTo>
                      <a:pt x="24" y="5"/>
                    </a:lnTo>
                    <a:lnTo>
                      <a:pt x="24" y="6"/>
                    </a:lnTo>
                    <a:lnTo>
                      <a:pt x="26" y="5"/>
                    </a:lnTo>
                    <a:lnTo>
                      <a:pt x="26" y="5"/>
                    </a:lnTo>
                    <a:lnTo>
                      <a:pt x="29" y="7"/>
                    </a:lnTo>
                    <a:lnTo>
                      <a:pt x="29" y="7"/>
                    </a:lnTo>
                    <a:lnTo>
                      <a:pt x="30" y="8"/>
                    </a:lnTo>
                    <a:lnTo>
                      <a:pt x="31" y="7"/>
                    </a:lnTo>
                    <a:lnTo>
                      <a:pt x="31" y="10"/>
                    </a:lnTo>
                    <a:lnTo>
                      <a:pt x="32" y="7"/>
                    </a:lnTo>
                    <a:lnTo>
                      <a:pt x="33" y="8"/>
                    </a:lnTo>
                    <a:lnTo>
                      <a:pt x="34" y="6"/>
                    </a:lnTo>
                    <a:lnTo>
                      <a:pt x="34" y="8"/>
                    </a:lnTo>
                    <a:lnTo>
                      <a:pt x="40" y="6"/>
                    </a:lnTo>
                    <a:lnTo>
                      <a:pt x="39" y="7"/>
                    </a:lnTo>
                    <a:lnTo>
                      <a:pt x="43" y="9"/>
                    </a:lnTo>
                    <a:lnTo>
                      <a:pt x="47" y="8"/>
                    </a:lnTo>
                    <a:lnTo>
                      <a:pt x="47" y="10"/>
                    </a:lnTo>
                    <a:lnTo>
                      <a:pt x="51" y="12"/>
                    </a:lnTo>
                    <a:lnTo>
                      <a:pt x="52" y="9"/>
                    </a:lnTo>
                    <a:lnTo>
                      <a:pt x="54" y="14"/>
                    </a:lnTo>
                    <a:lnTo>
                      <a:pt x="56" y="12"/>
                    </a:lnTo>
                    <a:lnTo>
                      <a:pt x="64" y="15"/>
                    </a:lnTo>
                    <a:lnTo>
                      <a:pt x="64" y="17"/>
                    </a:lnTo>
                    <a:lnTo>
                      <a:pt x="66" y="17"/>
                    </a:lnTo>
                    <a:lnTo>
                      <a:pt x="66" y="15"/>
                    </a:lnTo>
                    <a:lnTo>
                      <a:pt x="67" y="16"/>
                    </a:lnTo>
                    <a:lnTo>
                      <a:pt x="67" y="17"/>
                    </a:lnTo>
                    <a:lnTo>
                      <a:pt x="68" y="17"/>
                    </a:lnTo>
                    <a:lnTo>
                      <a:pt x="72" y="17"/>
                    </a:lnTo>
                    <a:lnTo>
                      <a:pt x="71" y="19"/>
                    </a:lnTo>
                    <a:lnTo>
                      <a:pt x="73" y="18"/>
                    </a:lnTo>
                    <a:lnTo>
                      <a:pt x="73" y="17"/>
                    </a:lnTo>
                    <a:lnTo>
                      <a:pt x="73" y="18"/>
                    </a:lnTo>
                    <a:lnTo>
                      <a:pt x="75" y="17"/>
                    </a:lnTo>
                    <a:lnTo>
                      <a:pt x="75" y="12"/>
                    </a:lnTo>
                    <a:lnTo>
                      <a:pt x="75" y="16"/>
                    </a:lnTo>
                    <a:lnTo>
                      <a:pt x="75" y="18"/>
                    </a:lnTo>
                    <a:lnTo>
                      <a:pt x="77" y="17"/>
                    </a:lnTo>
                    <a:lnTo>
                      <a:pt x="80" y="19"/>
                    </a:lnTo>
                    <a:lnTo>
                      <a:pt x="81" y="20"/>
                    </a:lnTo>
                    <a:lnTo>
                      <a:pt x="81" y="17"/>
                    </a:lnTo>
                    <a:lnTo>
                      <a:pt x="82" y="19"/>
                    </a:lnTo>
                    <a:lnTo>
                      <a:pt x="85" y="18"/>
                    </a:lnTo>
                    <a:lnTo>
                      <a:pt x="88" y="18"/>
                    </a:lnTo>
                    <a:lnTo>
                      <a:pt x="85" y="14"/>
                    </a:lnTo>
                    <a:lnTo>
                      <a:pt x="89" y="17"/>
                    </a:lnTo>
                    <a:lnTo>
                      <a:pt x="89" y="16"/>
                    </a:lnTo>
                    <a:lnTo>
                      <a:pt x="91" y="18"/>
                    </a:lnTo>
                    <a:lnTo>
                      <a:pt x="91" y="16"/>
                    </a:lnTo>
                    <a:lnTo>
                      <a:pt x="93" y="15"/>
                    </a:lnTo>
                    <a:lnTo>
                      <a:pt x="98" y="17"/>
                    </a:lnTo>
                    <a:lnTo>
                      <a:pt x="102" y="23"/>
                    </a:lnTo>
                    <a:lnTo>
                      <a:pt x="103" y="19"/>
                    </a:lnTo>
                    <a:lnTo>
                      <a:pt x="106" y="22"/>
                    </a:lnTo>
                    <a:lnTo>
                      <a:pt x="108" y="22"/>
                    </a:lnTo>
                    <a:lnTo>
                      <a:pt x="109" y="20"/>
                    </a:lnTo>
                    <a:lnTo>
                      <a:pt x="111" y="24"/>
                    </a:lnTo>
                    <a:lnTo>
                      <a:pt x="113" y="22"/>
                    </a:lnTo>
                    <a:lnTo>
                      <a:pt x="115" y="25"/>
                    </a:lnTo>
                    <a:lnTo>
                      <a:pt x="115" y="23"/>
                    </a:lnTo>
                    <a:lnTo>
                      <a:pt x="117" y="23"/>
                    </a:lnTo>
                    <a:lnTo>
                      <a:pt x="117" y="24"/>
                    </a:lnTo>
                    <a:lnTo>
                      <a:pt x="117" y="24"/>
                    </a:lnTo>
                    <a:lnTo>
                      <a:pt x="117" y="520"/>
                    </a:lnTo>
                    <a:lnTo>
                      <a:pt x="117" y="519"/>
                    </a:lnTo>
                    <a:lnTo>
                      <a:pt x="117" y="522"/>
                    </a:lnTo>
                    <a:lnTo>
                      <a:pt x="116" y="519"/>
                    </a:lnTo>
                    <a:lnTo>
                      <a:pt x="115" y="519"/>
                    </a:lnTo>
                    <a:lnTo>
                      <a:pt x="116" y="522"/>
                    </a:lnTo>
                    <a:lnTo>
                      <a:pt x="115" y="520"/>
                    </a:lnTo>
                    <a:lnTo>
                      <a:pt x="114" y="520"/>
                    </a:lnTo>
                    <a:lnTo>
                      <a:pt x="113" y="521"/>
                    </a:lnTo>
                    <a:lnTo>
                      <a:pt x="111" y="519"/>
                    </a:lnTo>
                    <a:lnTo>
                      <a:pt x="109" y="520"/>
                    </a:lnTo>
                    <a:lnTo>
                      <a:pt x="107" y="518"/>
                    </a:lnTo>
                    <a:lnTo>
                      <a:pt x="106" y="520"/>
                    </a:lnTo>
                    <a:lnTo>
                      <a:pt x="105" y="517"/>
                    </a:lnTo>
                    <a:lnTo>
                      <a:pt x="102" y="517"/>
                    </a:lnTo>
                    <a:lnTo>
                      <a:pt x="102" y="519"/>
                    </a:lnTo>
                    <a:lnTo>
                      <a:pt x="100" y="517"/>
                    </a:lnTo>
                    <a:lnTo>
                      <a:pt x="100" y="517"/>
                    </a:lnTo>
                    <a:lnTo>
                      <a:pt x="99" y="517"/>
                    </a:lnTo>
                    <a:lnTo>
                      <a:pt x="98" y="519"/>
                    </a:lnTo>
                    <a:lnTo>
                      <a:pt x="98" y="517"/>
                    </a:lnTo>
                    <a:lnTo>
                      <a:pt x="91" y="516"/>
                    </a:lnTo>
                    <a:lnTo>
                      <a:pt x="90" y="521"/>
                    </a:lnTo>
                    <a:lnTo>
                      <a:pt x="89" y="517"/>
                    </a:lnTo>
                    <a:lnTo>
                      <a:pt x="88" y="518"/>
                    </a:lnTo>
                    <a:lnTo>
                      <a:pt x="84" y="517"/>
                    </a:lnTo>
                    <a:lnTo>
                      <a:pt x="83" y="519"/>
                    </a:lnTo>
                    <a:lnTo>
                      <a:pt x="80" y="519"/>
                    </a:lnTo>
                    <a:lnTo>
                      <a:pt x="80" y="520"/>
                    </a:lnTo>
                    <a:lnTo>
                      <a:pt x="78" y="520"/>
                    </a:lnTo>
                    <a:lnTo>
                      <a:pt x="78" y="520"/>
                    </a:lnTo>
                    <a:lnTo>
                      <a:pt x="77" y="520"/>
                    </a:lnTo>
                    <a:lnTo>
                      <a:pt x="78" y="522"/>
                    </a:lnTo>
                    <a:lnTo>
                      <a:pt x="77" y="521"/>
                    </a:lnTo>
                    <a:lnTo>
                      <a:pt x="76" y="521"/>
                    </a:lnTo>
                    <a:lnTo>
                      <a:pt x="75" y="524"/>
                    </a:lnTo>
                    <a:lnTo>
                      <a:pt x="76" y="524"/>
                    </a:lnTo>
                    <a:lnTo>
                      <a:pt x="76" y="527"/>
                    </a:lnTo>
                    <a:lnTo>
                      <a:pt x="75" y="522"/>
                    </a:lnTo>
                    <a:lnTo>
                      <a:pt x="72" y="522"/>
                    </a:lnTo>
                    <a:lnTo>
                      <a:pt x="73" y="524"/>
                    </a:lnTo>
                    <a:lnTo>
                      <a:pt x="66" y="519"/>
                    </a:lnTo>
                    <a:lnTo>
                      <a:pt x="66" y="516"/>
                    </a:lnTo>
                    <a:lnTo>
                      <a:pt x="65" y="518"/>
                    </a:lnTo>
                    <a:lnTo>
                      <a:pt x="63" y="514"/>
                    </a:lnTo>
                    <a:lnTo>
                      <a:pt x="61" y="517"/>
                    </a:lnTo>
                    <a:lnTo>
                      <a:pt x="60" y="517"/>
                    </a:lnTo>
                    <a:lnTo>
                      <a:pt x="61" y="514"/>
                    </a:lnTo>
                    <a:lnTo>
                      <a:pt x="60" y="516"/>
                    </a:lnTo>
                    <a:lnTo>
                      <a:pt x="60" y="514"/>
                    </a:lnTo>
                    <a:lnTo>
                      <a:pt x="59" y="514"/>
                    </a:lnTo>
                    <a:lnTo>
                      <a:pt x="60" y="519"/>
                    </a:lnTo>
                    <a:lnTo>
                      <a:pt x="57" y="516"/>
                    </a:lnTo>
                    <a:lnTo>
                      <a:pt x="57" y="518"/>
                    </a:lnTo>
                    <a:lnTo>
                      <a:pt x="57" y="518"/>
                    </a:lnTo>
                    <a:lnTo>
                      <a:pt x="56" y="516"/>
                    </a:lnTo>
                    <a:lnTo>
                      <a:pt x="56" y="516"/>
                    </a:lnTo>
                    <a:lnTo>
                      <a:pt x="54" y="512"/>
                    </a:lnTo>
                    <a:lnTo>
                      <a:pt x="56" y="516"/>
                    </a:lnTo>
                    <a:lnTo>
                      <a:pt x="55" y="517"/>
                    </a:lnTo>
                    <a:lnTo>
                      <a:pt x="54" y="513"/>
                    </a:lnTo>
                    <a:lnTo>
                      <a:pt x="51" y="513"/>
                    </a:lnTo>
                    <a:lnTo>
                      <a:pt x="51" y="512"/>
                    </a:lnTo>
                    <a:lnTo>
                      <a:pt x="51" y="512"/>
                    </a:lnTo>
                    <a:lnTo>
                      <a:pt x="51" y="512"/>
                    </a:lnTo>
                    <a:lnTo>
                      <a:pt x="50" y="511"/>
                    </a:lnTo>
                    <a:lnTo>
                      <a:pt x="50" y="511"/>
                    </a:lnTo>
                    <a:lnTo>
                      <a:pt x="51" y="512"/>
                    </a:lnTo>
                    <a:lnTo>
                      <a:pt x="51" y="512"/>
                    </a:lnTo>
                    <a:lnTo>
                      <a:pt x="50" y="514"/>
                    </a:lnTo>
                    <a:lnTo>
                      <a:pt x="48" y="510"/>
                    </a:lnTo>
                    <a:lnTo>
                      <a:pt x="48" y="512"/>
                    </a:lnTo>
                    <a:lnTo>
                      <a:pt x="47" y="510"/>
                    </a:lnTo>
                    <a:lnTo>
                      <a:pt x="49" y="516"/>
                    </a:lnTo>
                    <a:lnTo>
                      <a:pt x="49" y="513"/>
                    </a:lnTo>
                    <a:lnTo>
                      <a:pt x="50" y="519"/>
                    </a:lnTo>
                    <a:lnTo>
                      <a:pt x="47" y="512"/>
                    </a:lnTo>
                    <a:lnTo>
                      <a:pt x="47" y="514"/>
                    </a:lnTo>
                    <a:lnTo>
                      <a:pt x="44" y="513"/>
                    </a:lnTo>
                    <a:lnTo>
                      <a:pt x="44" y="512"/>
                    </a:lnTo>
                    <a:lnTo>
                      <a:pt x="42" y="512"/>
                    </a:lnTo>
                    <a:lnTo>
                      <a:pt x="42" y="510"/>
                    </a:lnTo>
                    <a:lnTo>
                      <a:pt x="41" y="512"/>
                    </a:lnTo>
                    <a:lnTo>
                      <a:pt x="43" y="514"/>
                    </a:lnTo>
                    <a:lnTo>
                      <a:pt x="40" y="514"/>
                    </a:lnTo>
                    <a:lnTo>
                      <a:pt x="42" y="514"/>
                    </a:lnTo>
                    <a:lnTo>
                      <a:pt x="40" y="512"/>
                    </a:lnTo>
                    <a:lnTo>
                      <a:pt x="40" y="517"/>
                    </a:lnTo>
                    <a:lnTo>
                      <a:pt x="39" y="514"/>
                    </a:lnTo>
                    <a:lnTo>
                      <a:pt x="39" y="517"/>
                    </a:lnTo>
                    <a:lnTo>
                      <a:pt x="36" y="517"/>
                    </a:lnTo>
                    <a:lnTo>
                      <a:pt x="35" y="513"/>
                    </a:lnTo>
                    <a:lnTo>
                      <a:pt x="35" y="513"/>
                    </a:lnTo>
                    <a:lnTo>
                      <a:pt x="35" y="511"/>
                    </a:lnTo>
                    <a:lnTo>
                      <a:pt x="35" y="513"/>
                    </a:lnTo>
                    <a:lnTo>
                      <a:pt x="34" y="514"/>
                    </a:lnTo>
                    <a:lnTo>
                      <a:pt x="34" y="510"/>
                    </a:lnTo>
                    <a:lnTo>
                      <a:pt x="33" y="510"/>
                    </a:lnTo>
                    <a:lnTo>
                      <a:pt x="33" y="512"/>
                    </a:lnTo>
                    <a:lnTo>
                      <a:pt x="31" y="511"/>
                    </a:lnTo>
                    <a:lnTo>
                      <a:pt x="32" y="516"/>
                    </a:lnTo>
                    <a:lnTo>
                      <a:pt x="30" y="512"/>
                    </a:lnTo>
                    <a:lnTo>
                      <a:pt x="27" y="513"/>
                    </a:lnTo>
                    <a:lnTo>
                      <a:pt x="30" y="517"/>
                    </a:lnTo>
                    <a:lnTo>
                      <a:pt x="19" y="510"/>
                    </a:lnTo>
                    <a:lnTo>
                      <a:pt x="17" y="512"/>
                    </a:lnTo>
                    <a:lnTo>
                      <a:pt x="15" y="509"/>
                    </a:lnTo>
                    <a:lnTo>
                      <a:pt x="14" y="509"/>
                    </a:lnTo>
                    <a:lnTo>
                      <a:pt x="13" y="508"/>
                    </a:lnTo>
                    <a:lnTo>
                      <a:pt x="10" y="507"/>
                    </a:lnTo>
                    <a:lnTo>
                      <a:pt x="9" y="508"/>
                    </a:lnTo>
                    <a:lnTo>
                      <a:pt x="6" y="505"/>
                    </a:lnTo>
                    <a:lnTo>
                      <a:pt x="5" y="510"/>
                    </a:lnTo>
                    <a:lnTo>
                      <a:pt x="2" y="509"/>
                    </a:lnTo>
                    <a:lnTo>
                      <a:pt x="0" y="510"/>
                    </a:lnTo>
                    <a:lnTo>
                      <a:pt x="0" y="508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E20074"/>
                  </a:buClr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0" cap="none" spc="0" normalizeH="0" baseline="0" noProof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91" name="Freeform 131"/>
              <p:cNvSpPr>
                <a:spLocks noEditPoints="1"/>
              </p:cNvSpPr>
              <p:nvPr/>
            </p:nvSpPr>
            <p:spPr bwMode="auto">
              <a:xfrm>
                <a:off x="11544301" y="546101"/>
                <a:ext cx="187325" cy="817563"/>
              </a:xfrm>
              <a:custGeom>
                <a:avLst/>
                <a:gdLst>
                  <a:gd name="T0" fmla="*/ 86 w 118"/>
                  <a:gd name="T1" fmla="*/ 15 h 515"/>
                  <a:gd name="T2" fmla="*/ 94 w 118"/>
                  <a:gd name="T3" fmla="*/ 0 h 515"/>
                  <a:gd name="T4" fmla="*/ 105 w 118"/>
                  <a:gd name="T5" fmla="*/ 4 h 515"/>
                  <a:gd name="T6" fmla="*/ 108 w 118"/>
                  <a:gd name="T7" fmla="*/ 5 h 515"/>
                  <a:gd name="T8" fmla="*/ 111 w 118"/>
                  <a:gd name="T9" fmla="*/ 5 h 515"/>
                  <a:gd name="T10" fmla="*/ 118 w 118"/>
                  <a:gd name="T11" fmla="*/ 515 h 515"/>
                  <a:gd name="T12" fmla="*/ 115 w 118"/>
                  <a:gd name="T13" fmla="*/ 510 h 515"/>
                  <a:gd name="T14" fmla="*/ 110 w 118"/>
                  <a:gd name="T15" fmla="*/ 510 h 515"/>
                  <a:gd name="T16" fmla="*/ 103 w 118"/>
                  <a:gd name="T17" fmla="*/ 501 h 515"/>
                  <a:gd name="T18" fmla="*/ 101 w 118"/>
                  <a:gd name="T19" fmla="*/ 499 h 515"/>
                  <a:gd name="T20" fmla="*/ 97 w 118"/>
                  <a:gd name="T21" fmla="*/ 499 h 515"/>
                  <a:gd name="T22" fmla="*/ 92 w 118"/>
                  <a:gd name="T23" fmla="*/ 499 h 515"/>
                  <a:gd name="T24" fmla="*/ 89 w 118"/>
                  <a:gd name="T25" fmla="*/ 500 h 515"/>
                  <a:gd name="T26" fmla="*/ 84 w 118"/>
                  <a:gd name="T27" fmla="*/ 503 h 515"/>
                  <a:gd name="T28" fmla="*/ 81 w 118"/>
                  <a:gd name="T29" fmla="*/ 502 h 515"/>
                  <a:gd name="T30" fmla="*/ 76 w 118"/>
                  <a:gd name="T31" fmla="*/ 501 h 515"/>
                  <a:gd name="T32" fmla="*/ 75 w 118"/>
                  <a:gd name="T33" fmla="*/ 502 h 515"/>
                  <a:gd name="T34" fmla="*/ 73 w 118"/>
                  <a:gd name="T35" fmla="*/ 509 h 515"/>
                  <a:gd name="T36" fmla="*/ 69 w 118"/>
                  <a:gd name="T37" fmla="*/ 502 h 515"/>
                  <a:gd name="T38" fmla="*/ 66 w 118"/>
                  <a:gd name="T39" fmla="*/ 503 h 515"/>
                  <a:gd name="T40" fmla="*/ 59 w 118"/>
                  <a:gd name="T41" fmla="*/ 502 h 515"/>
                  <a:gd name="T42" fmla="*/ 55 w 118"/>
                  <a:gd name="T43" fmla="*/ 500 h 515"/>
                  <a:gd name="T44" fmla="*/ 50 w 118"/>
                  <a:gd name="T45" fmla="*/ 501 h 515"/>
                  <a:gd name="T46" fmla="*/ 49 w 118"/>
                  <a:gd name="T47" fmla="*/ 501 h 515"/>
                  <a:gd name="T48" fmla="*/ 46 w 118"/>
                  <a:gd name="T49" fmla="*/ 497 h 515"/>
                  <a:gd name="T50" fmla="*/ 42 w 118"/>
                  <a:gd name="T51" fmla="*/ 500 h 515"/>
                  <a:gd name="T52" fmla="*/ 38 w 118"/>
                  <a:gd name="T53" fmla="*/ 499 h 515"/>
                  <a:gd name="T54" fmla="*/ 32 w 118"/>
                  <a:gd name="T55" fmla="*/ 502 h 515"/>
                  <a:gd name="T56" fmla="*/ 24 w 118"/>
                  <a:gd name="T57" fmla="*/ 506 h 515"/>
                  <a:gd name="T58" fmla="*/ 21 w 118"/>
                  <a:gd name="T59" fmla="*/ 506 h 515"/>
                  <a:gd name="T60" fmla="*/ 18 w 118"/>
                  <a:gd name="T61" fmla="*/ 507 h 515"/>
                  <a:gd name="T62" fmla="*/ 16 w 118"/>
                  <a:gd name="T63" fmla="*/ 509 h 515"/>
                  <a:gd name="T64" fmla="*/ 11 w 118"/>
                  <a:gd name="T65" fmla="*/ 506 h 515"/>
                  <a:gd name="T66" fmla="*/ 8 w 118"/>
                  <a:gd name="T67" fmla="*/ 505 h 515"/>
                  <a:gd name="T68" fmla="*/ 4 w 118"/>
                  <a:gd name="T69" fmla="*/ 500 h 515"/>
                  <a:gd name="T70" fmla="*/ 4 w 118"/>
                  <a:gd name="T71" fmla="*/ 3 h 515"/>
                  <a:gd name="T72" fmla="*/ 9 w 118"/>
                  <a:gd name="T73" fmla="*/ 5 h 515"/>
                  <a:gd name="T74" fmla="*/ 13 w 118"/>
                  <a:gd name="T75" fmla="*/ 8 h 515"/>
                  <a:gd name="T76" fmla="*/ 16 w 118"/>
                  <a:gd name="T77" fmla="*/ 10 h 515"/>
                  <a:gd name="T78" fmla="*/ 19 w 118"/>
                  <a:gd name="T79" fmla="*/ 9 h 515"/>
                  <a:gd name="T80" fmla="*/ 22 w 118"/>
                  <a:gd name="T81" fmla="*/ 9 h 515"/>
                  <a:gd name="T82" fmla="*/ 25 w 118"/>
                  <a:gd name="T83" fmla="*/ 8 h 515"/>
                  <a:gd name="T84" fmla="*/ 28 w 118"/>
                  <a:gd name="T85" fmla="*/ 5 h 515"/>
                  <a:gd name="T86" fmla="*/ 32 w 118"/>
                  <a:gd name="T87" fmla="*/ 5 h 515"/>
                  <a:gd name="T88" fmla="*/ 36 w 118"/>
                  <a:gd name="T89" fmla="*/ 6 h 515"/>
                  <a:gd name="T90" fmla="*/ 40 w 118"/>
                  <a:gd name="T91" fmla="*/ 5 h 515"/>
                  <a:gd name="T92" fmla="*/ 50 w 118"/>
                  <a:gd name="T93" fmla="*/ 6 h 515"/>
                  <a:gd name="T94" fmla="*/ 57 w 118"/>
                  <a:gd name="T95" fmla="*/ 8 h 515"/>
                  <a:gd name="T96" fmla="*/ 58 w 118"/>
                  <a:gd name="T97" fmla="*/ 8 h 515"/>
                  <a:gd name="T98" fmla="*/ 61 w 118"/>
                  <a:gd name="T99" fmla="*/ 8 h 515"/>
                  <a:gd name="T100" fmla="*/ 68 w 118"/>
                  <a:gd name="T101" fmla="*/ 9 h 515"/>
                  <a:gd name="T102" fmla="*/ 75 w 118"/>
                  <a:gd name="T103" fmla="*/ 5 h 515"/>
                  <a:gd name="T104" fmla="*/ 84 w 118"/>
                  <a:gd name="T105" fmla="*/ 13 h 515"/>
                  <a:gd name="T106" fmla="*/ 86 w 118"/>
                  <a:gd name="T107" fmla="*/ 15 h 515"/>
                  <a:gd name="T108" fmla="*/ 89 w 118"/>
                  <a:gd name="T109" fmla="*/ 14 h 515"/>
                  <a:gd name="T110" fmla="*/ 91 w 118"/>
                  <a:gd name="T111" fmla="*/ 15 h 515"/>
                  <a:gd name="T112" fmla="*/ 94 w 118"/>
                  <a:gd name="T113" fmla="*/ 13 h 515"/>
                  <a:gd name="T114" fmla="*/ 96 w 118"/>
                  <a:gd name="T115" fmla="*/ 10 h 515"/>
                  <a:gd name="T116" fmla="*/ 97 w 118"/>
                  <a:gd name="T117" fmla="*/ 9 h 515"/>
                  <a:gd name="T118" fmla="*/ 100 w 118"/>
                  <a:gd name="T119" fmla="*/ 6 h 515"/>
                  <a:gd name="T120" fmla="*/ 99 w 118"/>
                  <a:gd name="T121" fmla="*/ 5 h 5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18" h="515">
                    <a:moveTo>
                      <a:pt x="88" y="13"/>
                    </a:moveTo>
                    <a:lnTo>
                      <a:pt x="88" y="13"/>
                    </a:lnTo>
                    <a:lnTo>
                      <a:pt x="86" y="14"/>
                    </a:lnTo>
                    <a:lnTo>
                      <a:pt x="86" y="15"/>
                    </a:lnTo>
                    <a:lnTo>
                      <a:pt x="86" y="15"/>
                    </a:lnTo>
                    <a:lnTo>
                      <a:pt x="86" y="14"/>
                    </a:lnTo>
                    <a:lnTo>
                      <a:pt x="88" y="13"/>
                    </a:lnTo>
                    <a:close/>
                    <a:moveTo>
                      <a:pt x="94" y="0"/>
                    </a:moveTo>
                    <a:lnTo>
                      <a:pt x="100" y="5"/>
                    </a:lnTo>
                    <a:lnTo>
                      <a:pt x="102" y="6"/>
                    </a:lnTo>
                    <a:lnTo>
                      <a:pt x="106" y="5"/>
                    </a:lnTo>
                    <a:lnTo>
                      <a:pt x="105" y="4"/>
                    </a:lnTo>
                    <a:lnTo>
                      <a:pt x="106" y="5"/>
                    </a:lnTo>
                    <a:lnTo>
                      <a:pt x="107" y="5"/>
                    </a:lnTo>
                    <a:lnTo>
                      <a:pt x="107" y="3"/>
                    </a:lnTo>
                    <a:lnTo>
                      <a:pt x="108" y="5"/>
                    </a:lnTo>
                    <a:lnTo>
                      <a:pt x="109" y="4"/>
                    </a:lnTo>
                    <a:lnTo>
                      <a:pt x="109" y="6"/>
                    </a:lnTo>
                    <a:lnTo>
                      <a:pt x="111" y="6"/>
                    </a:lnTo>
                    <a:lnTo>
                      <a:pt x="111" y="5"/>
                    </a:lnTo>
                    <a:lnTo>
                      <a:pt x="113" y="6"/>
                    </a:lnTo>
                    <a:lnTo>
                      <a:pt x="114" y="7"/>
                    </a:lnTo>
                    <a:lnTo>
                      <a:pt x="118" y="8"/>
                    </a:lnTo>
                    <a:lnTo>
                      <a:pt x="118" y="515"/>
                    </a:lnTo>
                    <a:lnTo>
                      <a:pt x="118" y="515"/>
                    </a:lnTo>
                    <a:lnTo>
                      <a:pt x="118" y="510"/>
                    </a:lnTo>
                    <a:lnTo>
                      <a:pt x="116" y="513"/>
                    </a:lnTo>
                    <a:lnTo>
                      <a:pt x="115" y="510"/>
                    </a:lnTo>
                    <a:lnTo>
                      <a:pt x="114" y="511"/>
                    </a:lnTo>
                    <a:lnTo>
                      <a:pt x="110" y="508"/>
                    </a:lnTo>
                    <a:lnTo>
                      <a:pt x="109" y="509"/>
                    </a:lnTo>
                    <a:lnTo>
                      <a:pt x="110" y="510"/>
                    </a:lnTo>
                    <a:lnTo>
                      <a:pt x="108" y="508"/>
                    </a:lnTo>
                    <a:lnTo>
                      <a:pt x="107" y="509"/>
                    </a:lnTo>
                    <a:lnTo>
                      <a:pt x="105" y="502"/>
                    </a:lnTo>
                    <a:lnTo>
                      <a:pt x="103" y="501"/>
                    </a:lnTo>
                    <a:lnTo>
                      <a:pt x="102" y="501"/>
                    </a:lnTo>
                    <a:lnTo>
                      <a:pt x="100" y="503"/>
                    </a:lnTo>
                    <a:lnTo>
                      <a:pt x="101" y="501"/>
                    </a:lnTo>
                    <a:lnTo>
                      <a:pt x="101" y="499"/>
                    </a:lnTo>
                    <a:lnTo>
                      <a:pt x="99" y="499"/>
                    </a:lnTo>
                    <a:lnTo>
                      <a:pt x="99" y="500"/>
                    </a:lnTo>
                    <a:lnTo>
                      <a:pt x="97" y="497"/>
                    </a:lnTo>
                    <a:lnTo>
                      <a:pt x="97" y="499"/>
                    </a:lnTo>
                    <a:lnTo>
                      <a:pt x="96" y="500"/>
                    </a:lnTo>
                    <a:lnTo>
                      <a:pt x="94" y="498"/>
                    </a:lnTo>
                    <a:lnTo>
                      <a:pt x="93" y="501"/>
                    </a:lnTo>
                    <a:lnTo>
                      <a:pt x="92" y="499"/>
                    </a:lnTo>
                    <a:lnTo>
                      <a:pt x="91" y="501"/>
                    </a:lnTo>
                    <a:lnTo>
                      <a:pt x="90" y="501"/>
                    </a:lnTo>
                    <a:lnTo>
                      <a:pt x="90" y="502"/>
                    </a:lnTo>
                    <a:lnTo>
                      <a:pt x="89" y="500"/>
                    </a:lnTo>
                    <a:lnTo>
                      <a:pt x="89" y="502"/>
                    </a:lnTo>
                    <a:lnTo>
                      <a:pt x="88" y="501"/>
                    </a:lnTo>
                    <a:lnTo>
                      <a:pt x="85" y="501"/>
                    </a:lnTo>
                    <a:lnTo>
                      <a:pt x="84" y="503"/>
                    </a:lnTo>
                    <a:lnTo>
                      <a:pt x="83" y="502"/>
                    </a:lnTo>
                    <a:lnTo>
                      <a:pt x="82" y="505"/>
                    </a:lnTo>
                    <a:lnTo>
                      <a:pt x="81" y="500"/>
                    </a:lnTo>
                    <a:lnTo>
                      <a:pt x="81" y="502"/>
                    </a:lnTo>
                    <a:lnTo>
                      <a:pt x="78" y="502"/>
                    </a:lnTo>
                    <a:lnTo>
                      <a:pt x="78" y="506"/>
                    </a:lnTo>
                    <a:lnTo>
                      <a:pt x="77" y="500"/>
                    </a:lnTo>
                    <a:lnTo>
                      <a:pt x="76" y="501"/>
                    </a:lnTo>
                    <a:lnTo>
                      <a:pt x="76" y="499"/>
                    </a:lnTo>
                    <a:lnTo>
                      <a:pt x="74" y="499"/>
                    </a:lnTo>
                    <a:lnTo>
                      <a:pt x="75" y="503"/>
                    </a:lnTo>
                    <a:lnTo>
                      <a:pt x="75" y="502"/>
                    </a:lnTo>
                    <a:lnTo>
                      <a:pt x="74" y="503"/>
                    </a:lnTo>
                    <a:lnTo>
                      <a:pt x="74" y="501"/>
                    </a:lnTo>
                    <a:lnTo>
                      <a:pt x="73" y="500"/>
                    </a:lnTo>
                    <a:lnTo>
                      <a:pt x="73" y="509"/>
                    </a:lnTo>
                    <a:lnTo>
                      <a:pt x="72" y="502"/>
                    </a:lnTo>
                    <a:lnTo>
                      <a:pt x="71" y="505"/>
                    </a:lnTo>
                    <a:lnTo>
                      <a:pt x="71" y="502"/>
                    </a:lnTo>
                    <a:lnTo>
                      <a:pt x="69" y="502"/>
                    </a:lnTo>
                    <a:lnTo>
                      <a:pt x="68" y="505"/>
                    </a:lnTo>
                    <a:lnTo>
                      <a:pt x="68" y="501"/>
                    </a:lnTo>
                    <a:lnTo>
                      <a:pt x="66" y="501"/>
                    </a:lnTo>
                    <a:lnTo>
                      <a:pt x="66" y="503"/>
                    </a:lnTo>
                    <a:lnTo>
                      <a:pt x="64" y="502"/>
                    </a:lnTo>
                    <a:lnTo>
                      <a:pt x="65" y="503"/>
                    </a:lnTo>
                    <a:lnTo>
                      <a:pt x="63" y="501"/>
                    </a:lnTo>
                    <a:lnTo>
                      <a:pt x="59" y="502"/>
                    </a:lnTo>
                    <a:lnTo>
                      <a:pt x="58" y="498"/>
                    </a:lnTo>
                    <a:lnTo>
                      <a:pt x="56" y="497"/>
                    </a:lnTo>
                    <a:lnTo>
                      <a:pt x="56" y="499"/>
                    </a:lnTo>
                    <a:lnTo>
                      <a:pt x="55" y="500"/>
                    </a:lnTo>
                    <a:lnTo>
                      <a:pt x="53" y="501"/>
                    </a:lnTo>
                    <a:lnTo>
                      <a:pt x="52" y="500"/>
                    </a:lnTo>
                    <a:lnTo>
                      <a:pt x="51" y="502"/>
                    </a:lnTo>
                    <a:lnTo>
                      <a:pt x="50" y="501"/>
                    </a:lnTo>
                    <a:lnTo>
                      <a:pt x="50" y="501"/>
                    </a:lnTo>
                    <a:lnTo>
                      <a:pt x="51" y="501"/>
                    </a:lnTo>
                    <a:lnTo>
                      <a:pt x="51" y="498"/>
                    </a:lnTo>
                    <a:lnTo>
                      <a:pt x="49" y="501"/>
                    </a:lnTo>
                    <a:lnTo>
                      <a:pt x="48" y="498"/>
                    </a:lnTo>
                    <a:lnTo>
                      <a:pt x="47" y="495"/>
                    </a:lnTo>
                    <a:lnTo>
                      <a:pt x="47" y="499"/>
                    </a:lnTo>
                    <a:lnTo>
                      <a:pt x="46" y="497"/>
                    </a:lnTo>
                    <a:lnTo>
                      <a:pt x="44" y="502"/>
                    </a:lnTo>
                    <a:lnTo>
                      <a:pt x="44" y="500"/>
                    </a:lnTo>
                    <a:lnTo>
                      <a:pt x="42" y="499"/>
                    </a:lnTo>
                    <a:lnTo>
                      <a:pt x="42" y="500"/>
                    </a:lnTo>
                    <a:lnTo>
                      <a:pt x="40" y="499"/>
                    </a:lnTo>
                    <a:lnTo>
                      <a:pt x="39" y="500"/>
                    </a:lnTo>
                    <a:lnTo>
                      <a:pt x="40" y="501"/>
                    </a:lnTo>
                    <a:lnTo>
                      <a:pt x="38" y="499"/>
                    </a:lnTo>
                    <a:lnTo>
                      <a:pt x="35" y="500"/>
                    </a:lnTo>
                    <a:lnTo>
                      <a:pt x="34" y="502"/>
                    </a:lnTo>
                    <a:lnTo>
                      <a:pt x="33" y="502"/>
                    </a:lnTo>
                    <a:lnTo>
                      <a:pt x="32" y="502"/>
                    </a:lnTo>
                    <a:lnTo>
                      <a:pt x="32" y="505"/>
                    </a:lnTo>
                    <a:lnTo>
                      <a:pt x="30" y="502"/>
                    </a:lnTo>
                    <a:lnTo>
                      <a:pt x="25" y="502"/>
                    </a:lnTo>
                    <a:lnTo>
                      <a:pt x="24" y="506"/>
                    </a:lnTo>
                    <a:lnTo>
                      <a:pt x="23" y="505"/>
                    </a:lnTo>
                    <a:lnTo>
                      <a:pt x="22" y="506"/>
                    </a:lnTo>
                    <a:lnTo>
                      <a:pt x="23" y="507"/>
                    </a:lnTo>
                    <a:lnTo>
                      <a:pt x="21" y="506"/>
                    </a:lnTo>
                    <a:lnTo>
                      <a:pt x="23" y="508"/>
                    </a:lnTo>
                    <a:lnTo>
                      <a:pt x="21" y="508"/>
                    </a:lnTo>
                    <a:lnTo>
                      <a:pt x="19" y="509"/>
                    </a:lnTo>
                    <a:lnTo>
                      <a:pt x="18" y="507"/>
                    </a:lnTo>
                    <a:lnTo>
                      <a:pt x="17" y="507"/>
                    </a:lnTo>
                    <a:lnTo>
                      <a:pt x="17" y="510"/>
                    </a:lnTo>
                    <a:lnTo>
                      <a:pt x="15" y="507"/>
                    </a:lnTo>
                    <a:lnTo>
                      <a:pt x="16" y="509"/>
                    </a:lnTo>
                    <a:lnTo>
                      <a:pt x="14" y="507"/>
                    </a:lnTo>
                    <a:lnTo>
                      <a:pt x="13" y="506"/>
                    </a:lnTo>
                    <a:lnTo>
                      <a:pt x="11" y="507"/>
                    </a:lnTo>
                    <a:lnTo>
                      <a:pt x="11" y="506"/>
                    </a:lnTo>
                    <a:lnTo>
                      <a:pt x="10" y="507"/>
                    </a:lnTo>
                    <a:lnTo>
                      <a:pt x="10" y="505"/>
                    </a:lnTo>
                    <a:lnTo>
                      <a:pt x="8" y="503"/>
                    </a:lnTo>
                    <a:lnTo>
                      <a:pt x="8" y="505"/>
                    </a:lnTo>
                    <a:lnTo>
                      <a:pt x="8" y="501"/>
                    </a:lnTo>
                    <a:lnTo>
                      <a:pt x="6" y="503"/>
                    </a:lnTo>
                    <a:lnTo>
                      <a:pt x="6" y="501"/>
                    </a:lnTo>
                    <a:lnTo>
                      <a:pt x="4" y="500"/>
                    </a:lnTo>
                    <a:lnTo>
                      <a:pt x="1" y="501"/>
                    </a:lnTo>
                    <a:lnTo>
                      <a:pt x="0" y="501"/>
                    </a:lnTo>
                    <a:lnTo>
                      <a:pt x="0" y="5"/>
                    </a:lnTo>
                    <a:lnTo>
                      <a:pt x="4" y="3"/>
                    </a:lnTo>
                    <a:lnTo>
                      <a:pt x="5" y="5"/>
                    </a:lnTo>
                    <a:lnTo>
                      <a:pt x="8" y="4"/>
                    </a:lnTo>
                    <a:lnTo>
                      <a:pt x="7" y="5"/>
                    </a:lnTo>
                    <a:lnTo>
                      <a:pt x="9" y="5"/>
                    </a:lnTo>
                    <a:lnTo>
                      <a:pt x="9" y="4"/>
                    </a:lnTo>
                    <a:lnTo>
                      <a:pt x="10" y="5"/>
                    </a:lnTo>
                    <a:lnTo>
                      <a:pt x="11" y="8"/>
                    </a:lnTo>
                    <a:lnTo>
                      <a:pt x="13" y="8"/>
                    </a:lnTo>
                    <a:lnTo>
                      <a:pt x="15" y="7"/>
                    </a:lnTo>
                    <a:lnTo>
                      <a:pt x="15" y="9"/>
                    </a:lnTo>
                    <a:lnTo>
                      <a:pt x="16" y="8"/>
                    </a:lnTo>
                    <a:lnTo>
                      <a:pt x="16" y="10"/>
                    </a:lnTo>
                    <a:lnTo>
                      <a:pt x="17" y="9"/>
                    </a:lnTo>
                    <a:lnTo>
                      <a:pt x="18" y="10"/>
                    </a:lnTo>
                    <a:lnTo>
                      <a:pt x="17" y="6"/>
                    </a:lnTo>
                    <a:lnTo>
                      <a:pt x="19" y="9"/>
                    </a:lnTo>
                    <a:lnTo>
                      <a:pt x="19" y="8"/>
                    </a:lnTo>
                    <a:lnTo>
                      <a:pt x="21" y="10"/>
                    </a:lnTo>
                    <a:lnTo>
                      <a:pt x="23" y="12"/>
                    </a:lnTo>
                    <a:lnTo>
                      <a:pt x="22" y="9"/>
                    </a:lnTo>
                    <a:lnTo>
                      <a:pt x="22" y="6"/>
                    </a:lnTo>
                    <a:lnTo>
                      <a:pt x="23" y="8"/>
                    </a:lnTo>
                    <a:lnTo>
                      <a:pt x="23" y="8"/>
                    </a:lnTo>
                    <a:lnTo>
                      <a:pt x="25" y="8"/>
                    </a:lnTo>
                    <a:lnTo>
                      <a:pt x="23" y="5"/>
                    </a:lnTo>
                    <a:lnTo>
                      <a:pt x="25" y="7"/>
                    </a:lnTo>
                    <a:lnTo>
                      <a:pt x="26" y="5"/>
                    </a:lnTo>
                    <a:lnTo>
                      <a:pt x="28" y="5"/>
                    </a:lnTo>
                    <a:lnTo>
                      <a:pt x="27" y="4"/>
                    </a:lnTo>
                    <a:lnTo>
                      <a:pt x="30" y="3"/>
                    </a:lnTo>
                    <a:lnTo>
                      <a:pt x="31" y="5"/>
                    </a:lnTo>
                    <a:lnTo>
                      <a:pt x="32" y="5"/>
                    </a:lnTo>
                    <a:lnTo>
                      <a:pt x="32" y="3"/>
                    </a:lnTo>
                    <a:lnTo>
                      <a:pt x="33" y="5"/>
                    </a:lnTo>
                    <a:lnTo>
                      <a:pt x="36" y="4"/>
                    </a:lnTo>
                    <a:lnTo>
                      <a:pt x="36" y="6"/>
                    </a:lnTo>
                    <a:lnTo>
                      <a:pt x="38" y="5"/>
                    </a:lnTo>
                    <a:lnTo>
                      <a:pt x="38" y="6"/>
                    </a:lnTo>
                    <a:lnTo>
                      <a:pt x="40" y="8"/>
                    </a:lnTo>
                    <a:lnTo>
                      <a:pt x="40" y="5"/>
                    </a:lnTo>
                    <a:lnTo>
                      <a:pt x="42" y="7"/>
                    </a:lnTo>
                    <a:lnTo>
                      <a:pt x="46" y="6"/>
                    </a:lnTo>
                    <a:lnTo>
                      <a:pt x="49" y="7"/>
                    </a:lnTo>
                    <a:lnTo>
                      <a:pt x="50" y="6"/>
                    </a:lnTo>
                    <a:lnTo>
                      <a:pt x="52" y="6"/>
                    </a:lnTo>
                    <a:lnTo>
                      <a:pt x="52" y="7"/>
                    </a:lnTo>
                    <a:lnTo>
                      <a:pt x="53" y="8"/>
                    </a:lnTo>
                    <a:lnTo>
                      <a:pt x="57" y="8"/>
                    </a:lnTo>
                    <a:lnTo>
                      <a:pt x="57" y="9"/>
                    </a:lnTo>
                    <a:lnTo>
                      <a:pt x="57" y="8"/>
                    </a:lnTo>
                    <a:lnTo>
                      <a:pt x="56" y="6"/>
                    </a:lnTo>
                    <a:lnTo>
                      <a:pt x="58" y="8"/>
                    </a:lnTo>
                    <a:lnTo>
                      <a:pt x="58" y="6"/>
                    </a:lnTo>
                    <a:lnTo>
                      <a:pt x="60" y="12"/>
                    </a:lnTo>
                    <a:lnTo>
                      <a:pt x="61" y="10"/>
                    </a:lnTo>
                    <a:lnTo>
                      <a:pt x="61" y="8"/>
                    </a:lnTo>
                    <a:lnTo>
                      <a:pt x="64" y="10"/>
                    </a:lnTo>
                    <a:lnTo>
                      <a:pt x="65" y="8"/>
                    </a:lnTo>
                    <a:lnTo>
                      <a:pt x="69" y="10"/>
                    </a:lnTo>
                    <a:lnTo>
                      <a:pt x="68" y="9"/>
                    </a:lnTo>
                    <a:lnTo>
                      <a:pt x="68" y="8"/>
                    </a:lnTo>
                    <a:lnTo>
                      <a:pt x="68" y="8"/>
                    </a:lnTo>
                    <a:lnTo>
                      <a:pt x="75" y="10"/>
                    </a:lnTo>
                    <a:lnTo>
                      <a:pt x="75" y="5"/>
                    </a:lnTo>
                    <a:lnTo>
                      <a:pt x="78" y="10"/>
                    </a:lnTo>
                    <a:lnTo>
                      <a:pt x="78" y="7"/>
                    </a:lnTo>
                    <a:lnTo>
                      <a:pt x="81" y="7"/>
                    </a:lnTo>
                    <a:lnTo>
                      <a:pt x="84" y="13"/>
                    </a:lnTo>
                    <a:lnTo>
                      <a:pt x="84" y="16"/>
                    </a:lnTo>
                    <a:lnTo>
                      <a:pt x="86" y="16"/>
                    </a:lnTo>
                    <a:lnTo>
                      <a:pt x="86" y="16"/>
                    </a:lnTo>
                    <a:lnTo>
                      <a:pt x="86" y="15"/>
                    </a:lnTo>
                    <a:lnTo>
                      <a:pt x="86" y="16"/>
                    </a:lnTo>
                    <a:lnTo>
                      <a:pt x="89" y="15"/>
                    </a:lnTo>
                    <a:lnTo>
                      <a:pt x="89" y="15"/>
                    </a:lnTo>
                    <a:lnTo>
                      <a:pt x="89" y="14"/>
                    </a:lnTo>
                    <a:lnTo>
                      <a:pt x="89" y="15"/>
                    </a:lnTo>
                    <a:lnTo>
                      <a:pt x="89" y="12"/>
                    </a:lnTo>
                    <a:lnTo>
                      <a:pt x="91" y="17"/>
                    </a:lnTo>
                    <a:lnTo>
                      <a:pt x="91" y="15"/>
                    </a:lnTo>
                    <a:lnTo>
                      <a:pt x="92" y="15"/>
                    </a:lnTo>
                    <a:lnTo>
                      <a:pt x="93" y="12"/>
                    </a:lnTo>
                    <a:lnTo>
                      <a:pt x="93" y="13"/>
                    </a:lnTo>
                    <a:lnTo>
                      <a:pt x="94" y="13"/>
                    </a:lnTo>
                    <a:lnTo>
                      <a:pt x="94" y="12"/>
                    </a:lnTo>
                    <a:lnTo>
                      <a:pt x="96" y="14"/>
                    </a:lnTo>
                    <a:lnTo>
                      <a:pt x="97" y="13"/>
                    </a:lnTo>
                    <a:lnTo>
                      <a:pt x="96" y="10"/>
                    </a:lnTo>
                    <a:lnTo>
                      <a:pt x="97" y="12"/>
                    </a:lnTo>
                    <a:lnTo>
                      <a:pt x="97" y="10"/>
                    </a:lnTo>
                    <a:lnTo>
                      <a:pt x="98" y="9"/>
                    </a:lnTo>
                    <a:lnTo>
                      <a:pt x="97" y="9"/>
                    </a:lnTo>
                    <a:lnTo>
                      <a:pt x="98" y="8"/>
                    </a:lnTo>
                    <a:lnTo>
                      <a:pt x="99" y="5"/>
                    </a:lnTo>
                    <a:lnTo>
                      <a:pt x="99" y="5"/>
                    </a:lnTo>
                    <a:lnTo>
                      <a:pt x="100" y="6"/>
                    </a:lnTo>
                    <a:lnTo>
                      <a:pt x="101" y="6"/>
                    </a:lnTo>
                    <a:lnTo>
                      <a:pt x="99" y="5"/>
                    </a:lnTo>
                    <a:lnTo>
                      <a:pt x="99" y="5"/>
                    </a:lnTo>
                    <a:lnTo>
                      <a:pt x="99" y="5"/>
                    </a:lnTo>
                    <a:lnTo>
                      <a:pt x="94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E20074"/>
                  </a:buClr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0" cap="none" spc="0" normalizeH="0" baseline="0" noProof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92" name="Freeform 132"/>
              <p:cNvSpPr>
                <a:spLocks/>
              </p:cNvSpPr>
              <p:nvPr/>
            </p:nvSpPr>
            <p:spPr bwMode="auto">
              <a:xfrm>
                <a:off x="11731626" y="552451"/>
                <a:ext cx="187325" cy="822325"/>
              </a:xfrm>
              <a:custGeom>
                <a:avLst/>
                <a:gdLst>
                  <a:gd name="T0" fmla="*/ 12 w 118"/>
                  <a:gd name="T1" fmla="*/ 8 h 518"/>
                  <a:gd name="T2" fmla="*/ 21 w 118"/>
                  <a:gd name="T3" fmla="*/ 13 h 518"/>
                  <a:gd name="T4" fmla="*/ 25 w 118"/>
                  <a:gd name="T5" fmla="*/ 12 h 518"/>
                  <a:gd name="T6" fmla="*/ 32 w 118"/>
                  <a:gd name="T7" fmla="*/ 16 h 518"/>
                  <a:gd name="T8" fmla="*/ 38 w 118"/>
                  <a:gd name="T9" fmla="*/ 18 h 518"/>
                  <a:gd name="T10" fmla="*/ 48 w 118"/>
                  <a:gd name="T11" fmla="*/ 28 h 518"/>
                  <a:gd name="T12" fmla="*/ 54 w 118"/>
                  <a:gd name="T13" fmla="*/ 24 h 518"/>
                  <a:gd name="T14" fmla="*/ 59 w 118"/>
                  <a:gd name="T15" fmla="*/ 29 h 518"/>
                  <a:gd name="T16" fmla="*/ 64 w 118"/>
                  <a:gd name="T17" fmla="*/ 28 h 518"/>
                  <a:gd name="T18" fmla="*/ 67 w 118"/>
                  <a:gd name="T19" fmla="*/ 29 h 518"/>
                  <a:gd name="T20" fmla="*/ 71 w 118"/>
                  <a:gd name="T21" fmla="*/ 30 h 518"/>
                  <a:gd name="T22" fmla="*/ 73 w 118"/>
                  <a:gd name="T23" fmla="*/ 28 h 518"/>
                  <a:gd name="T24" fmla="*/ 79 w 118"/>
                  <a:gd name="T25" fmla="*/ 29 h 518"/>
                  <a:gd name="T26" fmla="*/ 84 w 118"/>
                  <a:gd name="T27" fmla="*/ 33 h 518"/>
                  <a:gd name="T28" fmla="*/ 89 w 118"/>
                  <a:gd name="T29" fmla="*/ 38 h 518"/>
                  <a:gd name="T30" fmla="*/ 94 w 118"/>
                  <a:gd name="T31" fmla="*/ 36 h 518"/>
                  <a:gd name="T32" fmla="*/ 100 w 118"/>
                  <a:gd name="T33" fmla="*/ 36 h 518"/>
                  <a:gd name="T34" fmla="*/ 106 w 118"/>
                  <a:gd name="T35" fmla="*/ 33 h 518"/>
                  <a:gd name="T36" fmla="*/ 112 w 118"/>
                  <a:gd name="T37" fmla="*/ 39 h 518"/>
                  <a:gd name="T38" fmla="*/ 117 w 118"/>
                  <a:gd name="T39" fmla="*/ 39 h 518"/>
                  <a:gd name="T40" fmla="*/ 118 w 118"/>
                  <a:gd name="T41" fmla="*/ 507 h 518"/>
                  <a:gd name="T42" fmla="*/ 110 w 118"/>
                  <a:gd name="T43" fmla="*/ 506 h 518"/>
                  <a:gd name="T44" fmla="*/ 105 w 118"/>
                  <a:gd name="T45" fmla="*/ 507 h 518"/>
                  <a:gd name="T46" fmla="*/ 105 w 118"/>
                  <a:gd name="T47" fmla="*/ 506 h 518"/>
                  <a:gd name="T48" fmla="*/ 100 w 118"/>
                  <a:gd name="T49" fmla="*/ 505 h 518"/>
                  <a:gd name="T50" fmla="*/ 99 w 118"/>
                  <a:gd name="T51" fmla="*/ 506 h 518"/>
                  <a:gd name="T52" fmla="*/ 94 w 118"/>
                  <a:gd name="T53" fmla="*/ 506 h 518"/>
                  <a:gd name="T54" fmla="*/ 92 w 118"/>
                  <a:gd name="T55" fmla="*/ 505 h 518"/>
                  <a:gd name="T56" fmla="*/ 88 w 118"/>
                  <a:gd name="T57" fmla="*/ 509 h 518"/>
                  <a:gd name="T58" fmla="*/ 84 w 118"/>
                  <a:gd name="T59" fmla="*/ 504 h 518"/>
                  <a:gd name="T60" fmla="*/ 82 w 118"/>
                  <a:gd name="T61" fmla="*/ 503 h 518"/>
                  <a:gd name="T62" fmla="*/ 79 w 118"/>
                  <a:gd name="T63" fmla="*/ 501 h 518"/>
                  <a:gd name="T64" fmla="*/ 73 w 118"/>
                  <a:gd name="T65" fmla="*/ 506 h 518"/>
                  <a:gd name="T66" fmla="*/ 65 w 118"/>
                  <a:gd name="T67" fmla="*/ 512 h 518"/>
                  <a:gd name="T68" fmla="*/ 59 w 118"/>
                  <a:gd name="T69" fmla="*/ 511 h 518"/>
                  <a:gd name="T70" fmla="*/ 57 w 118"/>
                  <a:gd name="T71" fmla="*/ 512 h 518"/>
                  <a:gd name="T72" fmla="*/ 50 w 118"/>
                  <a:gd name="T73" fmla="*/ 510 h 518"/>
                  <a:gd name="T74" fmla="*/ 47 w 118"/>
                  <a:gd name="T75" fmla="*/ 513 h 518"/>
                  <a:gd name="T76" fmla="*/ 42 w 118"/>
                  <a:gd name="T77" fmla="*/ 507 h 518"/>
                  <a:gd name="T78" fmla="*/ 40 w 118"/>
                  <a:gd name="T79" fmla="*/ 516 h 518"/>
                  <a:gd name="T80" fmla="*/ 37 w 118"/>
                  <a:gd name="T81" fmla="*/ 515 h 518"/>
                  <a:gd name="T82" fmla="*/ 31 w 118"/>
                  <a:gd name="T83" fmla="*/ 515 h 518"/>
                  <a:gd name="T84" fmla="*/ 23 w 118"/>
                  <a:gd name="T85" fmla="*/ 506 h 518"/>
                  <a:gd name="T86" fmla="*/ 21 w 118"/>
                  <a:gd name="T87" fmla="*/ 509 h 518"/>
                  <a:gd name="T88" fmla="*/ 17 w 118"/>
                  <a:gd name="T89" fmla="*/ 511 h 518"/>
                  <a:gd name="T90" fmla="*/ 9 w 118"/>
                  <a:gd name="T91" fmla="*/ 509 h 518"/>
                  <a:gd name="T92" fmla="*/ 8 w 118"/>
                  <a:gd name="T93" fmla="*/ 507 h 518"/>
                  <a:gd name="T94" fmla="*/ 2 w 118"/>
                  <a:gd name="T95" fmla="*/ 509 h 518"/>
                  <a:gd name="T96" fmla="*/ 6 w 118"/>
                  <a:gd name="T97" fmla="*/ 6 h 518"/>
                  <a:gd name="T98" fmla="*/ 7 w 118"/>
                  <a:gd name="T99" fmla="*/ 5 h 5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18" h="518">
                    <a:moveTo>
                      <a:pt x="4" y="0"/>
                    </a:moveTo>
                    <a:lnTo>
                      <a:pt x="12" y="8"/>
                    </a:lnTo>
                    <a:lnTo>
                      <a:pt x="12" y="9"/>
                    </a:lnTo>
                    <a:lnTo>
                      <a:pt x="12" y="8"/>
                    </a:lnTo>
                    <a:lnTo>
                      <a:pt x="20" y="12"/>
                    </a:lnTo>
                    <a:lnTo>
                      <a:pt x="18" y="13"/>
                    </a:lnTo>
                    <a:lnTo>
                      <a:pt x="21" y="12"/>
                    </a:lnTo>
                    <a:lnTo>
                      <a:pt x="21" y="13"/>
                    </a:lnTo>
                    <a:lnTo>
                      <a:pt x="22" y="13"/>
                    </a:lnTo>
                    <a:lnTo>
                      <a:pt x="23" y="11"/>
                    </a:lnTo>
                    <a:lnTo>
                      <a:pt x="23" y="12"/>
                    </a:lnTo>
                    <a:lnTo>
                      <a:pt x="25" y="12"/>
                    </a:lnTo>
                    <a:lnTo>
                      <a:pt x="24" y="11"/>
                    </a:lnTo>
                    <a:lnTo>
                      <a:pt x="27" y="11"/>
                    </a:lnTo>
                    <a:lnTo>
                      <a:pt x="32" y="17"/>
                    </a:lnTo>
                    <a:lnTo>
                      <a:pt x="32" y="16"/>
                    </a:lnTo>
                    <a:lnTo>
                      <a:pt x="33" y="18"/>
                    </a:lnTo>
                    <a:lnTo>
                      <a:pt x="33" y="19"/>
                    </a:lnTo>
                    <a:lnTo>
                      <a:pt x="37" y="20"/>
                    </a:lnTo>
                    <a:lnTo>
                      <a:pt x="38" y="18"/>
                    </a:lnTo>
                    <a:lnTo>
                      <a:pt x="40" y="21"/>
                    </a:lnTo>
                    <a:lnTo>
                      <a:pt x="41" y="19"/>
                    </a:lnTo>
                    <a:lnTo>
                      <a:pt x="42" y="21"/>
                    </a:lnTo>
                    <a:lnTo>
                      <a:pt x="48" y="28"/>
                    </a:lnTo>
                    <a:lnTo>
                      <a:pt x="51" y="26"/>
                    </a:lnTo>
                    <a:lnTo>
                      <a:pt x="51" y="24"/>
                    </a:lnTo>
                    <a:lnTo>
                      <a:pt x="52" y="27"/>
                    </a:lnTo>
                    <a:lnTo>
                      <a:pt x="54" y="24"/>
                    </a:lnTo>
                    <a:lnTo>
                      <a:pt x="55" y="28"/>
                    </a:lnTo>
                    <a:lnTo>
                      <a:pt x="55" y="25"/>
                    </a:lnTo>
                    <a:lnTo>
                      <a:pt x="58" y="29"/>
                    </a:lnTo>
                    <a:lnTo>
                      <a:pt x="59" y="29"/>
                    </a:lnTo>
                    <a:lnTo>
                      <a:pt x="59" y="31"/>
                    </a:lnTo>
                    <a:lnTo>
                      <a:pt x="60" y="31"/>
                    </a:lnTo>
                    <a:lnTo>
                      <a:pt x="60" y="27"/>
                    </a:lnTo>
                    <a:lnTo>
                      <a:pt x="64" y="28"/>
                    </a:lnTo>
                    <a:lnTo>
                      <a:pt x="64" y="30"/>
                    </a:lnTo>
                    <a:lnTo>
                      <a:pt x="65" y="31"/>
                    </a:lnTo>
                    <a:lnTo>
                      <a:pt x="65" y="29"/>
                    </a:lnTo>
                    <a:lnTo>
                      <a:pt x="67" y="29"/>
                    </a:lnTo>
                    <a:lnTo>
                      <a:pt x="68" y="30"/>
                    </a:lnTo>
                    <a:lnTo>
                      <a:pt x="70" y="27"/>
                    </a:lnTo>
                    <a:lnTo>
                      <a:pt x="70" y="28"/>
                    </a:lnTo>
                    <a:lnTo>
                      <a:pt x="71" y="30"/>
                    </a:lnTo>
                    <a:lnTo>
                      <a:pt x="71" y="28"/>
                    </a:lnTo>
                    <a:lnTo>
                      <a:pt x="72" y="30"/>
                    </a:lnTo>
                    <a:lnTo>
                      <a:pt x="72" y="28"/>
                    </a:lnTo>
                    <a:lnTo>
                      <a:pt x="73" y="28"/>
                    </a:lnTo>
                    <a:lnTo>
                      <a:pt x="75" y="30"/>
                    </a:lnTo>
                    <a:lnTo>
                      <a:pt x="75" y="28"/>
                    </a:lnTo>
                    <a:lnTo>
                      <a:pt x="77" y="30"/>
                    </a:lnTo>
                    <a:lnTo>
                      <a:pt x="79" y="29"/>
                    </a:lnTo>
                    <a:lnTo>
                      <a:pt x="80" y="33"/>
                    </a:lnTo>
                    <a:lnTo>
                      <a:pt x="81" y="30"/>
                    </a:lnTo>
                    <a:lnTo>
                      <a:pt x="82" y="33"/>
                    </a:lnTo>
                    <a:lnTo>
                      <a:pt x="84" y="33"/>
                    </a:lnTo>
                    <a:lnTo>
                      <a:pt x="82" y="30"/>
                    </a:lnTo>
                    <a:lnTo>
                      <a:pt x="83" y="29"/>
                    </a:lnTo>
                    <a:lnTo>
                      <a:pt x="88" y="31"/>
                    </a:lnTo>
                    <a:lnTo>
                      <a:pt x="89" y="38"/>
                    </a:lnTo>
                    <a:lnTo>
                      <a:pt x="89" y="31"/>
                    </a:lnTo>
                    <a:lnTo>
                      <a:pt x="92" y="37"/>
                    </a:lnTo>
                    <a:lnTo>
                      <a:pt x="93" y="31"/>
                    </a:lnTo>
                    <a:lnTo>
                      <a:pt x="94" y="36"/>
                    </a:lnTo>
                    <a:lnTo>
                      <a:pt x="97" y="34"/>
                    </a:lnTo>
                    <a:lnTo>
                      <a:pt x="99" y="36"/>
                    </a:lnTo>
                    <a:lnTo>
                      <a:pt x="98" y="30"/>
                    </a:lnTo>
                    <a:lnTo>
                      <a:pt x="100" y="36"/>
                    </a:lnTo>
                    <a:lnTo>
                      <a:pt x="102" y="36"/>
                    </a:lnTo>
                    <a:lnTo>
                      <a:pt x="101" y="33"/>
                    </a:lnTo>
                    <a:lnTo>
                      <a:pt x="105" y="34"/>
                    </a:lnTo>
                    <a:lnTo>
                      <a:pt x="106" y="33"/>
                    </a:lnTo>
                    <a:lnTo>
                      <a:pt x="109" y="37"/>
                    </a:lnTo>
                    <a:lnTo>
                      <a:pt x="109" y="35"/>
                    </a:lnTo>
                    <a:lnTo>
                      <a:pt x="112" y="36"/>
                    </a:lnTo>
                    <a:lnTo>
                      <a:pt x="112" y="39"/>
                    </a:lnTo>
                    <a:lnTo>
                      <a:pt x="113" y="39"/>
                    </a:lnTo>
                    <a:lnTo>
                      <a:pt x="113" y="37"/>
                    </a:lnTo>
                    <a:lnTo>
                      <a:pt x="115" y="41"/>
                    </a:lnTo>
                    <a:lnTo>
                      <a:pt x="117" y="39"/>
                    </a:lnTo>
                    <a:lnTo>
                      <a:pt x="115" y="33"/>
                    </a:lnTo>
                    <a:lnTo>
                      <a:pt x="116" y="33"/>
                    </a:lnTo>
                    <a:lnTo>
                      <a:pt x="118" y="37"/>
                    </a:lnTo>
                    <a:lnTo>
                      <a:pt x="118" y="507"/>
                    </a:lnTo>
                    <a:lnTo>
                      <a:pt x="117" y="506"/>
                    </a:lnTo>
                    <a:lnTo>
                      <a:pt x="114" y="511"/>
                    </a:lnTo>
                    <a:lnTo>
                      <a:pt x="112" y="507"/>
                    </a:lnTo>
                    <a:lnTo>
                      <a:pt x="110" y="506"/>
                    </a:lnTo>
                    <a:lnTo>
                      <a:pt x="109" y="509"/>
                    </a:lnTo>
                    <a:lnTo>
                      <a:pt x="107" y="505"/>
                    </a:lnTo>
                    <a:lnTo>
                      <a:pt x="106" y="505"/>
                    </a:lnTo>
                    <a:lnTo>
                      <a:pt x="105" y="507"/>
                    </a:lnTo>
                    <a:lnTo>
                      <a:pt x="105" y="509"/>
                    </a:lnTo>
                    <a:lnTo>
                      <a:pt x="105" y="509"/>
                    </a:lnTo>
                    <a:lnTo>
                      <a:pt x="105" y="507"/>
                    </a:lnTo>
                    <a:lnTo>
                      <a:pt x="105" y="506"/>
                    </a:lnTo>
                    <a:lnTo>
                      <a:pt x="105" y="505"/>
                    </a:lnTo>
                    <a:lnTo>
                      <a:pt x="105" y="504"/>
                    </a:lnTo>
                    <a:lnTo>
                      <a:pt x="100" y="504"/>
                    </a:lnTo>
                    <a:lnTo>
                      <a:pt x="100" y="505"/>
                    </a:lnTo>
                    <a:lnTo>
                      <a:pt x="99" y="506"/>
                    </a:lnTo>
                    <a:lnTo>
                      <a:pt x="98" y="506"/>
                    </a:lnTo>
                    <a:lnTo>
                      <a:pt x="99" y="506"/>
                    </a:lnTo>
                    <a:lnTo>
                      <a:pt x="99" y="506"/>
                    </a:lnTo>
                    <a:lnTo>
                      <a:pt x="101" y="506"/>
                    </a:lnTo>
                    <a:lnTo>
                      <a:pt x="101" y="509"/>
                    </a:lnTo>
                    <a:lnTo>
                      <a:pt x="96" y="505"/>
                    </a:lnTo>
                    <a:lnTo>
                      <a:pt x="94" y="506"/>
                    </a:lnTo>
                    <a:lnTo>
                      <a:pt x="94" y="504"/>
                    </a:lnTo>
                    <a:lnTo>
                      <a:pt x="93" y="507"/>
                    </a:lnTo>
                    <a:lnTo>
                      <a:pt x="92" y="507"/>
                    </a:lnTo>
                    <a:lnTo>
                      <a:pt x="92" y="505"/>
                    </a:lnTo>
                    <a:lnTo>
                      <a:pt x="91" y="507"/>
                    </a:lnTo>
                    <a:lnTo>
                      <a:pt x="91" y="506"/>
                    </a:lnTo>
                    <a:lnTo>
                      <a:pt x="91" y="510"/>
                    </a:lnTo>
                    <a:lnTo>
                      <a:pt x="88" y="509"/>
                    </a:lnTo>
                    <a:lnTo>
                      <a:pt x="88" y="505"/>
                    </a:lnTo>
                    <a:lnTo>
                      <a:pt x="87" y="506"/>
                    </a:lnTo>
                    <a:lnTo>
                      <a:pt x="85" y="503"/>
                    </a:lnTo>
                    <a:lnTo>
                      <a:pt x="84" y="504"/>
                    </a:lnTo>
                    <a:lnTo>
                      <a:pt x="84" y="501"/>
                    </a:lnTo>
                    <a:lnTo>
                      <a:pt x="82" y="501"/>
                    </a:lnTo>
                    <a:lnTo>
                      <a:pt x="83" y="503"/>
                    </a:lnTo>
                    <a:lnTo>
                      <a:pt x="82" y="503"/>
                    </a:lnTo>
                    <a:lnTo>
                      <a:pt x="81" y="501"/>
                    </a:lnTo>
                    <a:lnTo>
                      <a:pt x="80" y="501"/>
                    </a:lnTo>
                    <a:lnTo>
                      <a:pt x="79" y="502"/>
                    </a:lnTo>
                    <a:lnTo>
                      <a:pt x="79" y="501"/>
                    </a:lnTo>
                    <a:lnTo>
                      <a:pt x="77" y="501"/>
                    </a:lnTo>
                    <a:lnTo>
                      <a:pt x="77" y="503"/>
                    </a:lnTo>
                    <a:lnTo>
                      <a:pt x="76" y="502"/>
                    </a:lnTo>
                    <a:lnTo>
                      <a:pt x="73" y="506"/>
                    </a:lnTo>
                    <a:lnTo>
                      <a:pt x="74" y="502"/>
                    </a:lnTo>
                    <a:lnTo>
                      <a:pt x="68" y="511"/>
                    </a:lnTo>
                    <a:lnTo>
                      <a:pt x="67" y="512"/>
                    </a:lnTo>
                    <a:lnTo>
                      <a:pt x="65" y="512"/>
                    </a:lnTo>
                    <a:lnTo>
                      <a:pt x="62" y="515"/>
                    </a:lnTo>
                    <a:lnTo>
                      <a:pt x="62" y="512"/>
                    </a:lnTo>
                    <a:lnTo>
                      <a:pt x="59" y="512"/>
                    </a:lnTo>
                    <a:lnTo>
                      <a:pt x="59" y="511"/>
                    </a:lnTo>
                    <a:lnTo>
                      <a:pt x="59" y="512"/>
                    </a:lnTo>
                    <a:lnTo>
                      <a:pt x="59" y="512"/>
                    </a:lnTo>
                    <a:lnTo>
                      <a:pt x="58" y="514"/>
                    </a:lnTo>
                    <a:lnTo>
                      <a:pt x="57" y="512"/>
                    </a:lnTo>
                    <a:lnTo>
                      <a:pt x="55" y="513"/>
                    </a:lnTo>
                    <a:lnTo>
                      <a:pt x="54" y="512"/>
                    </a:lnTo>
                    <a:lnTo>
                      <a:pt x="52" y="510"/>
                    </a:lnTo>
                    <a:lnTo>
                      <a:pt x="50" y="510"/>
                    </a:lnTo>
                    <a:lnTo>
                      <a:pt x="47" y="507"/>
                    </a:lnTo>
                    <a:lnTo>
                      <a:pt x="48" y="510"/>
                    </a:lnTo>
                    <a:lnTo>
                      <a:pt x="46" y="509"/>
                    </a:lnTo>
                    <a:lnTo>
                      <a:pt x="47" y="513"/>
                    </a:lnTo>
                    <a:lnTo>
                      <a:pt x="45" y="509"/>
                    </a:lnTo>
                    <a:lnTo>
                      <a:pt x="43" y="510"/>
                    </a:lnTo>
                    <a:lnTo>
                      <a:pt x="43" y="509"/>
                    </a:lnTo>
                    <a:lnTo>
                      <a:pt x="42" y="507"/>
                    </a:lnTo>
                    <a:lnTo>
                      <a:pt x="42" y="513"/>
                    </a:lnTo>
                    <a:lnTo>
                      <a:pt x="42" y="509"/>
                    </a:lnTo>
                    <a:lnTo>
                      <a:pt x="42" y="515"/>
                    </a:lnTo>
                    <a:lnTo>
                      <a:pt x="40" y="516"/>
                    </a:lnTo>
                    <a:lnTo>
                      <a:pt x="39" y="516"/>
                    </a:lnTo>
                    <a:lnTo>
                      <a:pt x="37" y="515"/>
                    </a:lnTo>
                    <a:lnTo>
                      <a:pt x="37" y="514"/>
                    </a:lnTo>
                    <a:lnTo>
                      <a:pt x="37" y="515"/>
                    </a:lnTo>
                    <a:lnTo>
                      <a:pt x="37" y="515"/>
                    </a:lnTo>
                    <a:lnTo>
                      <a:pt x="37" y="518"/>
                    </a:lnTo>
                    <a:lnTo>
                      <a:pt x="35" y="516"/>
                    </a:lnTo>
                    <a:lnTo>
                      <a:pt x="31" y="515"/>
                    </a:lnTo>
                    <a:lnTo>
                      <a:pt x="31" y="511"/>
                    </a:lnTo>
                    <a:lnTo>
                      <a:pt x="25" y="510"/>
                    </a:lnTo>
                    <a:lnTo>
                      <a:pt x="25" y="512"/>
                    </a:lnTo>
                    <a:lnTo>
                      <a:pt x="23" y="506"/>
                    </a:lnTo>
                    <a:lnTo>
                      <a:pt x="23" y="507"/>
                    </a:lnTo>
                    <a:lnTo>
                      <a:pt x="21" y="507"/>
                    </a:lnTo>
                    <a:lnTo>
                      <a:pt x="22" y="510"/>
                    </a:lnTo>
                    <a:lnTo>
                      <a:pt x="21" y="509"/>
                    </a:lnTo>
                    <a:lnTo>
                      <a:pt x="21" y="511"/>
                    </a:lnTo>
                    <a:lnTo>
                      <a:pt x="20" y="509"/>
                    </a:lnTo>
                    <a:lnTo>
                      <a:pt x="17" y="509"/>
                    </a:lnTo>
                    <a:lnTo>
                      <a:pt x="17" y="511"/>
                    </a:lnTo>
                    <a:lnTo>
                      <a:pt x="16" y="509"/>
                    </a:lnTo>
                    <a:lnTo>
                      <a:pt x="14" y="511"/>
                    </a:lnTo>
                    <a:lnTo>
                      <a:pt x="10" y="506"/>
                    </a:lnTo>
                    <a:lnTo>
                      <a:pt x="9" y="509"/>
                    </a:lnTo>
                    <a:lnTo>
                      <a:pt x="8" y="507"/>
                    </a:lnTo>
                    <a:lnTo>
                      <a:pt x="8" y="506"/>
                    </a:lnTo>
                    <a:lnTo>
                      <a:pt x="7" y="506"/>
                    </a:lnTo>
                    <a:lnTo>
                      <a:pt x="8" y="507"/>
                    </a:lnTo>
                    <a:lnTo>
                      <a:pt x="8" y="509"/>
                    </a:lnTo>
                    <a:lnTo>
                      <a:pt x="6" y="506"/>
                    </a:lnTo>
                    <a:lnTo>
                      <a:pt x="5" y="512"/>
                    </a:lnTo>
                    <a:lnTo>
                      <a:pt x="2" y="509"/>
                    </a:lnTo>
                    <a:lnTo>
                      <a:pt x="1" y="511"/>
                    </a:lnTo>
                    <a:lnTo>
                      <a:pt x="0" y="511"/>
                    </a:lnTo>
                    <a:lnTo>
                      <a:pt x="0" y="4"/>
                    </a:lnTo>
                    <a:lnTo>
                      <a:pt x="6" y="6"/>
                    </a:lnTo>
                    <a:lnTo>
                      <a:pt x="8" y="9"/>
                    </a:lnTo>
                    <a:lnTo>
                      <a:pt x="8" y="8"/>
                    </a:lnTo>
                    <a:lnTo>
                      <a:pt x="6" y="6"/>
                    </a:lnTo>
                    <a:lnTo>
                      <a:pt x="7" y="5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E20074"/>
                  </a:buClr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0" cap="none" spc="0" normalizeH="0" baseline="0" noProof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93" name="Freeform 133"/>
              <p:cNvSpPr>
                <a:spLocks/>
              </p:cNvSpPr>
              <p:nvPr/>
            </p:nvSpPr>
            <p:spPr bwMode="auto">
              <a:xfrm>
                <a:off x="11918951" y="609601"/>
                <a:ext cx="187325" cy="758825"/>
              </a:xfrm>
              <a:custGeom>
                <a:avLst/>
                <a:gdLst>
                  <a:gd name="T0" fmla="*/ 15 w 118"/>
                  <a:gd name="T1" fmla="*/ 3 h 478"/>
                  <a:gd name="T2" fmla="*/ 21 w 118"/>
                  <a:gd name="T3" fmla="*/ 7 h 478"/>
                  <a:gd name="T4" fmla="*/ 23 w 118"/>
                  <a:gd name="T5" fmla="*/ 6 h 478"/>
                  <a:gd name="T6" fmla="*/ 28 w 118"/>
                  <a:gd name="T7" fmla="*/ 1 h 478"/>
                  <a:gd name="T8" fmla="*/ 29 w 118"/>
                  <a:gd name="T9" fmla="*/ 3 h 478"/>
                  <a:gd name="T10" fmla="*/ 33 w 118"/>
                  <a:gd name="T11" fmla="*/ 5 h 478"/>
                  <a:gd name="T12" fmla="*/ 34 w 118"/>
                  <a:gd name="T13" fmla="*/ 8 h 478"/>
                  <a:gd name="T14" fmla="*/ 37 w 118"/>
                  <a:gd name="T15" fmla="*/ 6 h 478"/>
                  <a:gd name="T16" fmla="*/ 41 w 118"/>
                  <a:gd name="T17" fmla="*/ 3 h 478"/>
                  <a:gd name="T18" fmla="*/ 45 w 118"/>
                  <a:gd name="T19" fmla="*/ 5 h 478"/>
                  <a:gd name="T20" fmla="*/ 47 w 118"/>
                  <a:gd name="T21" fmla="*/ 6 h 478"/>
                  <a:gd name="T22" fmla="*/ 51 w 118"/>
                  <a:gd name="T23" fmla="*/ 5 h 478"/>
                  <a:gd name="T24" fmla="*/ 55 w 118"/>
                  <a:gd name="T25" fmla="*/ 9 h 478"/>
                  <a:gd name="T26" fmla="*/ 58 w 118"/>
                  <a:gd name="T27" fmla="*/ 7 h 478"/>
                  <a:gd name="T28" fmla="*/ 68 w 118"/>
                  <a:gd name="T29" fmla="*/ 3 h 478"/>
                  <a:gd name="T30" fmla="*/ 72 w 118"/>
                  <a:gd name="T31" fmla="*/ 5 h 478"/>
                  <a:gd name="T32" fmla="*/ 76 w 118"/>
                  <a:gd name="T33" fmla="*/ 3 h 478"/>
                  <a:gd name="T34" fmla="*/ 81 w 118"/>
                  <a:gd name="T35" fmla="*/ 6 h 478"/>
                  <a:gd name="T36" fmla="*/ 86 w 118"/>
                  <a:gd name="T37" fmla="*/ 5 h 478"/>
                  <a:gd name="T38" fmla="*/ 90 w 118"/>
                  <a:gd name="T39" fmla="*/ 5 h 478"/>
                  <a:gd name="T40" fmla="*/ 91 w 118"/>
                  <a:gd name="T41" fmla="*/ 6 h 478"/>
                  <a:gd name="T42" fmla="*/ 99 w 118"/>
                  <a:gd name="T43" fmla="*/ 6 h 478"/>
                  <a:gd name="T44" fmla="*/ 105 w 118"/>
                  <a:gd name="T45" fmla="*/ 2 h 478"/>
                  <a:gd name="T46" fmla="*/ 118 w 118"/>
                  <a:gd name="T47" fmla="*/ 6 h 478"/>
                  <a:gd name="T48" fmla="*/ 118 w 118"/>
                  <a:gd name="T49" fmla="*/ 473 h 478"/>
                  <a:gd name="T50" fmla="*/ 108 w 118"/>
                  <a:gd name="T51" fmla="*/ 471 h 478"/>
                  <a:gd name="T52" fmla="*/ 104 w 118"/>
                  <a:gd name="T53" fmla="*/ 473 h 478"/>
                  <a:gd name="T54" fmla="*/ 103 w 118"/>
                  <a:gd name="T55" fmla="*/ 474 h 478"/>
                  <a:gd name="T56" fmla="*/ 92 w 118"/>
                  <a:gd name="T57" fmla="*/ 473 h 478"/>
                  <a:gd name="T58" fmla="*/ 89 w 118"/>
                  <a:gd name="T59" fmla="*/ 468 h 478"/>
                  <a:gd name="T60" fmla="*/ 84 w 118"/>
                  <a:gd name="T61" fmla="*/ 463 h 478"/>
                  <a:gd name="T62" fmla="*/ 82 w 118"/>
                  <a:gd name="T63" fmla="*/ 465 h 478"/>
                  <a:gd name="T64" fmla="*/ 76 w 118"/>
                  <a:gd name="T65" fmla="*/ 468 h 478"/>
                  <a:gd name="T66" fmla="*/ 73 w 118"/>
                  <a:gd name="T67" fmla="*/ 467 h 478"/>
                  <a:gd name="T68" fmla="*/ 64 w 118"/>
                  <a:gd name="T69" fmla="*/ 466 h 478"/>
                  <a:gd name="T70" fmla="*/ 62 w 118"/>
                  <a:gd name="T71" fmla="*/ 468 h 478"/>
                  <a:gd name="T72" fmla="*/ 53 w 118"/>
                  <a:gd name="T73" fmla="*/ 470 h 478"/>
                  <a:gd name="T74" fmla="*/ 50 w 118"/>
                  <a:gd name="T75" fmla="*/ 466 h 478"/>
                  <a:gd name="T76" fmla="*/ 45 w 118"/>
                  <a:gd name="T77" fmla="*/ 463 h 478"/>
                  <a:gd name="T78" fmla="*/ 40 w 118"/>
                  <a:gd name="T79" fmla="*/ 462 h 478"/>
                  <a:gd name="T80" fmla="*/ 38 w 118"/>
                  <a:gd name="T81" fmla="*/ 465 h 478"/>
                  <a:gd name="T82" fmla="*/ 37 w 118"/>
                  <a:gd name="T83" fmla="*/ 465 h 478"/>
                  <a:gd name="T84" fmla="*/ 33 w 118"/>
                  <a:gd name="T85" fmla="*/ 465 h 478"/>
                  <a:gd name="T86" fmla="*/ 30 w 118"/>
                  <a:gd name="T87" fmla="*/ 466 h 478"/>
                  <a:gd name="T88" fmla="*/ 26 w 118"/>
                  <a:gd name="T89" fmla="*/ 466 h 478"/>
                  <a:gd name="T90" fmla="*/ 22 w 118"/>
                  <a:gd name="T91" fmla="*/ 471 h 478"/>
                  <a:gd name="T92" fmla="*/ 17 w 118"/>
                  <a:gd name="T93" fmla="*/ 469 h 478"/>
                  <a:gd name="T94" fmla="*/ 16 w 118"/>
                  <a:gd name="T95" fmla="*/ 478 h 478"/>
                  <a:gd name="T96" fmla="*/ 7 w 118"/>
                  <a:gd name="T97" fmla="*/ 473 h 478"/>
                  <a:gd name="T98" fmla="*/ 4 w 118"/>
                  <a:gd name="T99" fmla="*/ 473 h 478"/>
                  <a:gd name="T100" fmla="*/ 0 w 118"/>
                  <a:gd name="T101" fmla="*/ 1 h 478"/>
                  <a:gd name="T102" fmla="*/ 4 w 118"/>
                  <a:gd name="T103" fmla="*/ 5 h 478"/>
                  <a:gd name="T104" fmla="*/ 5 w 118"/>
                  <a:gd name="T105" fmla="*/ 5 h 478"/>
                  <a:gd name="T106" fmla="*/ 7 w 118"/>
                  <a:gd name="T107" fmla="*/ 0 h 478"/>
                  <a:gd name="T108" fmla="*/ 8 w 118"/>
                  <a:gd name="T109" fmla="*/ 2 h 4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18" h="478">
                    <a:moveTo>
                      <a:pt x="9" y="0"/>
                    </a:moveTo>
                    <a:lnTo>
                      <a:pt x="13" y="6"/>
                    </a:lnTo>
                    <a:lnTo>
                      <a:pt x="15" y="3"/>
                    </a:lnTo>
                    <a:lnTo>
                      <a:pt x="16" y="7"/>
                    </a:lnTo>
                    <a:lnTo>
                      <a:pt x="20" y="9"/>
                    </a:lnTo>
                    <a:lnTo>
                      <a:pt x="21" y="7"/>
                    </a:lnTo>
                    <a:lnTo>
                      <a:pt x="20" y="3"/>
                    </a:lnTo>
                    <a:lnTo>
                      <a:pt x="22" y="6"/>
                    </a:lnTo>
                    <a:lnTo>
                      <a:pt x="23" y="6"/>
                    </a:lnTo>
                    <a:lnTo>
                      <a:pt x="25" y="2"/>
                    </a:lnTo>
                    <a:lnTo>
                      <a:pt x="25" y="5"/>
                    </a:lnTo>
                    <a:lnTo>
                      <a:pt x="28" y="1"/>
                    </a:lnTo>
                    <a:lnTo>
                      <a:pt x="26" y="3"/>
                    </a:lnTo>
                    <a:lnTo>
                      <a:pt x="29" y="6"/>
                    </a:lnTo>
                    <a:lnTo>
                      <a:pt x="29" y="3"/>
                    </a:lnTo>
                    <a:lnTo>
                      <a:pt x="31" y="5"/>
                    </a:lnTo>
                    <a:lnTo>
                      <a:pt x="31" y="7"/>
                    </a:lnTo>
                    <a:lnTo>
                      <a:pt x="33" y="5"/>
                    </a:lnTo>
                    <a:lnTo>
                      <a:pt x="33" y="6"/>
                    </a:lnTo>
                    <a:lnTo>
                      <a:pt x="32" y="7"/>
                    </a:lnTo>
                    <a:lnTo>
                      <a:pt x="34" y="8"/>
                    </a:lnTo>
                    <a:lnTo>
                      <a:pt x="36" y="6"/>
                    </a:lnTo>
                    <a:lnTo>
                      <a:pt x="37" y="7"/>
                    </a:lnTo>
                    <a:lnTo>
                      <a:pt x="37" y="6"/>
                    </a:lnTo>
                    <a:lnTo>
                      <a:pt x="38" y="7"/>
                    </a:lnTo>
                    <a:lnTo>
                      <a:pt x="39" y="5"/>
                    </a:lnTo>
                    <a:lnTo>
                      <a:pt x="41" y="3"/>
                    </a:lnTo>
                    <a:lnTo>
                      <a:pt x="41" y="7"/>
                    </a:lnTo>
                    <a:lnTo>
                      <a:pt x="44" y="5"/>
                    </a:lnTo>
                    <a:lnTo>
                      <a:pt x="45" y="5"/>
                    </a:lnTo>
                    <a:lnTo>
                      <a:pt x="45" y="8"/>
                    </a:lnTo>
                    <a:lnTo>
                      <a:pt x="48" y="8"/>
                    </a:lnTo>
                    <a:lnTo>
                      <a:pt x="47" y="6"/>
                    </a:lnTo>
                    <a:lnTo>
                      <a:pt x="48" y="6"/>
                    </a:lnTo>
                    <a:lnTo>
                      <a:pt x="50" y="8"/>
                    </a:lnTo>
                    <a:lnTo>
                      <a:pt x="51" y="5"/>
                    </a:lnTo>
                    <a:lnTo>
                      <a:pt x="53" y="5"/>
                    </a:lnTo>
                    <a:lnTo>
                      <a:pt x="53" y="8"/>
                    </a:lnTo>
                    <a:lnTo>
                      <a:pt x="55" y="9"/>
                    </a:lnTo>
                    <a:lnTo>
                      <a:pt x="55" y="7"/>
                    </a:lnTo>
                    <a:lnTo>
                      <a:pt x="56" y="8"/>
                    </a:lnTo>
                    <a:lnTo>
                      <a:pt x="58" y="7"/>
                    </a:lnTo>
                    <a:lnTo>
                      <a:pt x="58" y="6"/>
                    </a:lnTo>
                    <a:lnTo>
                      <a:pt x="66" y="3"/>
                    </a:lnTo>
                    <a:lnTo>
                      <a:pt x="68" y="3"/>
                    </a:lnTo>
                    <a:lnTo>
                      <a:pt x="68" y="5"/>
                    </a:lnTo>
                    <a:lnTo>
                      <a:pt x="71" y="3"/>
                    </a:lnTo>
                    <a:lnTo>
                      <a:pt x="72" y="5"/>
                    </a:lnTo>
                    <a:lnTo>
                      <a:pt x="72" y="2"/>
                    </a:lnTo>
                    <a:lnTo>
                      <a:pt x="76" y="5"/>
                    </a:lnTo>
                    <a:lnTo>
                      <a:pt x="76" y="3"/>
                    </a:lnTo>
                    <a:lnTo>
                      <a:pt x="76" y="5"/>
                    </a:lnTo>
                    <a:lnTo>
                      <a:pt x="81" y="5"/>
                    </a:lnTo>
                    <a:lnTo>
                      <a:pt x="81" y="6"/>
                    </a:lnTo>
                    <a:lnTo>
                      <a:pt x="83" y="6"/>
                    </a:lnTo>
                    <a:lnTo>
                      <a:pt x="82" y="6"/>
                    </a:lnTo>
                    <a:lnTo>
                      <a:pt x="86" y="5"/>
                    </a:lnTo>
                    <a:lnTo>
                      <a:pt x="86" y="6"/>
                    </a:lnTo>
                    <a:lnTo>
                      <a:pt x="87" y="5"/>
                    </a:lnTo>
                    <a:lnTo>
                      <a:pt x="90" y="5"/>
                    </a:lnTo>
                    <a:lnTo>
                      <a:pt x="92" y="1"/>
                    </a:lnTo>
                    <a:lnTo>
                      <a:pt x="91" y="5"/>
                    </a:lnTo>
                    <a:lnTo>
                      <a:pt x="91" y="6"/>
                    </a:lnTo>
                    <a:lnTo>
                      <a:pt x="95" y="5"/>
                    </a:lnTo>
                    <a:lnTo>
                      <a:pt x="95" y="7"/>
                    </a:lnTo>
                    <a:lnTo>
                      <a:pt x="99" y="6"/>
                    </a:lnTo>
                    <a:lnTo>
                      <a:pt x="100" y="2"/>
                    </a:lnTo>
                    <a:lnTo>
                      <a:pt x="104" y="0"/>
                    </a:lnTo>
                    <a:lnTo>
                      <a:pt x="105" y="2"/>
                    </a:lnTo>
                    <a:lnTo>
                      <a:pt x="115" y="6"/>
                    </a:lnTo>
                    <a:lnTo>
                      <a:pt x="115" y="3"/>
                    </a:lnTo>
                    <a:lnTo>
                      <a:pt x="118" y="6"/>
                    </a:lnTo>
                    <a:lnTo>
                      <a:pt x="118" y="469"/>
                    </a:lnTo>
                    <a:lnTo>
                      <a:pt x="114" y="469"/>
                    </a:lnTo>
                    <a:lnTo>
                      <a:pt x="118" y="473"/>
                    </a:lnTo>
                    <a:lnTo>
                      <a:pt x="109" y="467"/>
                    </a:lnTo>
                    <a:lnTo>
                      <a:pt x="112" y="474"/>
                    </a:lnTo>
                    <a:lnTo>
                      <a:pt x="108" y="471"/>
                    </a:lnTo>
                    <a:lnTo>
                      <a:pt x="107" y="473"/>
                    </a:lnTo>
                    <a:lnTo>
                      <a:pt x="108" y="475"/>
                    </a:lnTo>
                    <a:lnTo>
                      <a:pt x="104" y="473"/>
                    </a:lnTo>
                    <a:lnTo>
                      <a:pt x="104" y="474"/>
                    </a:lnTo>
                    <a:lnTo>
                      <a:pt x="100" y="474"/>
                    </a:lnTo>
                    <a:lnTo>
                      <a:pt x="103" y="474"/>
                    </a:lnTo>
                    <a:lnTo>
                      <a:pt x="103" y="475"/>
                    </a:lnTo>
                    <a:lnTo>
                      <a:pt x="99" y="476"/>
                    </a:lnTo>
                    <a:lnTo>
                      <a:pt x="92" y="473"/>
                    </a:lnTo>
                    <a:lnTo>
                      <a:pt x="90" y="470"/>
                    </a:lnTo>
                    <a:lnTo>
                      <a:pt x="90" y="473"/>
                    </a:lnTo>
                    <a:lnTo>
                      <a:pt x="89" y="468"/>
                    </a:lnTo>
                    <a:lnTo>
                      <a:pt x="88" y="470"/>
                    </a:lnTo>
                    <a:lnTo>
                      <a:pt x="84" y="461"/>
                    </a:lnTo>
                    <a:lnTo>
                      <a:pt x="84" y="463"/>
                    </a:lnTo>
                    <a:lnTo>
                      <a:pt x="83" y="462"/>
                    </a:lnTo>
                    <a:lnTo>
                      <a:pt x="82" y="462"/>
                    </a:lnTo>
                    <a:lnTo>
                      <a:pt x="82" y="465"/>
                    </a:lnTo>
                    <a:lnTo>
                      <a:pt x="79" y="465"/>
                    </a:lnTo>
                    <a:lnTo>
                      <a:pt x="76" y="463"/>
                    </a:lnTo>
                    <a:lnTo>
                      <a:pt x="76" y="468"/>
                    </a:lnTo>
                    <a:lnTo>
                      <a:pt x="74" y="465"/>
                    </a:lnTo>
                    <a:lnTo>
                      <a:pt x="74" y="468"/>
                    </a:lnTo>
                    <a:lnTo>
                      <a:pt x="73" y="467"/>
                    </a:lnTo>
                    <a:lnTo>
                      <a:pt x="71" y="468"/>
                    </a:lnTo>
                    <a:lnTo>
                      <a:pt x="66" y="465"/>
                    </a:lnTo>
                    <a:lnTo>
                      <a:pt x="64" y="466"/>
                    </a:lnTo>
                    <a:lnTo>
                      <a:pt x="65" y="467"/>
                    </a:lnTo>
                    <a:lnTo>
                      <a:pt x="63" y="468"/>
                    </a:lnTo>
                    <a:lnTo>
                      <a:pt x="62" y="468"/>
                    </a:lnTo>
                    <a:lnTo>
                      <a:pt x="56" y="470"/>
                    </a:lnTo>
                    <a:lnTo>
                      <a:pt x="56" y="468"/>
                    </a:lnTo>
                    <a:lnTo>
                      <a:pt x="53" y="470"/>
                    </a:lnTo>
                    <a:lnTo>
                      <a:pt x="54" y="468"/>
                    </a:lnTo>
                    <a:lnTo>
                      <a:pt x="53" y="466"/>
                    </a:lnTo>
                    <a:lnTo>
                      <a:pt x="50" y="466"/>
                    </a:lnTo>
                    <a:lnTo>
                      <a:pt x="48" y="463"/>
                    </a:lnTo>
                    <a:lnTo>
                      <a:pt x="48" y="466"/>
                    </a:lnTo>
                    <a:lnTo>
                      <a:pt x="45" y="463"/>
                    </a:lnTo>
                    <a:lnTo>
                      <a:pt x="44" y="461"/>
                    </a:lnTo>
                    <a:lnTo>
                      <a:pt x="41" y="465"/>
                    </a:lnTo>
                    <a:lnTo>
                      <a:pt x="40" y="462"/>
                    </a:lnTo>
                    <a:lnTo>
                      <a:pt x="38" y="462"/>
                    </a:lnTo>
                    <a:lnTo>
                      <a:pt x="40" y="465"/>
                    </a:lnTo>
                    <a:lnTo>
                      <a:pt x="38" y="465"/>
                    </a:lnTo>
                    <a:lnTo>
                      <a:pt x="40" y="466"/>
                    </a:lnTo>
                    <a:lnTo>
                      <a:pt x="37" y="466"/>
                    </a:lnTo>
                    <a:lnTo>
                      <a:pt x="37" y="465"/>
                    </a:lnTo>
                    <a:lnTo>
                      <a:pt x="36" y="466"/>
                    </a:lnTo>
                    <a:lnTo>
                      <a:pt x="34" y="465"/>
                    </a:lnTo>
                    <a:lnTo>
                      <a:pt x="33" y="465"/>
                    </a:lnTo>
                    <a:lnTo>
                      <a:pt x="32" y="468"/>
                    </a:lnTo>
                    <a:lnTo>
                      <a:pt x="30" y="465"/>
                    </a:lnTo>
                    <a:lnTo>
                      <a:pt x="30" y="466"/>
                    </a:lnTo>
                    <a:lnTo>
                      <a:pt x="28" y="465"/>
                    </a:lnTo>
                    <a:lnTo>
                      <a:pt x="28" y="468"/>
                    </a:lnTo>
                    <a:lnTo>
                      <a:pt x="26" y="466"/>
                    </a:lnTo>
                    <a:lnTo>
                      <a:pt x="23" y="467"/>
                    </a:lnTo>
                    <a:lnTo>
                      <a:pt x="23" y="470"/>
                    </a:lnTo>
                    <a:lnTo>
                      <a:pt x="22" y="471"/>
                    </a:lnTo>
                    <a:lnTo>
                      <a:pt x="20" y="471"/>
                    </a:lnTo>
                    <a:lnTo>
                      <a:pt x="19" y="469"/>
                    </a:lnTo>
                    <a:lnTo>
                      <a:pt x="17" y="469"/>
                    </a:lnTo>
                    <a:lnTo>
                      <a:pt x="17" y="471"/>
                    </a:lnTo>
                    <a:lnTo>
                      <a:pt x="16" y="469"/>
                    </a:lnTo>
                    <a:lnTo>
                      <a:pt x="16" y="478"/>
                    </a:lnTo>
                    <a:lnTo>
                      <a:pt x="12" y="473"/>
                    </a:lnTo>
                    <a:lnTo>
                      <a:pt x="8" y="471"/>
                    </a:lnTo>
                    <a:lnTo>
                      <a:pt x="7" y="473"/>
                    </a:lnTo>
                    <a:lnTo>
                      <a:pt x="11" y="474"/>
                    </a:lnTo>
                    <a:lnTo>
                      <a:pt x="7" y="473"/>
                    </a:lnTo>
                    <a:lnTo>
                      <a:pt x="4" y="473"/>
                    </a:lnTo>
                    <a:lnTo>
                      <a:pt x="1" y="471"/>
                    </a:lnTo>
                    <a:lnTo>
                      <a:pt x="0" y="471"/>
                    </a:lnTo>
                    <a:lnTo>
                      <a:pt x="0" y="1"/>
                    </a:lnTo>
                    <a:lnTo>
                      <a:pt x="1" y="5"/>
                    </a:lnTo>
                    <a:lnTo>
                      <a:pt x="3" y="1"/>
                    </a:lnTo>
                    <a:lnTo>
                      <a:pt x="4" y="5"/>
                    </a:lnTo>
                    <a:lnTo>
                      <a:pt x="5" y="2"/>
                    </a:lnTo>
                    <a:lnTo>
                      <a:pt x="6" y="2"/>
                    </a:lnTo>
                    <a:lnTo>
                      <a:pt x="5" y="5"/>
                    </a:lnTo>
                    <a:lnTo>
                      <a:pt x="6" y="0"/>
                    </a:lnTo>
                    <a:lnTo>
                      <a:pt x="6" y="1"/>
                    </a:lnTo>
                    <a:lnTo>
                      <a:pt x="7" y="0"/>
                    </a:lnTo>
                    <a:lnTo>
                      <a:pt x="8" y="1"/>
                    </a:lnTo>
                    <a:lnTo>
                      <a:pt x="8" y="1"/>
                    </a:lnTo>
                    <a:lnTo>
                      <a:pt x="8" y="2"/>
                    </a:lnTo>
                    <a:lnTo>
                      <a:pt x="9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E20074"/>
                  </a:buClr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0" cap="none" spc="0" normalizeH="0" baseline="0" noProof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94" name="Freeform 134"/>
              <p:cNvSpPr>
                <a:spLocks noEditPoints="1"/>
              </p:cNvSpPr>
              <p:nvPr/>
            </p:nvSpPr>
            <p:spPr bwMode="auto">
              <a:xfrm>
                <a:off x="12106276" y="612776"/>
                <a:ext cx="185738" cy="742950"/>
              </a:xfrm>
              <a:custGeom>
                <a:avLst/>
                <a:gdLst>
                  <a:gd name="T0" fmla="*/ 61 w 117"/>
                  <a:gd name="T1" fmla="*/ 459 h 468"/>
                  <a:gd name="T2" fmla="*/ 56 w 117"/>
                  <a:gd name="T3" fmla="*/ 458 h 468"/>
                  <a:gd name="T4" fmla="*/ 54 w 117"/>
                  <a:gd name="T5" fmla="*/ 459 h 468"/>
                  <a:gd name="T6" fmla="*/ 98 w 117"/>
                  <a:gd name="T7" fmla="*/ 15 h 468"/>
                  <a:gd name="T8" fmla="*/ 113 w 117"/>
                  <a:gd name="T9" fmla="*/ 12 h 468"/>
                  <a:gd name="T10" fmla="*/ 17 w 117"/>
                  <a:gd name="T11" fmla="*/ 8 h 468"/>
                  <a:gd name="T12" fmla="*/ 4 w 117"/>
                  <a:gd name="T13" fmla="*/ 5 h 468"/>
                  <a:gd name="T14" fmla="*/ 5 w 117"/>
                  <a:gd name="T15" fmla="*/ 4 h 468"/>
                  <a:gd name="T16" fmla="*/ 25 w 117"/>
                  <a:gd name="T17" fmla="*/ 3 h 468"/>
                  <a:gd name="T18" fmla="*/ 28 w 117"/>
                  <a:gd name="T19" fmla="*/ 5 h 468"/>
                  <a:gd name="T20" fmla="*/ 42 w 117"/>
                  <a:gd name="T21" fmla="*/ 13 h 468"/>
                  <a:gd name="T22" fmla="*/ 45 w 117"/>
                  <a:gd name="T23" fmla="*/ 15 h 468"/>
                  <a:gd name="T24" fmla="*/ 54 w 117"/>
                  <a:gd name="T25" fmla="*/ 17 h 468"/>
                  <a:gd name="T26" fmla="*/ 60 w 117"/>
                  <a:gd name="T27" fmla="*/ 18 h 468"/>
                  <a:gd name="T28" fmla="*/ 66 w 117"/>
                  <a:gd name="T29" fmla="*/ 22 h 468"/>
                  <a:gd name="T30" fmla="*/ 73 w 117"/>
                  <a:gd name="T31" fmla="*/ 17 h 468"/>
                  <a:gd name="T32" fmla="*/ 79 w 117"/>
                  <a:gd name="T33" fmla="*/ 17 h 468"/>
                  <a:gd name="T34" fmla="*/ 86 w 117"/>
                  <a:gd name="T35" fmla="*/ 20 h 468"/>
                  <a:gd name="T36" fmla="*/ 91 w 117"/>
                  <a:gd name="T37" fmla="*/ 14 h 468"/>
                  <a:gd name="T38" fmla="*/ 98 w 117"/>
                  <a:gd name="T39" fmla="*/ 17 h 468"/>
                  <a:gd name="T40" fmla="*/ 100 w 117"/>
                  <a:gd name="T41" fmla="*/ 15 h 468"/>
                  <a:gd name="T42" fmla="*/ 106 w 117"/>
                  <a:gd name="T43" fmla="*/ 13 h 468"/>
                  <a:gd name="T44" fmla="*/ 115 w 117"/>
                  <a:gd name="T45" fmla="*/ 12 h 468"/>
                  <a:gd name="T46" fmla="*/ 117 w 117"/>
                  <a:gd name="T47" fmla="*/ 12 h 468"/>
                  <a:gd name="T48" fmla="*/ 116 w 117"/>
                  <a:gd name="T49" fmla="*/ 458 h 468"/>
                  <a:gd name="T50" fmla="*/ 115 w 117"/>
                  <a:gd name="T51" fmla="*/ 461 h 468"/>
                  <a:gd name="T52" fmla="*/ 113 w 117"/>
                  <a:gd name="T53" fmla="*/ 461 h 468"/>
                  <a:gd name="T54" fmla="*/ 107 w 117"/>
                  <a:gd name="T55" fmla="*/ 459 h 468"/>
                  <a:gd name="T56" fmla="*/ 105 w 117"/>
                  <a:gd name="T57" fmla="*/ 463 h 468"/>
                  <a:gd name="T58" fmla="*/ 102 w 117"/>
                  <a:gd name="T59" fmla="*/ 458 h 468"/>
                  <a:gd name="T60" fmla="*/ 99 w 117"/>
                  <a:gd name="T61" fmla="*/ 458 h 468"/>
                  <a:gd name="T62" fmla="*/ 96 w 117"/>
                  <a:gd name="T63" fmla="*/ 457 h 468"/>
                  <a:gd name="T64" fmla="*/ 92 w 117"/>
                  <a:gd name="T65" fmla="*/ 456 h 468"/>
                  <a:gd name="T66" fmla="*/ 94 w 117"/>
                  <a:gd name="T67" fmla="*/ 458 h 468"/>
                  <a:gd name="T68" fmla="*/ 87 w 117"/>
                  <a:gd name="T69" fmla="*/ 458 h 468"/>
                  <a:gd name="T70" fmla="*/ 79 w 117"/>
                  <a:gd name="T71" fmla="*/ 460 h 468"/>
                  <a:gd name="T72" fmla="*/ 72 w 117"/>
                  <a:gd name="T73" fmla="*/ 457 h 468"/>
                  <a:gd name="T74" fmla="*/ 62 w 117"/>
                  <a:gd name="T75" fmla="*/ 458 h 468"/>
                  <a:gd name="T76" fmla="*/ 60 w 117"/>
                  <a:gd name="T77" fmla="*/ 456 h 468"/>
                  <a:gd name="T78" fmla="*/ 58 w 117"/>
                  <a:gd name="T79" fmla="*/ 459 h 468"/>
                  <a:gd name="T80" fmla="*/ 53 w 117"/>
                  <a:gd name="T81" fmla="*/ 460 h 468"/>
                  <a:gd name="T82" fmla="*/ 44 w 117"/>
                  <a:gd name="T83" fmla="*/ 457 h 468"/>
                  <a:gd name="T84" fmla="*/ 38 w 117"/>
                  <a:gd name="T85" fmla="*/ 452 h 468"/>
                  <a:gd name="T86" fmla="*/ 35 w 117"/>
                  <a:gd name="T87" fmla="*/ 456 h 468"/>
                  <a:gd name="T88" fmla="*/ 20 w 117"/>
                  <a:gd name="T89" fmla="*/ 460 h 468"/>
                  <a:gd name="T90" fmla="*/ 19 w 117"/>
                  <a:gd name="T91" fmla="*/ 464 h 468"/>
                  <a:gd name="T92" fmla="*/ 11 w 117"/>
                  <a:gd name="T93" fmla="*/ 464 h 468"/>
                  <a:gd name="T94" fmla="*/ 10 w 117"/>
                  <a:gd name="T95" fmla="*/ 467 h 468"/>
                  <a:gd name="T96" fmla="*/ 2 w 117"/>
                  <a:gd name="T97" fmla="*/ 467 h 468"/>
                  <a:gd name="T98" fmla="*/ 3 w 117"/>
                  <a:gd name="T99" fmla="*/ 6 h 468"/>
                  <a:gd name="T100" fmla="*/ 10 w 117"/>
                  <a:gd name="T101" fmla="*/ 7 h 468"/>
                  <a:gd name="T102" fmla="*/ 17 w 117"/>
                  <a:gd name="T103" fmla="*/ 9 h 468"/>
                  <a:gd name="T104" fmla="*/ 19 w 117"/>
                  <a:gd name="T105" fmla="*/ 7 h 468"/>
                  <a:gd name="T106" fmla="*/ 20 w 117"/>
                  <a:gd name="T107" fmla="*/ 5 h 468"/>
                  <a:gd name="T108" fmla="*/ 29 w 117"/>
                  <a:gd name="T109" fmla="*/ 0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17" h="468">
                    <a:moveTo>
                      <a:pt x="61" y="459"/>
                    </a:moveTo>
                    <a:lnTo>
                      <a:pt x="62" y="460"/>
                    </a:lnTo>
                    <a:lnTo>
                      <a:pt x="61" y="460"/>
                    </a:lnTo>
                    <a:lnTo>
                      <a:pt x="61" y="459"/>
                    </a:lnTo>
                    <a:close/>
                    <a:moveTo>
                      <a:pt x="56" y="458"/>
                    </a:moveTo>
                    <a:lnTo>
                      <a:pt x="57" y="458"/>
                    </a:lnTo>
                    <a:lnTo>
                      <a:pt x="57" y="459"/>
                    </a:lnTo>
                    <a:lnTo>
                      <a:pt x="56" y="458"/>
                    </a:lnTo>
                    <a:close/>
                    <a:moveTo>
                      <a:pt x="54" y="457"/>
                    </a:moveTo>
                    <a:lnTo>
                      <a:pt x="56" y="458"/>
                    </a:lnTo>
                    <a:lnTo>
                      <a:pt x="55" y="458"/>
                    </a:lnTo>
                    <a:lnTo>
                      <a:pt x="54" y="459"/>
                    </a:lnTo>
                    <a:lnTo>
                      <a:pt x="54" y="457"/>
                    </a:lnTo>
                    <a:close/>
                    <a:moveTo>
                      <a:pt x="97" y="15"/>
                    </a:moveTo>
                    <a:lnTo>
                      <a:pt x="98" y="15"/>
                    </a:lnTo>
                    <a:lnTo>
                      <a:pt x="98" y="15"/>
                    </a:lnTo>
                    <a:lnTo>
                      <a:pt x="97" y="15"/>
                    </a:lnTo>
                    <a:close/>
                    <a:moveTo>
                      <a:pt x="113" y="11"/>
                    </a:moveTo>
                    <a:lnTo>
                      <a:pt x="113" y="12"/>
                    </a:lnTo>
                    <a:lnTo>
                      <a:pt x="113" y="12"/>
                    </a:lnTo>
                    <a:lnTo>
                      <a:pt x="113" y="11"/>
                    </a:lnTo>
                    <a:close/>
                    <a:moveTo>
                      <a:pt x="17" y="8"/>
                    </a:moveTo>
                    <a:lnTo>
                      <a:pt x="17" y="8"/>
                    </a:lnTo>
                    <a:lnTo>
                      <a:pt x="17" y="8"/>
                    </a:lnTo>
                    <a:lnTo>
                      <a:pt x="17" y="8"/>
                    </a:lnTo>
                    <a:close/>
                    <a:moveTo>
                      <a:pt x="4" y="4"/>
                    </a:moveTo>
                    <a:lnTo>
                      <a:pt x="5" y="4"/>
                    </a:lnTo>
                    <a:lnTo>
                      <a:pt x="4" y="5"/>
                    </a:lnTo>
                    <a:lnTo>
                      <a:pt x="4" y="4"/>
                    </a:lnTo>
                    <a:close/>
                    <a:moveTo>
                      <a:pt x="5" y="3"/>
                    </a:moveTo>
                    <a:lnTo>
                      <a:pt x="5" y="5"/>
                    </a:lnTo>
                    <a:lnTo>
                      <a:pt x="5" y="4"/>
                    </a:lnTo>
                    <a:lnTo>
                      <a:pt x="5" y="3"/>
                    </a:lnTo>
                    <a:close/>
                    <a:moveTo>
                      <a:pt x="27" y="1"/>
                    </a:moveTo>
                    <a:lnTo>
                      <a:pt x="25" y="3"/>
                    </a:lnTo>
                    <a:lnTo>
                      <a:pt x="25" y="3"/>
                    </a:lnTo>
                    <a:lnTo>
                      <a:pt x="27" y="1"/>
                    </a:lnTo>
                    <a:close/>
                    <a:moveTo>
                      <a:pt x="29" y="0"/>
                    </a:moveTo>
                    <a:lnTo>
                      <a:pt x="25" y="5"/>
                    </a:lnTo>
                    <a:lnTo>
                      <a:pt x="28" y="5"/>
                    </a:lnTo>
                    <a:lnTo>
                      <a:pt x="35" y="5"/>
                    </a:lnTo>
                    <a:lnTo>
                      <a:pt x="37" y="7"/>
                    </a:lnTo>
                    <a:lnTo>
                      <a:pt x="37" y="8"/>
                    </a:lnTo>
                    <a:lnTo>
                      <a:pt x="42" y="13"/>
                    </a:lnTo>
                    <a:lnTo>
                      <a:pt x="44" y="18"/>
                    </a:lnTo>
                    <a:lnTo>
                      <a:pt x="44" y="15"/>
                    </a:lnTo>
                    <a:lnTo>
                      <a:pt x="45" y="17"/>
                    </a:lnTo>
                    <a:lnTo>
                      <a:pt x="45" y="15"/>
                    </a:lnTo>
                    <a:lnTo>
                      <a:pt x="47" y="14"/>
                    </a:lnTo>
                    <a:lnTo>
                      <a:pt x="48" y="15"/>
                    </a:lnTo>
                    <a:lnTo>
                      <a:pt x="49" y="18"/>
                    </a:lnTo>
                    <a:lnTo>
                      <a:pt x="54" y="17"/>
                    </a:lnTo>
                    <a:lnTo>
                      <a:pt x="53" y="18"/>
                    </a:lnTo>
                    <a:lnTo>
                      <a:pt x="55" y="18"/>
                    </a:lnTo>
                    <a:lnTo>
                      <a:pt x="55" y="21"/>
                    </a:lnTo>
                    <a:lnTo>
                      <a:pt x="60" y="18"/>
                    </a:lnTo>
                    <a:lnTo>
                      <a:pt x="61" y="16"/>
                    </a:lnTo>
                    <a:lnTo>
                      <a:pt x="62" y="21"/>
                    </a:lnTo>
                    <a:lnTo>
                      <a:pt x="65" y="20"/>
                    </a:lnTo>
                    <a:lnTo>
                      <a:pt x="66" y="22"/>
                    </a:lnTo>
                    <a:lnTo>
                      <a:pt x="66" y="18"/>
                    </a:lnTo>
                    <a:lnTo>
                      <a:pt x="71" y="22"/>
                    </a:lnTo>
                    <a:lnTo>
                      <a:pt x="73" y="21"/>
                    </a:lnTo>
                    <a:lnTo>
                      <a:pt x="73" y="17"/>
                    </a:lnTo>
                    <a:lnTo>
                      <a:pt x="74" y="17"/>
                    </a:lnTo>
                    <a:lnTo>
                      <a:pt x="75" y="20"/>
                    </a:lnTo>
                    <a:lnTo>
                      <a:pt x="80" y="20"/>
                    </a:lnTo>
                    <a:lnTo>
                      <a:pt x="79" y="17"/>
                    </a:lnTo>
                    <a:lnTo>
                      <a:pt x="80" y="20"/>
                    </a:lnTo>
                    <a:lnTo>
                      <a:pt x="83" y="20"/>
                    </a:lnTo>
                    <a:lnTo>
                      <a:pt x="82" y="18"/>
                    </a:lnTo>
                    <a:lnTo>
                      <a:pt x="86" y="20"/>
                    </a:lnTo>
                    <a:lnTo>
                      <a:pt x="87" y="18"/>
                    </a:lnTo>
                    <a:lnTo>
                      <a:pt x="87" y="16"/>
                    </a:lnTo>
                    <a:lnTo>
                      <a:pt x="90" y="14"/>
                    </a:lnTo>
                    <a:lnTo>
                      <a:pt x="91" y="14"/>
                    </a:lnTo>
                    <a:lnTo>
                      <a:pt x="96" y="17"/>
                    </a:lnTo>
                    <a:lnTo>
                      <a:pt x="96" y="15"/>
                    </a:lnTo>
                    <a:lnTo>
                      <a:pt x="96" y="14"/>
                    </a:lnTo>
                    <a:lnTo>
                      <a:pt x="98" y="17"/>
                    </a:lnTo>
                    <a:lnTo>
                      <a:pt x="98" y="15"/>
                    </a:lnTo>
                    <a:lnTo>
                      <a:pt x="99" y="16"/>
                    </a:lnTo>
                    <a:lnTo>
                      <a:pt x="98" y="15"/>
                    </a:lnTo>
                    <a:lnTo>
                      <a:pt x="100" y="15"/>
                    </a:lnTo>
                    <a:lnTo>
                      <a:pt x="102" y="11"/>
                    </a:lnTo>
                    <a:lnTo>
                      <a:pt x="104" y="11"/>
                    </a:lnTo>
                    <a:lnTo>
                      <a:pt x="104" y="13"/>
                    </a:lnTo>
                    <a:lnTo>
                      <a:pt x="106" y="13"/>
                    </a:lnTo>
                    <a:lnTo>
                      <a:pt x="107" y="14"/>
                    </a:lnTo>
                    <a:lnTo>
                      <a:pt x="112" y="13"/>
                    </a:lnTo>
                    <a:lnTo>
                      <a:pt x="113" y="12"/>
                    </a:lnTo>
                    <a:lnTo>
                      <a:pt x="115" y="12"/>
                    </a:lnTo>
                    <a:lnTo>
                      <a:pt x="115" y="12"/>
                    </a:lnTo>
                    <a:lnTo>
                      <a:pt x="115" y="12"/>
                    </a:lnTo>
                    <a:lnTo>
                      <a:pt x="116" y="13"/>
                    </a:lnTo>
                    <a:lnTo>
                      <a:pt x="117" y="12"/>
                    </a:lnTo>
                    <a:lnTo>
                      <a:pt x="117" y="458"/>
                    </a:lnTo>
                    <a:lnTo>
                      <a:pt x="117" y="457"/>
                    </a:lnTo>
                    <a:lnTo>
                      <a:pt x="117" y="461"/>
                    </a:lnTo>
                    <a:lnTo>
                      <a:pt x="116" y="458"/>
                    </a:lnTo>
                    <a:lnTo>
                      <a:pt x="116" y="463"/>
                    </a:lnTo>
                    <a:lnTo>
                      <a:pt x="115" y="460"/>
                    </a:lnTo>
                    <a:lnTo>
                      <a:pt x="114" y="460"/>
                    </a:lnTo>
                    <a:lnTo>
                      <a:pt x="115" y="461"/>
                    </a:lnTo>
                    <a:lnTo>
                      <a:pt x="115" y="463"/>
                    </a:lnTo>
                    <a:lnTo>
                      <a:pt x="115" y="463"/>
                    </a:lnTo>
                    <a:lnTo>
                      <a:pt x="111" y="463"/>
                    </a:lnTo>
                    <a:lnTo>
                      <a:pt x="113" y="461"/>
                    </a:lnTo>
                    <a:lnTo>
                      <a:pt x="111" y="459"/>
                    </a:lnTo>
                    <a:lnTo>
                      <a:pt x="111" y="461"/>
                    </a:lnTo>
                    <a:lnTo>
                      <a:pt x="108" y="463"/>
                    </a:lnTo>
                    <a:lnTo>
                      <a:pt x="107" y="459"/>
                    </a:lnTo>
                    <a:lnTo>
                      <a:pt x="106" y="461"/>
                    </a:lnTo>
                    <a:lnTo>
                      <a:pt x="107" y="464"/>
                    </a:lnTo>
                    <a:lnTo>
                      <a:pt x="105" y="461"/>
                    </a:lnTo>
                    <a:lnTo>
                      <a:pt x="105" y="463"/>
                    </a:lnTo>
                    <a:lnTo>
                      <a:pt x="104" y="461"/>
                    </a:lnTo>
                    <a:lnTo>
                      <a:pt x="104" y="458"/>
                    </a:lnTo>
                    <a:lnTo>
                      <a:pt x="102" y="460"/>
                    </a:lnTo>
                    <a:lnTo>
                      <a:pt x="102" y="458"/>
                    </a:lnTo>
                    <a:lnTo>
                      <a:pt x="99" y="459"/>
                    </a:lnTo>
                    <a:lnTo>
                      <a:pt x="100" y="457"/>
                    </a:lnTo>
                    <a:lnTo>
                      <a:pt x="100" y="456"/>
                    </a:lnTo>
                    <a:lnTo>
                      <a:pt x="99" y="458"/>
                    </a:lnTo>
                    <a:lnTo>
                      <a:pt x="97" y="456"/>
                    </a:lnTo>
                    <a:lnTo>
                      <a:pt x="96" y="456"/>
                    </a:lnTo>
                    <a:lnTo>
                      <a:pt x="98" y="459"/>
                    </a:lnTo>
                    <a:lnTo>
                      <a:pt x="96" y="457"/>
                    </a:lnTo>
                    <a:lnTo>
                      <a:pt x="95" y="455"/>
                    </a:lnTo>
                    <a:lnTo>
                      <a:pt x="94" y="456"/>
                    </a:lnTo>
                    <a:lnTo>
                      <a:pt x="94" y="453"/>
                    </a:lnTo>
                    <a:lnTo>
                      <a:pt x="92" y="456"/>
                    </a:lnTo>
                    <a:lnTo>
                      <a:pt x="90" y="453"/>
                    </a:lnTo>
                    <a:lnTo>
                      <a:pt x="92" y="457"/>
                    </a:lnTo>
                    <a:lnTo>
                      <a:pt x="94" y="457"/>
                    </a:lnTo>
                    <a:lnTo>
                      <a:pt x="94" y="458"/>
                    </a:lnTo>
                    <a:lnTo>
                      <a:pt x="89" y="456"/>
                    </a:lnTo>
                    <a:lnTo>
                      <a:pt x="90" y="457"/>
                    </a:lnTo>
                    <a:lnTo>
                      <a:pt x="87" y="456"/>
                    </a:lnTo>
                    <a:lnTo>
                      <a:pt x="87" y="458"/>
                    </a:lnTo>
                    <a:lnTo>
                      <a:pt x="86" y="456"/>
                    </a:lnTo>
                    <a:lnTo>
                      <a:pt x="85" y="461"/>
                    </a:lnTo>
                    <a:lnTo>
                      <a:pt x="80" y="458"/>
                    </a:lnTo>
                    <a:lnTo>
                      <a:pt x="79" y="460"/>
                    </a:lnTo>
                    <a:lnTo>
                      <a:pt x="77" y="458"/>
                    </a:lnTo>
                    <a:lnTo>
                      <a:pt x="74" y="459"/>
                    </a:lnTo>
                    <a:lnTo>
                      <a:pt x="73" y="457"/>
                    </a:lnTo>
                    <a:lnTo>
                      <a:pt x="72" y="457"/>
                    </a:lnTo>
                    <a:lnTo>
                      <a:pt x="72" y="459"/>
                    </a:lnTo>
                    <a:lnTo>
                      <a:pt x="70" y="457"/>
                    </a:lnTo>
                    <a:lnTo>
                      <a:pt x="70" y="458"/>
                    </a:lnTo>
                    <a:lnTo>
                      <a:pt x="62" y="458"/>
                    </a:lnTo>
                    <a:lnTo>
                      <a:pt x="63" y="459"/>
                    </a:lnTo>
                    <a:lnTo>
                      <a:pt x="61" y="457"/>
                    </a:lnTo>
                    <a:lnTo>
                      <a:pt x="62" y="458"/>
                    </a:lnTo>
                    <a:lnTo>
                      <a:pt x="60" y="456"/>
                    </a:lnTo>
                    <a:lnTo>
                      <a:pt x="60" y="459"/>
                    </a:lnTo>
                    <a:lnTo>
                      <a:pt x="61" y="460"/>
                    </a:lnTo>
                    <a:lnTo>
                      <a:pt x="61" y="460"/>
                    </a:lnTo>
                    <a:lnTo>
                      <a:pt x="58" y="459"/>
                    </a:lnTo>
                    <a:lnTo>
                      <a:pt x="57" y="458"/>
                    </a:lnTo>
                    <a:lnTo>
                      <a:pt x="54" y="455"/>
                    </a:lnTo>
                    <a:lnTo>
                      <a:pt x="53" y="457"/>
                    </a:lnTo>
                    <a:lnTo>
                      <a:pt x="53" y="460"/>
                    </a:lnTo>
                    <a:lnTo>
                      <a:pt x="52" y="457"/>
                    </a:lnTo>
                    <a:lnTo>
                      <a:pt x="50" y="456"/>
                    </a:lnTo>
                    <a:lnTo>
                      <a:pt x="45" y="458"/>
                    </a:lnTo>
                    <a:lnTo>
                      <a:pt x="44" y="457"/>
                    </a:lnTo>
                    <a:lnTo>
                      <a:pt x="44" y="452"/>
                    </a:lnTo>
                    <a:lnTo>
                      <a:pt x="39" y="451"/>
                    </a:lnTo>
                    <a:lnTo>
                      <a:pt x="40" y="453"/>
                    </a:lnTo>
                    <a:lnTo>
                      <a:pt x="38" y="452"/>
                    </a:lnTo>
                    <a:lnTo>
                      <a:pt x="37" y="455"/>
                    </a:lnTo>
                    <a:lnTo>
                      <a:pt x="38" y="456"/>
                    </a:lnTo>
                    <a:lnTo>
                      <a:pt x="35" y="453"/>
                    </a:lnTo>
                    <a:lnTo>
                      <a:pt x="35" y="456"/>
                    </a:lnTo>
                    <a:lnTo>
                      <a:pt x="32" y="455"/>
                    </a:lnTo>
                    <a:lnTo>
                      <a:pt x="33" y="457"/>
                    </a:lnTo>
                    <a:lnTo>
                      <a:pt x="24" y="458"/>
                    </a:lnTo>
                    <a:lnTo>
                      <a:pt x="20" y="460"/>
                    </a:lnTo>
                    <a:lnTo>
                      <a:pt x="20" y="461"/>
                    </a:lnTo>
                    <a:lnTo>
                      <a:pt x="19" y="459"/>
                    </a:lnTo>
                    <a:lnTo>
                      <a:pt x="17" y="461"/>
                    </a:lnTo>
                    <a:lnTo>
                      <a:pt x="19" y="464"/>
                    </a:lnTo>
                    <a:lnTo>
                      <a:pt x="15" y="461"/>
                    </a:lnTo>
                    <a:lnTo>
                      <a:pt x="14" y="464"/>
                    </a:lnTo>
                    <a:lnTo>
                      <a:pt x="13" y="463"/>
                    </a:lnTo>
                    <a:lnTo>
                      <a:pt x="11" y="464"/>
                    </a:lnTo>
                    <a:lnTo>
                      <a:pt x="12" y="464"/>
                    </a:lnTo>
                    <a:lnTo>
                      <a:pt x="12" y="468"/>
                    </a:lnTo>
                    <a:lnTo>
                      <a:pt x="11" y="466"/>
                    </a:lnTo>
                    <a:lnTo>
                      <a:pt x="10" y="467"/>
                    </a:lnTo>
                    <a:lnTo>
                      <a:pt x="10" y="466"/>
                    </a:lnTo>
                    <a:lnTo>
                      <a:pt x="10" y="468"/>
                    </a:lnTo>
                    <a:lnTo>
                      <a:pt x="7" y="468"/>
                    </a:lnTo>
                    <a:lnTo>
                      <a:pt x="2" y="467"/>
                    </a:lnTo>
                    <a:lnTo>
                      <a:pt x="0" y="467"/>
                    </a:lnTo>
                    <a:lnTo>
                      <a:pt x="0" y="4"/>
                    </a:lnTo>
                    <a:lnTo>
                      <a:pt x="2" y="5"/>
                    </a:lnTo>
                    <a:lnTo>
                      <a:pt x="3" y="6"/>
                    </a:lnTo>
                    <a:lnTo>
                      <a:pt x="4" y="6"/>
                    </a:lnTo>
                    <a:lnTo>
                      <a:pt x="4" y="5"/>
                    </a:lnTo>
                    <a:lnTo>
                      <a:pt x="5" y="6"/>
                    </a:lnTo>
                    <a:lnTo>
                      <a:pt x="10" y="7"/>
                    </a:lnTo>
                    <a:lnTo>
                      <a:pt x="12" y="5"/>
                    </a:lnTo>
                    <a:lnTo>
                      <a:pt x="15" y="9"/>
                    </a:lnTo>
                    <a:lnTo>
                      <a:pt x="16" y="7"/>
                    </a:lnTo>
                    <a:lnTo>
                      <a:pt x="17" y="9"/>
                    </a:lnTo>
                    <a:lnTo>
                      <a:pt x="19" y="8"/>
                    </a:lnTo>
                    <a:lnTo>
                      <a:pt x="17" y="8"/>
                    </a:lnTo>
                    <a:lnTo>
                      <a:pt x="19" y="7"/>
                    </a:lnTo>
                    <a:lnTo>
                      <a:pt x="19" y="7"/>
                    </a:lnTo>
                    <a:lnTo>
                      <a:pt x="20" y="5"/>
                    </a:lnTo>
                    <a:lnTo>
                      <a:pt x="20" y="5"/>
                    </a:lnTo>
                    <a:lnTo>
                      <a:pt x="20" y="4"/>
                    </a:lnTo>
                    <a:lnTo>
                      <a:pt x="20" y="5"/>
                    </a:lnTo>
                    <a:lnTo>
                      <a:pt x="20" y="6"/>
                    </a:lnTo>
                    <a:lnTo>
                      <a:pt x="25" y="3"/>
                    </a:lnTo>
                    <a:lnTo>
                      <a:pt x="25" y="4"/>
                    </a:lnTo>
                    <a:lnTo>
                      <a:pt x="29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E20074"/>
                  </a:buClr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0" cap="none" spc="0" normalizeH="0" baseline="0" noProof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95" name="Freeform 135"/>
              <p:cNvSpPr>
                <a:spLocks noEditPoints="1"/>
              </p:cNvSpPr>
              <p:nvPr/>
            </p:nvSpPr>
            <p:spPr bwMode="auto">
              <a:xfrm>
                <a:off x="12292014" y="609601"/>
                <a:ext cx="188913" cy="750888"/>
              </a:xfrm>
              <a:custGeom>
                <a:avLst/>
                <a:gdLst>
                  <a:gd name="T0" fmla="*/ 116 w 119"/>
                  <a:gd name="T1" fmla="*/ 5 h 473"/>
                  <a:gd name="T2" fmla="*/ 99 w 119"/>
                  <a:gd name="T3" fmla="*/ 1 h 473"/>
                  <a:gd name="T4" fmla="*/ 113 w 119"/>
                  <a:gd name="T5" fmla="*/ 3 h 473"/>
                  <a:gd name="T6" fmla="*/ 117 w 119"/>
                  <a:gd name="T7" fmla="*/ 7 h 473"/>
                  <a:gd name="T8" fmla="*/ 119 w 119"/>
                  <a:gd name="T9" fmla="*/ 3 h 473"/>
                  <a:gd name="T10" fmla="*/ 119 w 119"/>
                  <a:gd name="T11" fmla="*/ 465 h 473"/>
                  <a:gd name="T12" fmla="*/ 105 w 119"/>
                  <a:gd name="T13" fmla="*/ 466 h 473"/>
                  <a:gd name="T14" fmla="*/ 102 w 119"/>
                  <a:gd name="T15" fmla="*/ 462 h 473"/>
                  <a:gd name="T16" fmla="*/ 92 w 119"/>
                  <a:gd name="T17" fmla="*/ 466 h 473"/>
                  <a:gd name="T18" fmla="*/ 81 w 119"/>
                  <a:gd name="T19" fmla="*/ 465 h 473"/>
                  <a:gd name="T20" fmla="*/ 73 w 119"/>
                  <a:gd name="T21" fmla="*/ 462 h 473"/>
                  <a:gd name="T22" fmla="*/ 69 w 119"/>
                  <a:gd name="T23" fmla="*/ 465 h 473"/>
                  <a:gd name="T24" fmla="*/ 67 w 119"/>
                  <a:gd name="T25" fmla="*/ 467 h 473"/>
                  <a:gd name="T26" fmla="*/ 65 w 119"/>
                  <a:gd name="T27" fmla="*/ 467 h 473"/>
                  <a:gd name="T28" fmla="*/ 56 w 119"/>
                  <a:gd name="T29" fmla="*/ 465 h 473"/>
                  <a:gd name="T30" fmla="*/ 54 w 119"/>
                  <a:gd name="T31" fmla="*/ 465 h 473"/>
                  <a:gd name="T32" fmla="*/ 49 w 119"/>
                  <a:gd name="T33" fmla="*/ 466 h 473"/>
                  <a:gd name="T34" fmla="*/ 38 w 119"/>
                  <a:gd name="T35" fmla="*/ 468 h 473"/>
                  <a:gd name="T36" fmla="*/ 35 w 119"/>
                  <a:gd name="T37" fmla="*/ 470 h 473"/>
                  <a:gd name="T38" fmla="*/ 30 w 119"/>
                  <a:gd name="T39" fmla="*/ 470 h 473"/>
                  <a:gd name="T40" fmla="*/ 24 w 119"/>
                  <a:gd name="T41" fmla="*/ 467 h 473"/>
                  <a:gd name="T42" fmla="*/ 21 w 119"/>
                  <a:gd name="T43" fmla="*/ 466 h 473"/>
                  <a:gd name="T44" fmla="*/ 16 w 119"/>
                  <a:gd name="T45" fmla="*/ 463 h 473"/>
                  <a:gd name="T46" fmla="*/ 13 w 119"/>
                  <a:gd name="T47" fmla="*/ 466 h 473"/>
                  <a:gd name="T48" fmla="*/ 8 w 119"/>
                  <a:gd name="T49" fmla="*/ 465 h 473"/>
                  <a:gd name="T50" fmla="*/ 6 w 119"/>
                  <a:gd name="T51" fmla="*/ 461 h 473"/>
                  <a:gd name="T52" fmla="*/ 4 w 119"/>
                  <a:gd name="T53" fmla="*/ 465 h 473"/>
                  <a:gd name="T54" fmla="*/ 3 w 119"/>
                  <a:gd name="T55" fmla="*/ 15 h 473"/>
                  <a:gd name="T56" fmla="*/ 7 w 119"/>
                  <a:gd name="T57" fmla="*/ 15 h 473"/>
                  <a:gd name="T58" fmla="*/ 10 w 119"/>
                  <a:gd name="T59" fmla="*/ 14 h 473"/>
                  <a:gd name="T60" fmla="*/ 13 w 119"/>
                  <a:gd name="T61" fmla="*/ 14 h 473"/>
                  <a:gd name="T62" fmla="*/ 16 w 119"/>
                  <a:gd name="T63" fmla="*/ 15 h 473"/>
                  <a:gd name="T64" fmla="*/ 24 w 119"/>
                  <a:gd name="T65" fmla="*/ 15 h 473"/>
                  <a:gd name="T66" fmla="*/ 28 w 119"/>
                  <a:gd name="T67" fmla="*/ 16 h 473"/>
                  <a:gd name="T68" fmla="*/ 32 w 119"/>
                  <a:gd name="T69" fmla="*/ 16 h 473"/>
                  <a:gd name="T70" fmla="*/ 37 w 119"/>
                  <a:gd name="T71" fmla="*/ 18 h 473"/>
                  <a:gd name="T72" fmla="*/ 38 w 119"/>
                  <a:gd name="T73" fmla="*/ 18 h 473"/>
                  <a:gd name="T74" fmla="*/ 46 w 119"/>
                  <a:gd name="T75" fmla="*/ 20 h 473"/>
                  <a:gd name="T76" fmla="*/ 54 w 119"/>
                  <a:gd name="T77" fmla="*/ 8 h 473"/>
                  <a:gd name="T78" fmla="*/ 61 w 119"/>
                  <a:gd name="T79" fmla="*/ 9 h 473"/>
                  <a:gd name="T80" fmla="*/ 63 w 119"/>
                  <a:gd name="T81" fmla="*/ 9 h 473"/>
                  <a:gd name="T82" fmla="*/ 64 w 119"/>
                  <a:gd name="T83" fmla="*/ 9 h 473"/>
                  <a:gd name="T84" fmla="*/ 72 w 119"/>
                  <a:gd name="T85" fmla="*/ 5 h 473"/>
                  <a:gd name="T86" fmla="*/ 78 w 119"/>
                  <a:gd name="T87" fmla="*/ 5 h 473"/>
                  <a:gd name="T88" fmla="*/ 86 w 119"/>
                  <a:gd name="T89" fmla="*/ 6 h 473"/>
                  <a:gd name="T90" fmla="*/ 89 w 119"/>
                  <a:gd name="T91" fmla="*/ 2 h 473"/>
                  <a:gd name="T92" fmla="*/ 91 w 119"/>
                  <a:gd name="T93" fmla="*/ 6 h 473"/>
                  <a:gd name="T94" fmla="*/ 97 w 119"/>
                  <a:gd name="T95" fmla="*/ 3 h 473"/>
                  <a:gd name="T96" fmla="*/ 102 w 119"/>
                  <a:gd name="T97" fmla="*/ 9 h 473"/>
                  <a:gd name="T98" fmla="*/ 102 w 119"/>
                  <a:gd name="T99" fmla="*/ 3 h 473"/>
                  <a:gd name="T100" fmla="*/ 107 w 119"/>
                  <a:gd name="T101" fmla="*/ 3 h 4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19" h="473">
                    <a:moveTo>
                      <a:pt x="116" y="5"/>
                    </a:moveTo>
                    <a:lnTo>
                      <a:pt x="117" y="5"/>
                    </a:lnTo>
                    <a:lnTo>
                      <a:pt x="117" y="5"/>
                    </a:lnTo>
                    <a:lnTo>
                      <a:pt x="116" y="5"/>
                    </a:lnTo>
                    <a:close/>
                    <a:moveTo>
                      <a:pt x="99" y="1"/>
                    </a:moveTo>
                    <a:lnTo>
                      <a:pt x="97" y="3"/>
                    </a:lnTo>
                    <a:lnTo>
                      <a:pt x="97" y="2"/>
                    </a:lnTo>
                    <a:lnTo>
                      <a:pt x="99" y="1"/>
                    </a:lnTo>
                    <a:close/>
                    <a:moveTo>
                      <a:pt x="109" y="0"/>
                    </a:moveTo>
                    <a:lnTo>
                      <a:pt x="111" y="1"/>
                    </a:lnTo>
                    <a:lnTo>
                      <a:pt x="113" y="5"/>
                    </a:lnTo>
                    <a:lnTo>
                      <a:pt x="113" y="3"/>
                    </a:lnTo>
                    <a:lnTo>
                      <a:pt x="114" y="6"/>
                    </a:lnTo>
                    <a:lnTo>
                      <a:pt x="115" y="2"/>
                    </a:lnTo>
                    <a:lnTo>
                      <a:pt x="116" y="7"/>
                    </a:lnTo>
                    <a:lnTo>
                      <a:pt x="117" y="7"/>
                    </a:lnTo>
                    <a:lnTo>
                      <a:pt x="117" y="5"/>
                    </a:lnTo>
                    <a:lnTo>
                      <a:pt x="119" y="5"/>
                    </a:lnTo>
                    <a:lnTo>
                      <a:pt x="119" y="3"/>
                    </a:lnTo>
                    <a:lnTo>
                      <a:pt x="119" y="3"/>
                    </a:lnTo>
                    <a:lnTo>
                      <a:pt x="119" y="463"/>
                    </a:lnTo>
                    <a:lnTo>
                      <a:pt x="119" y="463"/>
                    </a:lnTo>
                    <a:lnTo>
                      <a:pt x="119" y="465"/>
                    </a:lnTo>
                    <a:lnTo>
                      <a:pt x="119" y="465"/>
                    </a:lnTo>
                    <a:lnTo>
                      <a:pt x="109" y="466"/>
                    </a:lnTo>
                    <a:lnTo>
                      <a:pt x="106" y="465"/>
                    </a:lnTo>
                    <a:lnTo>
                      <a:pt x="104" y="463"/>
                    </a:lnTo>
                    <a:lnTo>
                      <a:pt x="105" y="466"/>
                    </a:lnTo>
                    <a:lnTo>
                      <a:pt x="104" y="465"/>
                    </a:lnTo>
                    <a:lnTo>
                      <a:pt x="104" y="463"/>
                    </a:lnTo>
                    <a:lnTo>
                      <a:pt x="103" y="465"/>
                    </a:lnTo>
                    <a:lnTo>
                      <a:pt x="102" y="462"/>
                    </a:lnTo>
                    <a:lnTo>
                      <a:pt x="100" y="466"/>
                    </a:lnTo>
                    <a:lnTo>
                      <a:pt x="98" y="463"/>
                    </a:lnTo>
                    <a:lnTo>
                      <a:pt x="98" y="467"/>
                    </a:lnTo>
                    <a:lnTo>
                      <a:pt x="92" y="466"/>
                    </a:lnTo>
                    <a:lnTo>
                      <a:pt x="94" y="469"/>
                    </a:lnTo>
                    <a:lnTo>
                      <a:pt x="88" y="468"/>
                    </a:lnTo>
                    <a:lnTo>
                      <a:pt x="82" y="468"/>
                    </a:lnTo>
                    <a:lnTo>
                      <a:pt x="81" y="465"/>
                    </a:lnTo>
                    <a:lnTo>
                      <a:pt x="78" y="462"/>
                    </a:lnTo>
                    <a:lnTo>
                      <a:pt x="75" y="461"/>
                    </a:lnTo>
                    <a:lnTo>
                      <a:pt x="74" y="465"/>
                    </a:lnTo>
                    <a:lnTo>
                      <a:pt x="73" y="462"/>
                    </a:lnTo>
                    <a:lnTo>
                      <a:pt x="69" y="465"/>
                    </a:lnTo>
                    <a:lnTo>
                      <a:pt x="69" y="463"/>
                    </a:lnTo>
                    <a:lnTo>
                      <a:pt x="69" y="465"/>
                    </a:lnTo>
                    <a:lnTo>
                      <a:pt x="69" y="465"/>
                    </a:lnTo>
                    <a:lnTo>
                      <a:pt x="70" y="466"/>
                    </a:lnTo>
                    <a:lnTo>
                      <a:pt x="69" y="466"/>
                    </a:lnTo>
                    <a:lnTo>
                      <a:pt x="69" y="467"/>
                    </a:lnTo>
                    <a:lnTo>
                      <a:pt x="67" y="467"/>
                    </a:lnTo>
                    <a:lnTo>
                      <a:pt x="67" y="465"/>
                    </a:lnTo>
                    <a:lnTo>
                      <a:pt x="66" y="463"/>
                    </a:lnTo>
                    <a:lnTo>
                      <a:pt x="66" y="466"/>
                    </a:lnTo>
                    <a:lnTo>
                      <a:pt x="65" y="467"/>
                    </a:lnTo>
                    <a:lnTo>
                      <a:pt x="63" y="465"/>
                    </a:lnTo>
                    <a:lnTo>
                      <a:pt x="57" y="463"/>
                    </a:lnTo>
                    <a:lnTo>
                      <a:pt x="58" y="465"/>
                    </a:lnTo>
                    <a:lnTo>
                      <a:pt x="56" y="465"/>
                    </a:lnTo>
                    <a:lnTo>
                      <a:pt x="56" y="467"/>
                    </a:lnTo>
                    <a:lnTo>
                      <a:pt x="55" y="465"/>
                    </a:lnTo>
                    <a:lnTo>
                      <a:pt x="55" y="467"/>
                    </a:lnTo>
                    <a:lnTo>
                      <a:pt x="54" y="465"/>
                    </a:lnTo>
                    <a:lnTo>
                      <a:pt x="53" y="466"/>
                    </a:lnTo>
                    <a:lnTo>
                      <a:pt x="53" y="465"/>
                    </a:lnTo>
                    <a:lnTo>
                      <a:pt x="52" y="466"/>
                    </a:lnTo>
                    <a:lnTo>
                      <a:pt x="49" y="466"/>
                    </a:lnTo>
                    <a:lnTo>
                      <a:pt x="48" y="467"/>
                    </a:lnTo>
                    <a:lnTo>
                      <a:pt x="45" y="473"/>
                    </a:lnTo>
                    <a:lnTo>
                      <a:pt x="39" y="471"/>
                    </a:lnTo>
                    <a:lnTo>
                      <a:pt x="38" y="468"/>
                    </a:lnTo>
                    <a:lnTo>
                      <a:pt x="38" y="468"/>
                    </a:lnTo>
                    <a:lnTo>
                      <a:pt x="37" y="469"/>
                    </a:lnTo>
                    <a:lnTo>
                      <a:pt x="37" y="473"/>
                    </a:lnTo>
                    <a:lnTo>
                      <a:pt x="35" y="470"/>
                    </a:lnTo>
                    <a:lnTo>
                      <a:pt x="35" y="473"/>
                    </a:lnTo>
                    <a:lnTo>
                      <a:pt x="31" y="469"/>
                    </a:lnTo>
                    <a:lnTo>
                      <a:pt x="31" y="471"/>
                    </a:lnTo>
                    <a:lnTo>
                      <a:pt x="30" y="470"/>
                    </a:lnTo>
                    <a:lnTo>
                      <a:pt x="30" y="471"/>
                    </a:lnTo>
                    <a:lnTo>
                      <a:pt x="27" y="470"/>
                    </a:lnTo>
                    <a:lnTo>
                      <a:pt x="28" y="473"/>
                    </a:lnTo>
                    <a:lnTo>
                      <a:pt x="24" y="467"/>
                    </a:lnTo>
                    <a:lnTo>
                      <a:pt x="22" y="468"/>
                    </a:lnTo>
                    <a:lnTo>
                      <a:pt x="23" y="465"/>
                    </a:lnTo>
                    <a:lnTo>
                      <a:pt x="22" y="465"/>
                    </a:lnTo>
                    <a:lnTo>
                      <a:pt x="21" y="466"/>
                    </a:lnTo>
                    <a:lnTo>
                      <a:pt x="20" y="465"/>
                    </a:lnTo>
                    <a:lnTo>
                      <a:pt x="19" y="466"/>
                    </a:lnTo>
                    <a:lnTo>
                      <a:pt x="17" y="466"/>
                    </a:lnTo>
                    <a:lnTo>
                      <a:pt x="16" y="463"/>
                    </a:lnTo>
                    <a:lnTo>
                      <a:pt x="17" y="467"/>
                    </a:lnTo>
                    <a:lnTo>
                      <a:pt x="15" y="463"/>
                    </a:lnTo>
                    <a:lnTo>
                      <a:pt x="14" y="463"/>
                    </a:lnTo>
                    <a:lnTo>
                      <a:pt x="13" y="466"/>
                    </a:lnTo>
                    <a:lnTo>
                      <a:pt x="12" y="465"/>
                    </a:lnTo>
                    <a:lnTo>
                      <a:pt x="12" y="467"/>
                    </a:lnTo>
                    <a:lnTo>
                      <a:pt x="8" y="466"/>
                    </a:lnTo>
                    <a:lnTo>
                      <a:pt x="8" y="465"/>
                    </a:lnTo>
                    <a:lnTo>
                      <a:pt x="7" y="463"/>
                    </a:lnTo>
                    <a:lnTo>
                      <a:pt x="5" y="465"/>
                    </a:lnTo>
                    <a:lnTo>
                      <a:pt x="6" y="465"/>
                    </a:lnTo>
                    <a:lnTo>
                      <a:pt x="6" y="461"/>
                    </a:lnTo>
                    <a:lnTo>
                      <a:pt x="5" y="465"/>
                    </a:lnTo>
                    <a:lnTo>
                      <a:pt x="3" y="459"/>
                    </a:lnTo>
                    <a:lnTo>
                      <a:pt x="2" y="460"/>
                    </a:lnTo>
                    <a:lnTo>
                      <a:pt x="4" y="465"/>
                    </a:lnTo>
                    <a:lnTo>
                      <a:pt x="0" y="460"/>
                    </a:lnTo>
                    <a:lnTo>
                      <a:pt x="0" y="14"/>
                    </a:lnTo>
                    <a:lnTo>
                      <a:pt x="2" y="14"/>
                    </a:lnTo>
                    <a:lnTo>
                      <a:pt x="3" y="15"/>
                    </a:lnTo>
                    <a:lnTo>
                      <a:pt x="5" y="15"/>
                    </a:lnTo>
                    <a:lnTo>
                      <a:pt x="5" y="11"/>
                    </a:lnTo>
                    <a:lnTo>
                      <a:pt x="6" y="15"/>
                    </a:lnTo>
                    <a:lnTo>
                      <a:pt x="7" y="15"/>
                    </a:lnTo>
                    <a:lnTo>
                      <a:pt x="6" y="13"/>
                    </a:lnTo>
                    <a:lnTo>
                      <a:pt x="6" y="10"/>
                    </a:lnTo>
                    <a:lnTo>
                      <a:pt x="8" y="14"/>
                    </a:lnTo>
                    <a:lnTo>
                      <a:pt x="10" y="14"/>
                    </a:lnTo>
                    <a:lnTo>
                      <a:pt x="10" y="15"/>
                    </a:lnTo>
                    <a:lnTo>
                      <a:pt x="11" y="17"/>
                    </a:lnTo>
                    <a:lnTo>
                      <a:pt x="13" y="17"/>
                    </a:lnTo>
                    <a:lnTo>
                      <a:pt x="13" y="14"/>
                    </a:lnTo>
                    <a:lnTo>
                      <a:pt x="15" y="15"/>
                    </a:lnTo>
                    <a:lnTo>
                      <a:pt x="15" y="11"/>
                    </a:lnTo>
                    <a:lnTo>
                      <a:pt x="15" y="14"/>
                    </a:lnTo>
                    <a:lnTo>
                      <a:pt x="16" y="15"/>
                    </a:lnTo>
                    <a:lnTo>
                      <a:pt x="21" y="11"/>
                    </a:lnTo>
                    <a:lnTo>
                      <a:pt x="23" y="16"/>
                    </a:lnTo>
                    <a:lnTo>
                      <a:pt x="24" y="13"/>
                    </a:lnTo>
                    <a:lnTo>
                      <a:pt x="24" y="15"/>
                    </a:lnTo>
                    <a:lnTo>
                      <a:pt x="25" y="16"/>
                    </a:lnTo>
                    <a:lnTo>
                      <a:pt x="27" y="14"/>
                    </a:lnTo>
                    <a:lnTo>
                      <a:pt x="29" y="13"/>
                    </a:lnTo>
                    <a:lnTo>
                      <a:pt x="28" y="16"/>
                    </a:lnTo>
                    <a:lnTo>
                      <a:pt x="29" y="14"/>
                    </a:lnTo>
                    <a:lnTo>
                      <a:pt x="30" y="16"/>
                    </a:lnTo>
                    <a:lnTo>
                      <a:pt x="30" y="15"/>
                    </a:lnTo>
                    <a:lnTo>
                      <a:pt x="32" y="16"/>
                    </a:lnTo>
                    <a:lnTo>
                      <a:pt x="30" y="16"/>
                    </a:lnTo>
                    <a:lnTo>
                      <a:pt x="33" y="18"/>
                    </a:lnTo>
                    <a:lnTo>
                      <a:pt x="32" y="17"/>
                    </a:lnTo>
                    <a:lnTo>
                      <a:pt x="37" y="18"/>
                    </a:lnTo>
                    <a:lnTo>
                      <a:pt x="38" y="22"/>
                    </a:lnTo>
                    <a:lnTo>
                      <a:pt x="38" y="19"/>
                    </a:lnTo>
                    <a:lnTo>
                      <a:pt x="38" y="19"/>
                    </a:lnTo>
                    <a:lnTo>
                      <a:pt x="38" y="18"/>
                    </a:lnTo>
                    <a:lnTo>
                      <a:pt x="39" y="20"/>
                    </a:lnTo>
                    <a:lnTo>
                      <a:pt x="40" y="19"/>
                    </a:lnTo>
                    <a:lnTo>
                      <a:pt x="45" y="22"/>
                    </a:lnTo>
                    <a:lnTo>
                      <a:pt x="46" y="20"/>
                    </a:lnTo>
                    <a:lnTo>
                      <a:pt x="47" y="19"/>
                    </a:lnTo>
                    <a:lnTo>
                      <a:pt x="48" y="17"/>
                    </a:lnTo>
                    <a:lnTo>
                      <a:pt x="54" y="7"/>
                    </a:lnTo>
                    <a:lnTo>
                      <a:pt x="54" y="8"/>
                    </a:lnTo>
                    <a:lnTo>
                      <a:pt x="54" y="10"/>
                    </a:lnTo>
                    <a:lnTo>
                      <a:pt x="55" y="7"/>
                    </a:lnTo>
                    <a:lnTo>
                      <a:pt x="58" y="11"/>
                    </a:lnTo>
                    <a:lnTo>
                      <a:pt x="61" y="9"/>
                    </a:lnTo>
                    <a:lnTo>
                      <a:pt x="61" y="10"/>
                    </a:lnTo>
                    <a:lnTo>
                      <a:pt x="62" y="9"/>
                    </a:lnTo>
                    <a:lnTo>
                      <a:pt x="62" y="11"/>
                    </a:lnTo>
                    <a:lnTo>
                      <a:pt x="63" y="9"/>
                    </a:lnTo>
                    <a:lnTo>
                      <a:pt x="62" y="9"/>
                    </a:lnTo>
                    <a:lnTo>
                      <a:pt x="63" y="7"/>
                    </a:lnTo>
                    <a:lnTo>
                      <a:pt x="64" y="10"/>
                    </a:lnTo>
                    <a:lnTo>
                      <a:pt x="64" y="9"/>
                    </a:lnTo>
                    <a:lnTo>
                      <a:pt x="65" y="10"/>
                    </a:lnTo>
                    <a:lnTo>
                      <a:pt x="67" y="8"/>
                    </a:lnTo>
                    <a:lnTo>
                      <a:pt x="73" y="6"/>
                    </a:lnTo>
                    <a:lnTo>
                      <a:pt x="72" y="5"/>
                    </a:lnTo>
                    <a:lnTo>
                      <a:pt x="74" y="3"/>
                    </a:lnTo>
                    <a:lnTo>
                      <a:pt x="75" y="8"/>
                    </a:lnTo>
                    <a:lnTo>
                      <a:pt x="78" y="2"/>
                    </a:lnTo>
                    <a:lnTo>
                      <a:pt x="78" y="5"/>
                    </a:lnTo>
                    <a:lnTo>
                      <a:pt x="79" y="3"/>
                    </a:lnTo>
                    <a:lnTo>
                      <a:pt x="81" y="1"/>
                    </a:lnTo>
                    <a:lnTo>
                      <a:pt x="82" y="5"/>
                    </a:lnTo>
                    <a:lnTo>
                      <a:pt x="86" y="6"/>
                    </a:lnTo>
                    <a:lnTo>
                      <a:pt x="87" y="5"/>
                    </a:lnTo>
                    <a:lnTo>
                      <a:pt x="88" y="7"/>
                    </a:lnTo>
                    <a:lnTo>
                      <a:pt x="89" y="7"/>
                    </a:lnTo>
                    <a:lnTo>
                      <a:pt x="89" y="2"/>
                    </a:lnTo>
                    <a:lnTo>
                      <a:pt x="90" y="6"/>
                    </a:lnTo>
                    <a:lnTo>
                      <a:pt x="91" y="2"/>
                    </a:lnTo>
                    <a:lnTo>
                      <a:pt x="92" y="3"/>
                    </a:lnTo>
                    <a:lnTo>
                      <a:pt x="91" y="6"/>
                    </a:lnTo>
                    <a:lnTo>
                      <a:pt x="94" y="5"/>
                    </a:lnTo>
                    <a:lnTo>
                      <a:pt x="94" y="2"/>
                    </a:lnTo>
                    <a:lnTo>
                      <a:pt x="95" y="5"/>
                    </a:lnTo>
                    <a:lnTo>
                      <a:pt x="97" y="3"/>
                    </a:lnTo>
                    <a:lnTo>
                      <a:pt x="97" y="5"/>
                    </a:lnTo>
                    <a:lnTo>
                      <a:pt x="98" y="6"/>
                    </a:lnTo>
                    <a:lnTo>
                      <a:pt x="99" y="3"/>
                    </a:lnTo>
                    <a:lnTo>
                      <a:pt x="102" y="9"/>
                    </a:lnTo>
                    <a:lnTo>
                      <a:pt x="102" y="8"/>
                    </a:lnTo>
                    <a:lnTo>
                      <a:pt x="99" y="5"/>
                    </a:lnTo>
                    <a:lnTo>
                      <a:pt x="103" y="5"/>
                    </a:lnTo>
                    <a:lnTo>
                      <a:pt x="102" y="3"/>
                    </a:lnTo>
                    <a:lnTo>
                      <a:pt x="105" y="7"/>
                    </a:lnTo>
                    <a:lnTo>
                      <a:pt x="105" y="6"/>
                    </a:lnTo>
                    <a:lnTo>
                      <a:pt x="106" y="7"/>
                    </a:lnTo>
                    <a:lnTo>
                      <a:pt x="107" y="3"/>
                    </a:lnTo>
                    <a:lnTo>
                      <a:pt x="111" y="3"/>
                    </a:lnTo>
                    <a:lnTo>
                      <a:pt x="111" y="3"/>
                    </a:lnTo>
                    <a:lnTo>
                      <a:pt x="109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E20074"/>
                  </a:buClr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0" cap="none" spc="0" normalizeH="0" baseline="0" noProof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96" name="Freeform 136"/>
              <p:cNvSpPr>
                <a:spLocks noEditPoints="1"/>
              </p:cNvSpPr>
              <p:nvPr/>
            </p:nvSpPr>
            <p:spPr bwMode="auto">
              <a:xfrm>
                <a:off x="12480926" y="593726"/>
                <a:ext cx="187325" cy="790575"/>
              </a:xfrm>
              <a:custGeom>
                <a:avLst/>
                <a:gdLst>
                  <a:gd name="T0" fmla="*/ 0 w 118"/>
                  <a:gd name="T1" fmla="*/ 475 h 498"/>
                  <a:gd name="T2" fmla="*/ 68 w 118"/>
                  <a:gd name="T3" fmla="*/ 8 h 498"/>
                  <a:gd name="T4" fmla="*/ 109 w 118"/>
                  <a:gd name="T5" fmla="*/ 4 h 498"/>
                  <a:gd name="T6" fmla="*/ 113 w 118"/>
                  <a:gd name="T7" fmla="*/ 1 h 498"/>
                  <a:gd name="T8" fmla="*/ 117 w 118"/>
                  <a:gd name="T9" fmla="*/ 2 h 498"/>
                  <a:gd name="T10" fmla="*/ 118 w 118"/>
                  <a:gd name="T11" fmla="*/ 497 h 498"/>
                  <a:gd name="T12" fmla="*/ 112 w 118"/>
                  <a:gd name="T13" fmla="*/ 495 h 498"/>
                  <a:gd name="T14" fmla="*/ 109 w 118"/>
                  <a:gd name="T15" fmla="*/ 496 h 498"/>
                  <a:gd name="T16" fmla="*/ 103 w 118"/>
                  <a:gd name="T17" fmla="*/ 487 h 498"/>
                  <a:gd name="T18" fmla="*/ 98 w 118"/>
                  <a:gd name="T19" fmla="*/ 485 h 498"/>
                  <a:gd name="T20" fmla="*/ 96 w 118"/>
                  <a:gd name="T21" fmla="*/ 487 h 498"/>
                  <a:gd name="T22" fmla="*/ 92 w 118"/>
                  <a:gd name="T23" fmla="*/ 484 h 498"/>
                  <a:gd name="T24" fmla="*/ 86 w 118"/>
                  <a:gd name="T25" fmla="*/ 484 h 498"/>
                  <a:gd name="T26" fmla="*/ 81 w 118"/>
                  <a:gd name="T27" fmla="*/ 481 h 498"/>
                  <a:gd name="T28" fmla="*/ 79 w 118"/>
                  <a:gd name="T29" fmla="*/ 483 h 498"/>
                  <a:gd name="T30" fmla="*/ 73 w 118"/>
                  <a:gd name="T31" fmla="*/ 483 h 498"/>
                  <a:gd name="T32" fmla="*/ 57 w 118"/>
                  <a:gd name="T33" fmla="*/ 475 h 498"/>
                  <a:gd name="T34" fmla="*/ 53 w 118"/>
                  <a:gd name="T35" fmla="*/ 473 h 498"/>
                  <a:gd name="T36" fmla="*/ 51 w 118"/>
                  <a:gd name="T37" fmla="*/ 471 h 498"/>
                  <a:gd name="T38" fmla="*/ 46 w 118"/>
                  <a:gd name="T39" fmla="*/ 472 h 498"/>
                  <a:gd name="T40" fmla="*/ 42 w 118"/>
                  <a:gd name="T41" fmla="*/ 468 h 498"/>
                  <a:gd name="T42" fmla="*/ 38 w 118"/>
                  <a:gd name="T43" fmla="*/ 470 h 498"/>
                  <a:gd name="T44" fmla="*/ 31 w 118"/>
                  <a:gd name="T45" fmla="*/ 472 h 498"/>
                  <a:gd name="T46" fmla="*/ 23 w 118"/>
                  <a:gd name="T47" fmla="*/ 476 h 498"/>
                  <a:gd name="T48" fmla="*/ 18 w 118"/>
                  <a:gd name="T49" fmla="*/ 472 h 498"/>
                  <a:gd name="T50" fmla="*/ 11 w 118"/>
                  <a:gd name="T51" fmla="*/ 473 h 498"/>
                  <a:gd name="T52" fmla="*/ 1 w 118"/>
                  <a:gd name="T53" fmla="*/ 473 h 498"/>
                  <a:gd name="T54" fmla="*/ 3 w 118"/>
                  <a:gd name="T55" fmla="*/ 12 h 498"/>
                  <a:gd name="T56" fmla="*/ 10 w 118"/>
                  <a:gd name="T57" fmla="*/ 7 h 498"/>
                  <a:gd name="T58" fmla="*/ 18 w 118"/>
                  <a:gd name="T59" fmla="*/ 16 h 498"/>
                  <a:gd name="T60" fmla="*/ 19 w 118"/>
                  <a:gd name="T61" fmla="*/ 16 h 498"/>
                  <a:gd name="T62" fmla="*/ 25 w 118"/>
                  <a:gd name="T63" fmla="*/ 17 h 498"/>
                  <a:gd name="T64" fmla="*/ 30 w 118"/>
                  <a:gd name="T65" fmla="*/ 13 h 498"/>
                  <a:gd name="T66" fmla="*/ 35 w 118"/>
                  <a:gd name="T67" fmla="*/ 10 h 498"/>
                  <a:gd name="T68" fmla="*/ 39 w 118"/>
                  <a:gd name="T69" fmla="*/ 12 h 498"/>
                  <a:gd name="T70" fmla="*/ 45 w 118"/>
                  <a:gd name="T71" fmla="*/ 13 h 498"/>
                  <a:gd name="T72" fmla="*/ 51 w 118"/>
                  <a:gd name="T73" fmla="*/ 8 h 498"/>
                  <a:gd name="T74" fmla="*/ 55 w 118"/>
                  <a:gd name="T75" fmla="*/ 13 h 498"/>
                  <a:gd name="T76" fmla="*/ 60 w 118"/>
                  <a:gd name="T77" fmla="*/ 9 h 498"/>
                  <a:gd name="T78" fmla="*/ 68 w 118"/>
                  <a:gd name="T79" fmla="*/ 9 h 498"/>
                  <a:gd name="T80" fmla="*/ 72 w 118"/>
                  <a:gd name="T81" fmla="*/ 12 h 498"/>
                  <a:gd name="T82" fmla="*/ 80 w 118"/>
                  <a:gd name="T83" fmla="*/ 16 h 498"/>
                  <a:gd name="T84" fmla="*/ 86 w 118"/>
                  <a:gd name="T85" fmla="*/ 12 h 498"/>
                  <a:gd name="T86" fmla="*/ 90 w 118"/>
                  <a:gd name="T87" fmla="*/ 13 h 498"/>
                  <a:gd name="T88" fmla="*/ 94 w 118"/>
                  <a:gd name="T89" fmla="*/ 9 h 498"/>
                  <a:gd name="T90" fmla="*/ 100 w 118"/>
                  <a:gd name="T91" fmla="*/ 11 h 498"/>
                  <a:gd name="T92" fmla="*/ 107 w 118"/>
                  <a:gd name="T93" fmla="*/ 7 h 498"/>
                  <a:gd name="T94" fmla="*/ 109 w 118"/>
                  <a:gd name="T95" fmla="*/ 0 h 4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18" h="498">
                    <a:moveTo>
                      <a:pt x="0" y="475"/>
                    </a:moveTo>
                    <a:lnTo>
                      <a:pt x="0" y="475"/>
                    </a:lnTo>
                    <a:lnTo>
                      <a:pt x="0" y="475"/>
                    </a:lnTo>
                    <a:lnTo>
                      <a:pt x="0" y="475"/>
                    </a:lnTo>
                    <a:close/>
                    <a:moveTo>
                      <a:pt x="68" y="8"/>
                    </a:moveTo>
                    <a:lnTo>
                      <a:pt x="68" y="10"/>
                    </a:lnTo>
                    <a:lnTo>
                      <a:pt x="68" y="9"/>
                    </a:lnTo>
                    <a:lnTo>
                      <a:pt x="68" y="8"/>
                    </a:lnTo>
                    <a:close/>
                    <a:moveTo>
                      <a:pt x="109" y="0"/>
                    </a:moveTo>
                    <a:lnTo>
                      <a:pt x="109" y="0"/>
                    </a:lnTo>
                    <a:lnTo>
                      <a:pt x="109" y="2"/>
                    </a:lnTo>
                    <a:lnTo>
                      <a:pt x="109" y="4"/>
                    </a:lnTo>
                    <a:lnTo>
                      <a:pt x="110" y="2"/>
                    </a:lnTo>
                    <a:lnTo>
                      <a:pt x="111" y="2"/>
                    </a:lnTo>
                    <a:lnTo>
                      <a:pt x="112" y="2"/>
                    </a:lnTo>
                    <a:lnTo>
                      <a:pt x="113" y="1"/>
                    </a:lnTo>
                    <a:lnTo>
                      <a:pt x="114" y="1"/>
                    </a:lnTo>
                    <a:lnTo>
                      <a:pt x="115" y="4"/>
                    </a:lnTo>
                    <a:lnTo>
                      <a:pt x="115" y="2"/>
                    </a:lnTo>
                    <a:lnTo>
                      <a:pt x="117" y="2"/>
                    </a:lnTo>
                    <a:lnTo>
                      <a:pt x="117" y="0"/>
                    </a:lnTo>
                    <a:lnTo>
                      <a:pt x="118" y="2"/>
                    </a:lnTo>
                    <a:lnTo>
                      <a:pt x="118" y="496"/>
                    </a:lnTo>
                    <a:lnTo>
                      <a:pt x="118" y="497"/>
                    </a:lnTo>
                    <a:lnTo>
                      <a:pt x="118" y="498"/>
                    </a:lnTo>
                    <a:lnTo>
                      <a:pt x="114" y="495"/>
                    </a:lnTo>
                    <a:lnTo>
                      <a:pt x="113" y="493"/>
                    </a:lnTo>
                    <a:lnTo>
                      <a:pt x="112" y="495"/>
                    </a:lnTo>
                    <a:lnTo>
                      <a:pt x="111" y="492"/>
                    </a:lnTo>
                    <a:lnTo>
                      <a:pt x="110" y="494"/>
                    </a:lnTo>
                    <a:lnTo>
                      <a:pt x="109" y="492"/>
                    </a:lnTo>
                    <a:lnTo>
                      <a:pt x="109" y="496"/>
                    </a:lnTo>
                    <a:lnTo>
                      <a:pt x="107" y="490"/>
                    </a:lnTo>
                    <a:lnTo>
                      <a:pt x="106" y="492"/>
                    </a:lnTo>
                    <a:lnTo>
                      <a:pt x="105" y="488"/>
                    </a:lnTo>
                    <a:lnTo>
                      <a:pt x="103" y="487"/>
                    </a:lnTo>
                    <a:lnTo>
                      <a:pt x="104" y="492"/>
                    </a:lnTo>
                    <a:lnTo>
                      <a:pt x="102" y="489"/>
                    </a:lnTo>
                    <a:lnTo>
                      <a:pt x="103" y="490"/>
                    </a:lnTo>
                    <a:lnTo>
                      <a:pt x="98" y="485"/>
                    </a:lnTo>
                    <a:lnTo>
                      <a:pt x="98" y="488"/>
                    </a:lnTo>
                    <a:lnTo>
                      <a:pt x="97" y="492"/>
                    </a:lnTo>
                    <a:lnTo>
                      <a:pt x="96" y="483"/>
                    </a:lnTo>
                    <a:lnTo>
                      <a:pt x="96" y="487"/>
                    </a:lnTo>
                    <a:lnTo>
                      <a:pt x="95" y="484"/>
                    </a:lnTo>
                    <a:lnTo>
                      <a:pt x="94" y="485"/>
                    </a:lnTo>
                    <a:lnTo>
                      <a:pt x="93" y="483"/>
                    </a:lnTo>
                    <a:lnTo>
                      <a:pt x="92" y="484"/>
                    </a:lnTo>
                    <a:lnTo>
                      <a:pt x="93" y="486"/>
                    </a:lnTo>
                    <a:lnTo>
                      <a:pt x="89" y="483"/>
                    </a:lnTo>
                    <a:lnTo>
                      <a:pt x="88" y="483"/>
                    </a:lnTo>
                    <a:lnTo>
                      <a:pt x="86" y="484"/>
                    </a:lnTo>
                    <a:lnTo>
                      <a:pt x="87" y="485"/>
                    </a:lnTo>
                    <a:lnTo>
                      <a:pt x="85" y="485"/>
                    </a:lnTo>
                    <a:lnTo>
                      <a:pt x="85" y="483"/>
                    </a:lnTo>
                    <a:lnTo>
                      <a:pt x="81" y="481"/>
                    </a:lnTo>
                    <a:lnTo>
                      <a:pt x="80" y="484"/>
                    </a:lnTo>
                    <a:lnTo>
                      <a:pt x="80" y="481"/>
                    </a:lnTo>
                    <a:lnTo>
                      <a:pt x="79" y="485"/>
                    </a:lnTo>
                    <a:lnTo>
                      <a:pt x="79" y="483"/>
                    </a:lnTo>
                    <a:lnTo>
                      <a:pt x="78" y="481"/>
                    </a:lnTo>
                    <a:lnTo>
                      <a:pt x="77" y="483"/>
                    </a:lnTo>
                    <a:lnTo>
                      <a:pt x="75" y="481"/>
                    </a:lnTo>
                    <a:lnTo>
                      <a:pt x="73" y="483"/>
                    </a:lnTo>
                    <a:lnTo>
                      <a:pt x="70" y="483"/>
                    </a:lnTo>
                    <a:lnTo>
                      <a:pt x="65" y="476"/>
                    </a:lnTo>
                    <a:lnTo>
                      <a:pt x="64" y="477"/>
                    </a:lnTo>
                    <a:lnTo>
                      <a:pt x="57" y="475"/>
                    </a:lnTo>
                    <a:lnTo>
                      <a:pt x="56" y="477"/>
                    </a:lnTo>
                    <a:lnTo>
                      <a:pt x="54" y="477"/>
                    </a:lnTo>
                    <a:lnTo>
                      <a:pt x="52" y="473"/>
                    </a:lnTo>
                    <a:lnTo>
                      <a:pt x="53" y="473"/>
                    </a:lnTo>
                    <a:lnTo>
                      <a:pt x="53" y="472"/>
                    </a:lnTo>
                    <a:lnTo>
                      <a:pt x="51" y="475"/>
                    </a:lnTo>
                    <a:lnTo>
                      <a:pt x="51" y="472"/>
                    </a:lnTo>
                    <a:lnTo>
                      <a:pt x="51" y="471"/>
                    </a:lnTo>
                    <a:lnTo>
                      <a:pt x="48" y="469"/>
                    </a:lnTo>
                    <a:lnTo>
                      <a:pt x="47" y="477"/>
                    </a:lnTo>
                    <a:lnTo>
                      <a:pt x="47" y="471"/>
                    </a:lnTo>
                    <a:lnTo>
                      <a:pt x="46" y="472"/>
                    </a:lnTo>
                    <a:lnTo>
                      <a:pt x="44" y="469"/>
                    </a:lnTo>
                    <a:lnTo>
                      <a:pt x="43" y="470"/>
                    </a:lnTo>
                    <a:lnTo>
                      <a:pt x="43" y="468"/>
                    </a:lnTo>
                    <a:lnTo>
                      <a:pt x="42" y="468"/>
                    </a:lnTo>
                    <a:lnTo>
                      <a:pt x="42" y="470"/>
                    </a:lnTo>
                    <a:lnTo>
                      <a:pt x="40" y="472"/>
                    </a:lnTo>
                    <a:lnTo>
                      <a:pt x="39" y="470"/>
                    </a:lnTo>
                    <a:lnTo>
                      <a:pt x="38" y="470"/>
                    </a:lnTo>
                    <a:lnTo>
                      <a:pt x="39" y="473"/>
                    </a:lnTo>
                    <a:lnTo>
                      <a:pt x="34" y="469"/>
                    </a:lnTo>
                    <a:lnTo>
                      <a:pt x="34" y="468"/>
                    </a:lnTo>
                    <a:lnTo>
                      <a:pt x="31" y="472"/>
                    </a:lnTo>
                    <a:lnTo>
                      <a:pt x="30" y="470"/>
                    </a:lnTo>
                    <a:lnTo>
                      <a:pt x="29" y="475"/>
                    </a:lnTo>
                    <a:lnTo>
                      <a:pt x="27" y="476"/>
                    </a:lnTo>
                    <a:lnTo>
                      <a:pt x="23" y="476"/>
                    </a:lnTo>
                    <a:lnTo>
                      <a:pt x="20" y="472"/>
                    </a:lnTo>
                    <a:lnTo>
                      <a:pt x="20" y="469"/>
                    </a:lnTo>
                    <a:lnTo>
                      <a:pt x="20" y="471"/>
                    </a:lnTo>
                    <a:lnTo>
                      <a:pt x="18" y="472"/>
                    </a:lnTo>
                    <a:lnTo>
                      <a:pt x="17" y="471"/>
                    </a:lnTo>
                    <a:lnTo>
                      <a:pt x="17" y="472"/>
                    </a:lnTo>
                    <a:lnTo>
                      <a:pt x="14" y="475"/>
                    </a:lnTo>
                    <a:lnTo>
                      <a:pt x="11" y="473"/>
                    </a:lnTo>
                    <a:lnTo>
                      <a:pt x="11" y="475"/>
                    </a:lnTo>
                    <a:lnTo>
                      <a:pt x="11" y="472"/>
                    </a:lnTo>
                    <a:lnTo>
                      <a:pt x="3" y="473"/>
                    </a:lnTo>
                    <a:lnTo>
                      <a:pt x="1" y="473"/>
                    </a:lnTo>
                    <a:lnTo>
                      <a:pt x="2" y="475"/>
                    </a:lnTo>
                    <a:lnTo>
                      <a:pt x="0" y="473"/>
                    </a:lnTo>
                    <a:lnTo>
                      <a:pt x="0" y="13"/>
                    </a:lnTo>
                    <a:lnTo>
                      <a:pt x="3" y="12"/>
                    </a:lnTo>
                    <a:lnTo>
                      <a:pt x="3" y="11"/>
                    </a:lnTo>
                    <a:lnTo>
                      <a:pt x="8" y="9"/>
                    </a:lnTo>
                    <a:lnTo>
                      <a:pt x="9" y="10"/>
                    </a:lnTo>
                    <a:lnTo>
                      <a:pt x="10" y="7"/>
                    </a:lnTo>
                    <a:lnTo>
                      <a:pt x="11" y="10"/>
                    </a:lnTo>
                    <a:lnTo>
                      <a:pt x="12" y="9"/>
                    </a:lnTo>
                    <a:lnTo>
                      <a:pt x="15" y="12"/>
                    </a:lnTo>
                    <a:lnTo>
                      <a:pt x="18" y="16"/>
                    </a:lnTo>
                    <a:lnTo>
                      <a:pt x="17" y="12"/>
                    </a:lnTo>
                    <a:lnTo>
                      <a:pt x="18" y="13"/>
                    </a:lnTo>
                    <a:lnTo>
                      <a:pt x="20" y="13"/>
                    </a:lnTo>
                    <a:lnTo>
                      <a:pt x="19" y="16"/>
                    </a:lnTo>
                    <a:lnTo>
                      <a:pt x="20" y="13"/>
                    </a:lnTo>
                    <a:lnTo>
                      <a:pt x="21" y="16"/>
                    </a:lnTo>
                    <a:lnTo>
                      <a:pt x="22" y="13"/>
                    </a:lnTo>
                    <a:lnTo>
                      <a:pt x="25" y="17"/>
                    </a:lnTo>
                    <a:lnTo>
                      <a:pt x="28" y="17"/>
                    </a:lnTo>
                    <a:lnTo>
                      <a:pt x="28" y="15"/>
                    </a:lnTo>
                    <a:lnTo>
                      <a:pt x="29" y="12"/>
                    </a:lnTo>
                    <a:lnTo>
                      <a:pt x="30" y="13"/>
                    </a:lnTo>
                    <a:lnTo>
                      <a:pt x="31" y="11"/>
                    </a:lnTo>
                    <a:lnTo>
                      <a:pt x="32" y="12"/>
                    </a:lnTo>
                    <a:lnTo>
                      <a:pt x="35" y="12"/>
                    </a:lnTo>
                    <a:lnTo>
                      <a:pt x="35" y="10"/>
                    </a:lnTo>
                    <a:lnTo>
                      <a:pt x="34" y="9"/>
                    </a:lnTo>
                    <a:lnTo>
                      <a:pt x="38" y="13"/>
                    </a:lnTo>
                    <a:lnTo>
                      <a:pt x="38" y="10"/>
                    </a:lnTo>
                    <a:lnTo>
                      <a:pt x="39" y="12"/>
                    </a:lnTo>
                    <a:lnTo>
                      <a:pt x="40" y="11"/>
                    </a:lnTo>
                    <a:lnTo>
                      <a:pt x="43" y="13"/>
                    </a:lnTo>
                    <a:lnTo>
                      <a:pt x="44" y="11"/>
                    </a:lnTo>
                    <a:lnTo>
                      <a:pt x="45" y="13"/>
                    </a:lnTo>
                    <a:lnTo>
                      <a:pt x="47" y="9"/>
                    </a:lnTo>
                    <a:lnTo>
                      <a:pt x="48" y="11"/>
                    </a:lnTo>
                    <a:lnTo>
                      <a:pt x="48" y="8"/>
                    </a:lnTo>
                    <a:lnTo>
                      <a:pt x="51" y="8"/>
                    </a:lnTo>
                    <a:lnTo>
                      <a:pt x="52" y="11"/>
                    </a:lnTo>
                    <a:lnTo>
                      <a:pt x="54" y="11"/>
                    </a:lnTo>
                    <a:lnTo>
                      <a:pt x="54" y="12"/>
                    </a:lnTo>
                    <a:lnTo>
                      <a:pt x="55" y="13"/>
                    </a:lnTo>
                    <a:lnTo>
                      <a:pt x="57" y="10"/>
                    </a:lnTo>
                    <a:lnTo>
                      <a:pt x="57" y="11"/>
                    </a:lnTo>
                    <a:lnTo>
                      <a:pt x="60" y="12"/>
                    </a:lnTo>
                    <a:lnTo>
                      <a:pt x="60" y="9"/>
                    </a:lnTo>
                    <a:lnTo>
                      <a:pt x="61" y="9"/>
                    </a:lnTo>
                    <a:lnTo>
                      <a:pt x="63" y="11"/>
                    </a:lnTo>
                    <a:lnTo>
                      <a:pt x="64" y="8"/>
                    </a:lnTo>
                    <a:lnTo>
                      <a:pt x="68" y="9"/>
                    </a:lnTo>
                    <a:lnTo>
                      <a:pt x="68" y="10"/>
                    </a:lnTo>
                    <a:lnTo>
                      <a:pt x="71" y="12"/>
                    </a:lnTo>
                    <a:lnTo>
                      <a:pt x="71" y="13"/>
                    </a:lnTo>
                    <a:lnTo>
                      <a:pt x="72" y="12"/>
                    </a:lnTo>
                    <a:lnTo>
                      <a:pt x="76" y="15"/>
                    </a:lnTo>
                    <a:lnTo>
                      <a:pt x="76" y="13"/>
                    </a:lnTo>
                    <a:lnTo>
                      <a:pt x="78" y="13"/>
                    </a:lnTo>
                    <a:lnTo>
                      <a:pt x="80" y="16"/>
                    </a:lnTo>
                    <a:lnTo>
                      <a:pt x="82" y="11"/>
                    </a:lnTo>
                    <a:lnTo>
                      <a:pt x="82" y="15"/>
                    </a:lnTo>
                    <a:lnTo>
                      <a:pt x="85" y="15"/>
                    </a:lnTo>
                    <a:lnTo>
                      <a:pt x="86" y="12"/>
                    </a:lnTo>
                    <a:lnTo>
                      <a:pt x="87" y="15"/>
                    </a:lnTo>
                    <a:lnTo>
                      <a:pt x="87" y="13"/>
                    </a:lnTo>
                    <a:lnTo>
                      <a:pt x="90" y="11"/>
                    </a:lnTo>
                    <a:lnTo>
                      <a:pt x="90" y="13"/>
                    </a:lnTo>
                    <a:lnTo>
                      <a:pt x="92" y="13"/>
                    </a:lnTo>
                    <a:lnTo>
                      <a:pt x="93" y="11"/>
                    </a:lnTo>
                    <a:lnTo>
                      <a:pt x="94" y="12"/>
                    </a:lnTo>
                    <a:lnTo>
                      <a:pt x="94" y="9"/>
                    </a:lnTo>
                    <a:lnTo>
                      <a:pt x="97" y="10"/>
                    </a:lnTo>
                    <a:lnTo>
                      <a:pt x="98" y="9"/>
                    </a:lnTo>
                    <a:lnTo>
                      <a:pt x="98" y="9"/>
                    </a:lnTo>
                    <a:lnTo>
                      <a:pt x="100" y="11"/>
                    </a:lnTo>
                    <a:lnTo>
                      <a:pt x="100" y="9"/>
                    </a:lnTo>
                    <a:lnTo>
                      <a:pt x="102" y="7"/>
                    </a:lnTo>
                    <a:lnTo>
                      <a:pt x="103" y="8"/>
                    </a:lnTo>
                    <a:lnTo>
                      <a:pt x="107" y="7"/>
                    </a:lnTo>
                    <a:lnTo>
                      <a:pt x="109" y="4"/>
                    </a:lnTo>
                    <a:lnTo>
                      <a:pt x="109" y="2"/>
                    </a:lnTo>
                    <a:lnTo>
                      <a:pt x="109" y="1"/>
                    </a:lnTo>
                    <a:lnTo>
                      <a:pt x="109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E20074"/>
                  </a:buClr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0" cap="none" spc="0" normalizeH="0" baseline="0" noProof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97" name="Freeform 137"/>
              <p:cNvSpPr>
                <a:spLocks noEditPoints="1"/>
              </p:cNvSpPr>
              <p:nvPr/>
            </p:nvSpPr>
            <p:spPr bwMode="auto">
              <a:xfrm>
                <a:off x="12668251" y="592139"/>
                <a:ext cx="187325" cy="804863"/>
              </a:xfrm>
              <a:custGeom>
                <a:avLst/>
                <a:gdLst>
                  <a:gd name="T0" fmla="*/ 71 w 118"/>
                  <a:gd name="T1" fmla="*/ 2 h 507"/>
                  <a:gd name="T2" fmla="*/ 116 w 118"/>
                  <a:gd name="T3" fmla="*/ 502 h 507"/>
                  <a:gd name="T4" fmla="*/ 112 w 118"/>
                  <a:gd name="T5" fmla="*/ 503 h 507"/>
                  <a:gd name="T6" fmla="*/ 109 w 118"/>
                  <a:gd name="T7" fmla="*/ 503 h 507"/>
                  <a:gd name="T8" fmla="*/ 106 w 118"/>
                  <a:gd name="T9" fmla="*/ 506 h 507"/>
                  <a:gd name="T10" fmla="*/ 101 w 118"/>
                  <a:gd name="T11" fmla="*/ 507 h 507"/>
                  <a:gd name="T12" fmla="*/ 95 w 118"/>
                  <a:gd name="T13" fmla="*/ 504 h 507"/>
                  <a:gd name="T14" fmla="*/ 93 w 118"/>
                  <a:gd name="T15" fmla="*/ 503 h 507"/>
                  <a:gd name="T16" fmla="*/ 85 w 118"/>
                  <a:gd name="T17" fmla="*/ 498 h 507"/>
                  <a:gd name="T18" fmla="*/ 79 w 118"/>
                  <a:gd name="T19" fmla="*/ 503 h 507"/>
                  <a:gd name="T20" fmla="*/ 70 w 118"/>
                  <a:gd name="T21" fmla="*/ 499 h 507"/>
                  <a:gd name="T22" fmla="*/ 67 w 118"/>
                  <a:gd name="T23" fmla="*/ 499 h 507"/>
                  <a:gd name="T24" fmla="*/ 64 w 118"/>
                  <a:gd name="T25" fmla="*/ 498 h 507"/>
                  <a:gd name="T26" fmla="*/ 60 w 118"/>
                  <a:gd name="T27" fmla="*/ 502 h 507"/>
                  <a:gd name="T28" fmla="*/ 54 w 118"/>
                  <a:gd name="T29" fmla="*/ 498 h 507"/>
                  <a:gd name="T30" fmla="*/ 52 w 118"/>
                  <a:gd name="T31" fmla="*/ 499 h 507"/>
                  <a:gd name="T32" fmla="*/ 47 w 118"/>
                  <a:gd name="T33" fmla="*/ 499 h 507"/>
                  <a:gd name="T34" fmla="*/ 42 w 118"/>
                  <a:gd name="T35" fmla="*/ 497 h 507"/>
                  <a:gd name="T36" fmla="*/ 38 w 118"/>
                  <a:gd name="T37" fmla="*/ 495 h 507"/>
                  <a:gd name="T38" fmla="*/ 38 w 118"/>
                  <a:gd name="T39" fmla="*/ 499 h 507"/>
                  <a:gd name="T40" fmla="*/ 37 w 118"/>
                  <a:gd name="T41" fmla="*/ 495 h 507"/>
                  <a:gd name="T42" fmla="*/ 30 w 118"/>
                  <a:gd name="T43" fmla="*/ 486 h 507"/>
                  <a:gd name="T44" fmla="*/ 28 w 118"/>
                  <a:gd name="T45" fmla="*/ 488 h 507"/>
                  <a:gd name="T46" fmla="*/ 25 w 118"/>
                  <a:gd name="T47" fmla="*/ 489 h 507"/>
                  <a:gd name="T48" fmla="*/ 20 w 118"/>
                  <a:gd name="T49" fmla="*/ 485 h 507"/>
                  <a:gd name="T50" fmla="*/ 18 w 118"/>
                  <a:gd name="T51" fmla="*/ 491 h 507"/>
                  <a:gd name="T52" fmla="*/ 16 w 118"/>
                  <a:gd name="T53" fmla="*/ 495 h 507"/>
                  <a:gd name="T54" fmla="*/ 11 w 118"/>
                  <a:gd name="T55" fmla="*/ 496 h 507"/>
                  <a:gd name="T56" fmla="*/ 4 w 118"/>
                  <a:gd name="T57" fmla="*/ 497 h 507"/>
                  <a:gd name="T58" fmla="*/ 0 w 118"/>
                  <a:gd name="T59" fmla="*/ 3 h 507"/>
                  <a:gd name="T60" fmla="*/ 5 w 118"/>
                  <a:gd name="T61" fmla="*/ 9 h 507"/>
                  <a:gd name="T62" fmla="*/ 11 w 118"/>
                  <a:gd name="T63" fmla="*/ 8 h 507"/>
                  <a:gd name="T64" fmla="*/ 14 w 118"/>
                  <a:gd name="T65" fmla="*/ 8 h 507"/>
                  <a:gd name="T66" fmla="*/ 19 w 118"/>
                  <a:gd name="T67" fmla="*/ 9 h 507"/>
                  <a:gd name="T68" fmla="*/ 24 w 118"/>
                  <a:gd name="T69" fmla="*/ 8 h 507"/>
                  <a:gd name="T70" fmla="*/ 31 w 118"/>
                  <a:gd name="T71" fmla="*/ 10 h 507"/>
                  <a:gd name="T72" fmla="*/ 34 w 118"/>
                  <a:gd name="T73" fmla="*/ 8 h 507"/>
                  <a:gd name="T74" fmla="*/ 41 w 118"/>
                  <a:gd name="T75" fmla="*/ 5 h 507"/>
                  <a:gd name="T76" fmla="*/ 45 w 118"/>
                  <a:gd name="T77" fmla="*/ 6 h 507"/>
                  <a:gd name="T78" fmla="*/ 47 w 118"/>
                  <a:gd name="T79" fmla="*/ 3 h 507"/>
                  <a:gd name="T80" fmla="*/ 52 w 118"/>
                  <a:gd name="T81" fmla="*/ 2 h 507"/>
                  <a:gd name="T82" fmla="*/ 54 w 118"/>
                  <a:gd name="T83" fmla="*/ 2 h 507"/>
                  <a:gd name="T84" fmla="*/ 61 w 118"/>
                  <a:gd name="T85" fmla="*/ 1 h 507"/>
                  <a:gd name="T86" fmla="*/ 62 w 118"/>
                  <a:gd name="T87" fmla="*/ 0 h 507"/>
                  <a:gd name="T88" fmla="*/ 69 w 118"/>
                  <a:gd name="T89" fmla="*/ 1 h 507"/>
                  <a:gd name="T90" fmla="*/ 71 w 118"/>
                  <a:gd name="T91" fmla="*/ 5 h 507"/>
                  <a:gd name="T92" fmla="*/ 77 w 118"/>
                  <a:gd name="T93" fmla="*/ 8 h 507"/>
                  <a:gd name="T94" fmla="*/ 77 w 118"/>
                  <a:gd name="T95" fmla="*/ 6 h 507"/>
                  <a:gd name="T96" fmla="*/ 78 w 118"/>
                  <a:gd name="T97" fmla="*/ 10 h 507"/>
                  <a:gd name="T98" fmla="*/ 84 w 118"/>
                  <a:gd name="T99" fmla="*/ 8 h 507"/>
                  <a:gd name="T100" fmla="*/ 97 w 118"/>
                  <a:gd name="T101" fmla="*/ 8 h 507"/>
                  <a:gd name="T102" fmla="*/ 102 w 118"/>
                  <a:gd name="T103" fmla="*/ 4 h 507"/>
                  <a:gd name="T104" fmla="*/ 108 w 118"/>
                  <a:gd name="T105" fmla="*/ 3 h 507"/>
                  <a:gd name="T106" fmla="*/ 111 w 118"/>
                  <a:gd name="T107" fmla="*/ 2 h 507"/>
                  <a:gd name="T108" fmla="*/ 117 w 118"/>
                  <a:gd name="T109" fmla="*/ 1 h 5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18" h="507">
                    <a:moveTo>
                      <a:pt x="71" y="2"/>
                    </a:moveTo>
                    <a:lnTo>
                      <a:pt x="71" y="4"/>
                    </a:lnTo>
                    <a:lnTo>
                      <a:pt x="71" y="4"/>
                    </a:lnTo>
                    <a:lnTo>
                      <a:pt x="71" y="2"/>
                    </a:lnTo>
                    <a:close/>
                    <a:moveTo>
                      <a:pt x="118" y="0"/>
                    </a:moveTo>
                    <a:lnTo>
                      <a:pt x="118" y="499"/>
                    </a:lnTo>
                    <a:lnTo>
                      <a:pt x="117" y="498"/>
                    </a:lnTo>
                    <a:lnTo>
                      <a:pt x="116" y="502"/>
                    </a:lnTo>
                    <a:lnTo>
                      <a:pt x="114" y="501"/>
                    </a:lnTo>
                    <a:lnTo>
                      <a:pt x="114" y="503"/>
                    </a:lnTo>
                    <a:lnTo>
                      <a:pt x="111" y="502"/>
                    </a:lnTo>
                    <a:lnTo>
                      <a:pt x="112" y="503"/>
                    </a:lnTo>
                    <a:lnTo>
                      <a:pt x="110" y="503"/>
                    </a:lnTo>
                    <a:lnTo>
                      <a:pt x="110" y="504"/>
                    </a:lnTo>
                    <a:lnTo>
                      <a:pt x="109" y="506"/>
                    </a:lnTo>
                    <a:lnTo>
                      <a:pt x="109" y="503"/>
                    </a:lnTo>
                    <a:lnTo>
                      <a:pt x="108" y="504"/>
                    </a:lnTo>
                    <a:lnTo>
                      <a:pt x="105" y="504"/>
                    </a:lnTo>
                    <a:lnTo>
                      <a:pt x="108" y="506"/>
                    </a:lnTo>
                    <a:lnTo>
                      <a:pt x="106" y="506"/>
                    </a:lnTo>
                    <a:lnTo>
                      <a:pt x="105" y="505"/>
                    </a:lnTo>
                    <a:lnTo>
                      <a:pt x="104" y="505"/>
                    </a:lnTo>
                    <a:lnTo>
                      <a:pt x="103" y="507"/>
                    </a:lnTo>
                    <a:lnTo>
                      <a:pt x="101" y="507"/>
                    </a:lnTo>
                    <a:lnTo>
                      <a:pt x="95" y="502"/>
                    </a:lnTo>
                    <a:lnTo>
                      <a:pt x="96" y="504"/>
                    </a:lnTo>
                    <a:lnTo>
                      <a:pt x="95" y="503"/>
                    </a:lnTo>
                    <a:lnTo>
                      <a:pt x="95" y="504"/>
                    </a:lnTo>
                    <a:lnTo>
                      <a:pt x="96" y="506"/>
                    </a:lnTo>
                    <a:lnTo>
                      <a:pt x="94" y="506"/>
                    </a:lnTo>
                    <a:lnTo>
                      <a:pt x="94" y="505"/>
                    </a:lnTo>
                    <a:lnTo>
                      <a:pt x="93" y="503"/>
                    </a:lnTo>
                    <a:lnTo>
                      <a:pt x="93" y="505"/>
                    </a:lnTo>
                    <a:lnTo>
                      <a:pt x="86" y="498"/>
                    </a:lnTo>
                    <a:lnTo>
                      <a:pt x="86" y="502"/>
                    </a:lnTo>
                    <a:lnTo>
                      <a:pt x="85" y="498"/>
                    </a:lnTo>
                    <a:lnTo>
                      <a:pt x="84" y="502"/>
                    </a:lnTo>
                    <a:lnTo>
                      <a:pt x="83" y="501"/>
                    </a:lnTo>
                    <a:lnTo>
                      <a:pt x="83" y="504"/>
                    </a:lnTo>
                    <a:lnTo>
                      <a:pt x="79" y="503"/>
                    </a:lnTo>
                    <a:lnTo>
                      <a:pt x="76" y="502"/>
                    </a:lnTo>
                    <a:lnTo>
                      <a:pt x="74" y="506"/>
                    </a:lnTo>
                    <a:lnTo>
                      <a:pt x="69" y="497"/>
                    </a:lnTo>
                    <a:lnTo>
                      <a:pt x="70" y="499"/>
                    </a:lnTo>
                    <a:lnTo>
                      <a:pt x="68" y="498"/>
                    </a:lnTo>
                    <a:lnTo>
                      <a:pt x="67" y="498"/>
                    </a:lnTo>
                    <a:lnTo>
                      <a:pt x="68" y="499"/>
                    </a:lnTo>
                    <a:lnTo>
                      <a:pt x="67" y="499"/>
                    </a:lnTo>
                    <a:lnTo>
                      <a:pt x="67" y="501"/>
                    </a:lnTo>
                    <a:lnTo>
                      <a:pt x="67" y="502"/>
                    </a:lnTo>
                    <a:lnTo>
                      <a:pt x="63" y="502"/>
                    </a:lnTo>
                    <a:lnTo>
                      <a:pt x="64" y="498"/>
                    </a:lnTo>
                    <a:lnTo>
                      <a:pt x="62" y="499"/>
                    </a:lnTo>
                    <a:lnTo>
                      <a:pt x="62" y="503"/>
                    </a:lnTo>
                    <a:lnTo>
                      <a:pt x="59" y="499"/>
                    </a:lnTo>
                    <a:lnTo>
                      <a:pt x="60" y="502"/>
                    </a:lnTo>
                    <a:lnTo>
                      <a:pt x="56" y="497"/>
                    </a:lnTo>
                    <a:lnTo>
                      <a:pt x="56" y="499"/>
                    </a:lnTo>
                    <a:lnTo>
                      <a:pt x="55" y="501"/>
                    </a:lnTo>
                    <a:lnTo>
                      <a:pt x="54" y="498"/>
                    </a:lnTo>
                    <a:lnTo>
                      <a:pt x="56" y="501"/>
                    </a:lnTo>
                    <a:lnTo>
                      <a:pt x="56" y="503"/>
                    </a:lnTo>
                    <a:lnTo>
                      <a:pt x="55" y="502"/>
                    </a:lnTo>
                    <a:lnTo>
                      <a:pt x="52" y="499"/>
                    </a:lnTo>
                    <a:lnTo>
                      <a:pt x="54" y="502"/>
                    </a:lnTo>
                    <a:lnTo>
                      <a:pt x="51" y="501"/>
                    </a:lnTo>
                    <a:lnTo>
                      <a:pt x="52" y="503"/>
                    </a:lnTo>
                    <a:lnTo>
                      <a:pt x="47" y="499"/>
                    </a:lnTo>
                    <a:lnTo>
                      <a:pt x="49" y="501"/>
                    </a:lnTo>
                    <a:lnTo>
                      <a:pt x="47" y="502"/>
                    </a:lnTo>
                    <a:lnTo>
                      <a:pt x="43" y="498"/>
                    </a:lnTo>
                    <a:lnTo>
                      <a:pt x="42" y="497"/>
                    </a:lnTo>
                    <a:lnTo>
                      <a:pt x="43" y="501"/>
                    </a:lnTo>
                    <a:lnTo>
                      <a:pt x="41" y="502"/>
                    </a:lnTo>
                    <a:lnTo>
                      <a:pt x="39" y="498"/>
                    </a:lnTo>
                    <a:lnTo>
                      <a:pt x="38" y="495"/>
                    </a:lnTo>
                    <a:lnTo>
                      <a:pt x="38" y="496"/>
                    </a:lnTo>
                    <a:lnTo>
                      <a:pt x="38" y="497"/>
                    </a:lnTo>
                    <a:lnTo>
                      <a:pt x="38" y="499"/>
                    </a:lnTo>
                    <a:lnTo>
                      <a:pt x="38" y="499"/>
                    </a:lnTo>
                    <a:lnTo>
                      <a:pt x="38" y="501"/>
                    </a:lnTo>
                    <a:lnTo>
                      <a:pt x="38" y="499"/>
                    </a:lnTo>
                    <a:lnTo>
                      <a:pt x="38" y="497"/>
                    </a:lnTo>
                    <a:lnTo>
                      <a:pt x="37" y="495"/>
                    </a:lnTo>
                    <a:lnTo>
                      <a:pt x="34" y="495"/>
                    </a:lnTo>
                    <a:lnTo>
                      <a:pt x="31" y="486"/>
                    </a:lnTo>
                    <a:lnTo>
                      <a:pt x="31" y="487"/>
                    </a:lnTo>
                    <a:lnTo>
                      <a:pt x="30" y="486"/>
                    </a:lnTo>
                    <a:lnTo>
                      <a:pt x="30" y="484"/>
                    </a:lnTo>
                    <a:lnTo>
                      <a:pt x="29" y="484"/>
                    </a:lnTo>
                    <a:lnTo>
                      <a:pt x="28" y="487"/>
                    </a:lnTo>
                    <a:lnTo>
                      <a:pt x="28" y="488"/>
                    </a:lnTo>
                    <a:lnTo>
                      <a:pt x="26" y="486"/>
                    </a:lnTo>
                    <a:lnTo>
                      <a:pt x="26" y="486"/>
                    </a:lnTo>
                    <a:lnTo>
                      <a:pt x="26" y="487"/>
                    </a:lnTo>
                    <a:lnTo>
                      <a:pt x="25" y="489"/>
                    </a:lnTo>
                    <a:lnTo>
                      <a:pt x="24" y="487"/>
                    </a:lnTo>
                    <a:lnTo>
                      <a:pt x="25" y="485"/>
                    </a:lnTo>
                    <a:lnTo>
                      <a:pt x="22" y="485"/>
                    </a:lnTo>
                    <a:lnTo>
                      <a:pt x="20" y="485"/>
                    </a:lnTo>
                    <a:lnTo>
                      <a:pt x="21" y="488"/>
                    </a:lnTo>
                    <a:lnTo>
                      <a:pt x="19" y="488"/>
                    </a:lnTo>
                    <a:lnTo>
                      <a:pt x="19" y="493"/>
                    </a:lnTo>
                    <a:lnTo>
                      <a:pt x="18" y="491"/>
                    </a:lnTo>
                    <a:lnTo>
                      <a:pt x="17" y="493"/>
                    </a:lnTo>
                    <a:lnTo>
                      <a:pt x="17" y="489"/>
                    </a:lnTo>
                    <a:lnTo>
                      <a:pt x="14" y="493"/>
                    </a:lnTo>
                    <a:lnTo>
                      <a:pt x="16" y="495"/>
                    </a:lnTo>
                    <a:lnTo>
                      <a:pt x="12" y="495"/>
                    </a:lnTo>
                    <a:lnTo>
                      <a:pt x="13" y="496"/>
                    </a:lnTo>
                    <a:lnTo>
                      <a:pt x="12" y="495"/>
                    </a:lnTo>
                    <a:lnTo>
                      <a:pt x="11" y="496"/>
                    </a:lnTo>
                    <a:lnTo>
                      <a:pt x="6" y="496"/>
                    </a:lnTo>
                    <a:lnTo>
                      <a:pt x="6" y="497"/>
                    </a:lnTo>
                    <a:lnTo>
                      <a:pt x="5" y="497"/>
                    </a:lnTo>
                    <a:lnTo>
                      <a:pt x="4" y="497"/>
                    </a:lnTo>
                    <a:lnTo>
                      <a:pt x="3" y="499"/>
                    </a:lnTo>
                    <a:lnTo>
                      <a:pt x="2" y="496"/>
                    </a:lnTo>
                    <a:lnTo>
                      <a:pt x="0" y="497"/>
                    </a:lnTo>
                    <a:lnTo>
                      <a:pt x="0" y="3"/>
                    </a:lnTo>
                    <a:lnTo>
                      <a:pt x="2" y="9"/>
                    </a:lnTo>
                    <a:lnTo>
                      <a:pt x="3" y="10"/>
                    </a:lnTo>
                    <a:lnTo>
                      <a:pt x="4" y="11"/>
                    </a:lnTo>
                    <a:lnTo>
                      <a:pt x="5" y="9"/>
                    </a:lnTo>
                    <a:lnTo>
                      <a:pt x="6" y="11"/>
                    </a:lnTo>
                    <a:lnTo>
                      <a:pt x="6" y="9"/>
                    </a:lnTo>
                    <a:lnTo>
                      <a:pt x="9" y="10"/>
                    </a:lnTo>
                    <a:lnTo>
                      <a:pt x="11" y="8"/>
                    </a:lnTo>
                    <a:lnTo>
                      <a:pt x="11" y="10"/>
                    </a:lnTo>
                    <a:lnTo>
                      <a:pt x="12" y="9"/>
                    </a:lnTo>
                    <a:lnTo>
                      <a:pt x="13" y="10"/>
                    </a:lnTo>
                    <a:lnTo>
                      <a:pt x="14" y="8"/>
                    </a:lnTo>
                    <a:lnTo>
                      <a:pt x="14" y="10"/>
                    </a:lnTo>
                    <a:lnTo>
                      <a:pt x="16" y="9"/>
                    </a:lnTo>
                    <a:lnTo>
                      <a:pt x="18" y="10"/>
                    </a:lnTo>
                    <a:lnTo>
                      <a:pt x="19" y="9"/>
                    </a:lnTo>
                    <a:lnTo>
                      <a:pt x="20" y="10"/>
                    </a:lnTo>
                    <a:lnTo>
                      <a:pt x="20" y="9"/>
                    </a:lnTo>
                    <a:lnTo>
                      <a:pt x="21" y="5"/>
                    </a:lnTo>
                    <a:lnTo>
                      <a:pt x="24" y="8"/>
                    </a:lnTo>
                    <a:lnTo>
                      <a:pt x="24" y="4"/>
                    </a:lnTo>
                    <a:lnTo>
                      <a:pt x="26" y="8"/>
                    </a:lnTo>
                    <a:lnTo>
                      <a:pt x="30" y="6"/>
                    </a:lnTo>
                    <a:lnTo>
                      <a:pt x="31" y="10"/>
                    </a:lnTo>
                    <a:lnTo>
                      <a:pt x="34" y="8"/>
                    </a:lnTo>
                    <a:lnTo>
                      <a:pt x="33" y="9"/>
                    </a:lnTo>
                    <a:lnTo>
                      <a:pt x="35" y="9"/>
                    </a:lnTo>
                    <a:lnTo>
                      <a:pt x="34" y="8"/>
                    </a:lnTo>
                    <a:lnTo>
                      <a:pt x="35" y="6"/>
                    </a:lnTo>
                    <a:lnTo>
                      <a:pt x="37" y="8"/>
                    </a:lnTo>
                    <a:lnTo>
                      <a:pt x="39" y="8"/>
                    </a:lnTo>
                    <a:lnTo>
                      <a:pt x="41" y="5"/>
                    </a:lnTo>
                    <a:lnTo>
                      <a:pt x="42" y="8"/>
                    </a:lnTo>
                    <a:lnTo>
                      <a:pt x="44" y="6"/>
                    </a:lnTo>
                    <a:lnTo>
                      <a:pt x="44" y="4"/>
                    </a:lnTo>
                    <a:lnTo>
                      <a:pt x="45" y="6"/>
                    </a:lnTo>
                    <a:lnTo>
                      <a:pt x="46" y="3"/>
                    </a:lnTo>
                    <a:lnTo>
                      <a:pt x="46" y="5"/>
                    </a:lnTo>
                    <a:lnTo>
                      <a:pt x="47" y="4"/>
                    </a:lnTo>
                    <a:lnTo>
                      <a:pt x="47" y="3"/>
                    </a:lnTo>
                    <a:lnTo>
                      <a:pt x="49" y="4"/>
                    </a:lnTo>
                    <a:lnTo>
                      <a:pt x="49" y="2"/>
                    </a:lnTo>
                    <a:lnTo>
                      <a:pt x="50" y="4"/>
                    </a:lnTo>
                    <a:lnTo>
                      <a:pt x="52" y="2"/>
                    </a:lnTo>
                    <a:lnTo>
                      <a:pt x="52" y="2"/>
                    </a:lnTo>
                    <a:lnTo>
                      <a:pt x="53" y="3"/>
                    </a:lnTo>
                    <a:lnTo>
                      <a:pt x="56" y="3"/>
                    </a:lnTo>
                    <a:lnTo>
                      <a:pt x="54" y="2"/>
                    </a:lnTo>
                    <a:lnTo>
                      <a:pt x="59" y="2"/>
                    </a:lnTo>
                    <a:lnTo>
                      <a:pt x="58" y="4"/>
                    </a:lnTo>
                    <a:lnTo>
                      <a:pt x="59" y="5"/>
                    </a:lnTo>
                    <a:lnTo>
                      <a:pt x="61" y="1"/>
                    </a:lnTo>
                    <a:lnTo>
                      <a:pt x="60" y="4"/>
                    </a:lnTo>
                    <a:lnTo>
                      <a:pt x="62" y="2"/>
                    </a:lnTo>
                    <a:lnTo>
                      <a:pt x="61" y="2"/>
                    </a:lnTo>
                    <a:lnTo>
                      <a:pt x="62" y="0"/>
                    </a:lnTo>
                    <a:lnTo>
                      <a:pt x="63" y="3"/>
                    </a:lnTo>
                    <a:lnTo>
                      <a:pt x="64" y="3"/>
                    </a:lnTo>
                    <a:lnTo>
                      <a:pt x="68" y="3"/>
                    </a:lnTo>
                    <a:lnTo>
                      <a:pt x="69" y="1"/>
                    </a:lnTo>
                    <a:lnTo>
                      <a:pt x="70" y="2"/>
                    </a:lnTo>
                    <a:lnTo>
                      <a:pt x="70" y="4"/>
                    </a:lnTo>
                    <a:lnTo>
                      <a:pt x="71" y="4"/>
                    </a:lnTo>
                    <a:lnTo>
                      <a:pt x="71" y="5"/>
                    </a:lnTo>
                    <a:lnTo>
                      <a:pt x="74" y="4"/>
                    </a:lnTo>
                    <a:lnTo>
                      <a:pt x="76" y="10"/>
                    </a:lnTo>
                    <a:lnTo>
                      <a:pt x="76" y="9"/>
                    </a:lnTo>
                    <a:lnTo>
                      <a:pt x="77" y="8"/>
                    </a:lnTo>
                    <a:lnTo>
                      <a:pt x="77" y="6"/>
                    </a:lnTo>
                    <a:lnTo>
                      <a:pt x="77" y="5"/>
                    </a:lnTo>
                    <a:lnTo>
                      <a:pt x="77" y="5"/>
                    </a:lnTo>
                    <a:lnTo>
                      <a:pt x="77" y="6"/>
                    </a:lnTo>
                    <a:lnTo>
                      <a:pt x="77" y="8"/>
                    </a:lnTo>
                    <a:lnTo>
                      <a:pt x="78" y="9"/>
                    </a:lnTo>
                    <a:lnTo>
                      <a:pt x="77" y="9"/>
                    </a:lnTo>
                    <a:lnTo>
                      <a:pt x="78" y="10"/>
                    </a:lnTo>
                    <a:lnTo>
                      <a:pt x="79" y="10"/>
                    </a:lnTo>
                    <a:lnTo>
                      <a:pt x="80" y="9"/>
                    </a:lnTo>
                    <a:lnTo>
                      <a:pt x="81" y="11"/>
                    </a:lnTo>
                    <a:lnTo>
                      <a:pt x="84" y="8"/>
                    </a:lnTo>
                    <a:lnTo>
                      <a:pt x="86" y="9"/>
                    </a:lnTo>
                    <a:lnTo>
                      <a:pt x="96" y="8"/>
                    </a:lnTo>
                    <a:lnTo>
                      <a:pt x="96" y="6"/>
                    </a:lnTo>
                    <a:lnTo>
                      <a:pt x="97" y="8"/>
                    </a:lnTo>
                    <a:lnTo>
                      <a:pt x="101" y="8"/>
                    </a:lnTo>
                    <a:lnTo>
                      <a:pt x="101" y="4"/>
                    </a:lnTo>
                    <a:lnTo>
                      <a:pt x="102" y="6"/>
                    </a:lnTo>
                    <a:lnTo>
                      <a:pt x="102" y="4"/>
                    </a:lnTo>
                    <a:lnTo>
                      <a:pt x="103" y="5"/>
                    </a:lnTo>
                    <a:lnTo>
                      <a:pt x="103" y="4"/>
                    </a:lnTo>
                    <a:lnTo>
                      <a:pt x="108" y="5"/>
                    </a:lnTo>
                    <a:lnTo>
                      <a:pt x="108" y="3"/>
                    </a:lnTo>
                    <a:lnTo>
                      <a:pt x="110" y="3"/>
                    </a:lnTo>
                    <a:lnTo>
                      <a:pt x="109" y="1"/>
                    </a:lnTo>
                    <a:lnTo>
                      <a:pt x="111" y="3"/>
                    </a:lnTo>
                    <a:lnTo>
                      <a:pt x="111" y="2"/>
                    </a:lnTo>
                    <a:lnTo>
                      <a:pt x="111" y="1"/>
                    </a:lnTo>
                    <a:lnTo>
                      <a:pt x="112" y="1"/>
                    </a:lnTo>
                    <a:lnTo>
                      <a:pt x="114" y="3"/>
                    </a:lnTo>
                    <a:lnTo>
                      <a:pt x="117" y="1"/>
                    </a:lnTo>
                    <a:lnTo>
                      <a:pt x="118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E20074"/>
                  </a:buClr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0" cap="none" spc="0" normalizeH="0" baseline="0" noProof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98" name="Freeform 138"/>
              <p:cNvSpPr>
                <a:spLocks noEditPoints="1"/>
              </p:cNvSpPr>
              <p:nvPr/>
            </p:nvSpPr>
            <p:spPr bwMode="auto">
              <a:xfrm>
                <a:off x="12855576" y="560389"/>
                <a:ext cx="187325" cy="849313"/>
              </a:xfrm>
              <a:custGeom>
                <a:avLst/>
                <a:gdLst>
                  <a:gd name="T0" fmla="*/ 45 w 118"/>
                  <a:gd name="T1" fmla="*/ 521 h 535"/>
                  <a:gd name="T2" fmla="*/ 118 w 118"/>
                  <a:gd name="T3" fmla="*/ 517 h 535"/>
                  <a:gd name="T4" fmla="*/ 115 w 118"/>
                  <a:gd name="T5" fmla="*/ 522 h 535"/>
                  <a:gd name="T6" fmla="*/ 110 w 118"/>
                  <a:gd name="T7" fmla="*/ 523 h 535"/>
                  <a:gd name="T8" fmla="*/ 109 w 118"/>
                  <a:gd name="T9" fmla="*/ 535 h 535"/>
                  <a:gd name="T10" fmla="*/ 101 w 118"/>
                  <a:gd name="T11" fmla="*/ 532 h 535"/>
                  <a:gd name="T12" fmla="*/ 95 w 118"/>
                  <a:gd name="T13" fmla="*/ 528 h 535"/>
                  <a:gd name="T14" fmla="*/ 91 w 118"/>
                  <a:gd name="T15" fmla="*/ 526 h 535"/>
                  <a:gd name="T16" fmla="*/ 86 w 118"/>
                  <a:gd name="T17" fmla="*/ 527 h 535"/>
                  <a:gd name="T18" fmla="*/ 86 w 118"/>
                  <a:gd name="T19" fmla="*/ 531 h 535"/>
                  <a:gd name="T20" fmla="*/ 84 w 118"/>
                  <a:gd name="T21" fmla="*/ 528 h 535"/>
                  <a:gd name="T22" fmla="*/ 78 w 118"/>
                  <a:gd name="T23" fmla="*/ 530 h 535"/>
                  <a:gd name="T24" fmla="*/ 75 w 118"/>
                  <a:gd name="T25" fmla="*/ 527 h 535"/>
                  <a:gd name="T26" fmla="*/ 69 w 118"/>
                  <a:gd name="T27" fmla="*/ 526 h 535"/>
                  <a:gd name="T28" fmla="*/ 65 w 118"/>
                  <a:gd name="T29" fmla="*/ 526 h 535"/>
                  <a:gd name="T30" fmla="*/ 59 w 118"/>
                  <a:gd name="T31" fmla="*/ 528 h 535"/>
                  <a:gd name="T32" fmla="*/ 55 w 118"/>
                  <a:gd name="T33" fmla="*/ 523 h 535"/>
                  <a:gd name="T34" fmla="*/ 50 w 118"/>
                  <a:gd name="T35" fmla="*/ 521 h 535"/>
                  <a:gd name="T36" fmla="*/ 48 w 118"/>
                  <a:gd name="T37" fmla="*/ 525 h 535"/>
                  <a:gd name="T38" fmla="*/ 49 w 118"/>
                  <a:gd name="T39" fmla="*/ 522 h 535"/>
                  <a:gd name="T40" fmla="*/ 45 w 118"/>
                  <a:gd name="T41" fmla="*/ 521 h 535"/>
                  <a:gd name="T42" fmla="*/ 41 w 118"/>
                  <a:gd name="T43" fmla="*/ 519 h 535"/>
                  <a:gd name="T44" fmla="*/ 35 w 118"/>
                  <a:gd name="T45" fmla="*/ 521 h 535"/>
                  <a:gd name="T46" fmla="*/ 32 w 118"/>
                  <a:gd name="T47" fmla="*/ 519 h 535"/>
                  <a:gd name="T48" fmla="*/ 29 w 118"/>
                  <a:gd name="T49" fmla="*/ 523 h 535"/>
                  <a:gd name="T50" fmla="*/ 26 w 118"/>
                  <a:gd name="T51" fmla="*/ 523 h 535"/>
                  <a:gd name="T52" fmla="*/ 25 w 118"/>
                  <a:gd name="T53" fmla="*/ 522 h 535"/>
                  <a:gd name="T54" fmla="*/ 23 w 118"/>
                  <a:gd name="T55" fmla="*/ 526 h 535"/>
                  <a:gd name="T56" fmla="*/ 15 w 118"/>
                  <a:gd name="T57" fmla="*/ 523 h 535"/>
                  <a:gd name="T58" fmla="*/ 11 w 118"/>
                  <a:gd name="T59" fmla="*/ 523 h 535"/>
                  <a:gd name="T60" fmla="*/ 5 w 118"/>
                  <a:gd name="T61" fmla="*/ 521 h 535"/>
                  <a:gd name="T62" fmla="*/ 2 w 118"/>
                  <a:gd name="T63" fmla="*/ 517 h 535"/>
                  <a:gd name="T64" fmla="*/ 0 w 118"/>
                  <a:gd name="T65" fmla="*/ 20 h 535"/>
                  <a:gd name="T66" fmla="*/ 5 w 118"/>
                  <a:gd name="T67" fmla="*/ 19 h 535"/>
                  <a:gd name="T68" fmla="*/ 9 w 118"/>
                  <a:gd name="T69" fmla="*/ 11 h 535"/>
                  <a:gd name="T70" fmla="*/ 11 w 118"/>
                  <a:gd name="T71" fmla="*/ 16 h 535"/>
                  <a:gd name="T72" fmla="*/ 19 w 118"/>
                  <a:gd name="T73" fmla="*/ 12 h 535"/>
                  <a:gd name="T74" fmla="*/ 27 w 118"/>
                  <a:gd name="T75" fmla="*/ 13 h 535"/>
                  <a:gd name="T76" fmla="*/ 30 w 118"/>
                  <a:gd name="T77" fmla="*/ 12 h 535"/>
                  <a:gd name="T78" fmla="*/ 36 w 118"/>
                  <a:gd name="T79" fmla="*/ 14 h 535"/>
                  <a:gd name="T80" fmla="*/ 41 w 118"/>
                  <a:gd name="T81" fmla="*/ 14 h 535"/>
                  <a:gd name="T82" fmla="*/ 46 w 118"/>
                  <a:gd name="T83" fmla="*/ 12 h 535"/>
                  <a:gd name="T84" fmla="*/ 49 w 118"/>
                  <a:gd name="T85" fmla="*/ 14 h 535"/>
                  <a:gd name="T86" fmla="*/ 48 w 118"/>
                  <a:gd name="T87" fmla="*/ 15 h 535"/>
                  <a:gd name="T88" fmla="*/ 51 w 118"/>
                  <a:gd name="T89" fmla="*/ 16 h 535"/>
                  <a:gd name="T90" fmla="*/ 54 w 118"/>
                  <a:gd name="T91" fmla="*/ 16 h 535"/>
                  <a:gd name="T92" fmla="*/ 61 w 118"/>
                  <a:gd name="T93" fmla="*/ 13 h 535"/>
                  <a:gd name="T94" fmla="*/ 66 w 118"/>
                  <a:gd name="T95" fmla="*/ 11 h 535"/>
                  <a:gd name="T96" fmla="*/ 74 w 118"/>
                  <a:gd name="T97" fmla="*/ 13 h 535"/>
                  <a:gd name="T98" fmla="*/ 72 w 118"/>
                  <a:gd name="T99" fmla="*/ 13 h 535"/>
                  <a:gd name="T100" fmla="*/ 90 w 118"/>
                  <a:gd name="T101" fmla="*/ 11 h 535"/>
                  <a:gd name="T102" fmla="*/ 93 w 118"/>
                  <a:gd name="T103" fmla="*/ 13 h 535"/>
                  <a:gd name="T104" fmla="*/ 102 w 118"/>
                  <a:gd name="T105" fmla="*/ 9 h 535"/>
                  <a:gd name="T106" fmla="*/ 107 w 118"/>
                  <a:gd name="T107" fmla="*/ 9 h 535"/>
                  <a:gd name="T108" fmla="*/ 116 w 118"/>
                  <a:gd name="T109" fmla="*/ 0 h 5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18" h="535">
                    <a:moveTo>
                      <a:pt x="45" y="521"/>
                    </a:moveTo>
                    <a:lnTo>
                      <a:pt x="46" y="522"/>
                    </a:lnTo>
                    <a:lnTo>
                      <a:pt x="44" y="521"/>
                    </a:lnTo>
                    <a:lnTo>
                      <a:pt x="45" y="521"/>
                    </a:lnTo>
                    <a:close/>
                    <a:moveTo>
                      <a:pt x="116" y="0"/>
                    </a:moveTo>
                    <a:lnTo>
                      <a:pt x="118" y="1"/>
                    </a:lnTo>
                    <a:lnTo>
                      <a:pt x="118" y="518"/>
                    </a:lnTo>
                    <a:lnTo>
                      <a:pt x="118" y="517"/>
                    </a:lnTo>
                    <a:lnTo>
                      <a:pt x="117" y="518"/>
                    </a:lnTo>
                    <a:lnTo>
                      <a:pt x="116" y="518"/>
                    </a:lnTo>
                    <a:lnTo>
                      <a:pt x="117" y="522"/>
                    </a:lnTo>
                    <a:lnTo>
                      <a:pt x="115" y="522"/>
                    </a:lnTo>
                    <a:lnTo>
                      <a:pt x="115" y="519"/>
                    </a:lnTo>
                    <a:lnTo>
                      <a:pt x="112" y="519"/>
                    </a:lnTo>
                    <a:lnTo>
                      <a:pt x="111" y="522"/>
                    </a:lnTo>
                    <a:lnTo>
                      <a:pt x="110" y="523"/>
                    </a:lnTo>
                    <a:lnTo>
                      <a:pt x="109" y="532"/>
                    </a:lnTo>
                    <a:lnTo>
                      <a:pt x="109" y="531"/>
                    </a:lnTo>
                    <a:lnTo>
                      <a:pt x="109" y="535"/>
                    </a:lnTo>
                    <a:lnTo>
                      <a:pt x="109" y="535"/>
                    </a:lnTo>
                    <a:lnTo>
                      <a:pt x="107" y="531"/>
                    </a:lnTo>
                    <a:lnTo>
                      <a:pt x="102" y="530"/>
                    </a:lnTo>
                    <a:lnTo>
                      <a:pt x="102" y="533"/>
                    </a:lnTo>
                    <a:lnTo>
                      <a:pt x="101" y="532"/>
                    </a:lnTo>
                    <a:lnTo>
                      <a:pt x="100" y="528"/>
                    </a:lnTo>
                    <a:lnTo>
                      <a:pt x="99" y="528"/>
                    </a:lnTo>
                    <a:lnTo>
                      <a:pt x="97" y="530"/>
                    </a:lnTo>
                    <a:lnTo>
                      <a:pt x="95" y="528"/>
                    </a:lnTo>
                    <a:lnTo>
                      <a:pt x="94" y="533"/>
                    </a:lnTo>
                    <a:lnTo>
                      <a:pt x="94" y="528"/>
                    </a:lnTo>
                    <a:lnTo>
                      <a:pt x="92" y="527"/>
                    </a:lnTo>
                    <a:lnTo>
                      <a:pt x="91" y="526"/>
                    </a:lnTo>
                    <a:lnTo>
                      <a:pt x="91" y="528"/>
                    </a:lnTo>
                    <a:lnTo>
                      <a:pt x="91" y="526"/>
                    </a:lnTo>
                    <a:lnTo>
                      <a:pt x="88" y="525"/>
                    </a:lnTo>
                    <a:lnTo>
                      <a:pt x="86" y="527"/>
                    </a:lnTo>
                    <a:lnTo>
                      <a:pt x="86" y="526"/>
                    </a:lnTo>
                    <a:lnTo>
                      <a:pt x="86" y="527"/>
                    </a:lnTo>
                    <a:lnTo>
                      <a:pt x="85" y="526"/>
                    </a:lnTo>
                    <a:lnTo>
                      <a:pt x="86" y="531"/>
                    </a:lnTo>
                    <a:lnTo>
                      <a:pt x="84" y="528"/>
                    </a:lnTo>
                    <a:lnTo>
                      <a:pt x="84" y="528"/>
                    </a:lnTo>
                    <a:lnTo>
                      <a:pt x="83" y="528"/>
                    </a:lnTo>
                    <a:lnTo>
                      <a:pt x="84" y="528"/>
                    </a:lnTo>
                    <a:lnTo>
                      <a:pt x="83" y="532"/>
                    </a:lnTo>
                    <a:lnTo>
                      <a:pt x="79" y="528"/>
                    </a:lnTo>
                    <a:lnTo>
                      <a:pt x="78" y="533"/>
                    </a:lnTo>
                    <a:lnTo>
                      <a:pt x="78" y="530"/>
                    </a:lnTo>
                    <a:lnTo>
                      <a:pt x="76" y="533"/>
                    </a:lnTo>
                    <a:lnTo>
                      <a:pt x="74" y="532"/>
                    </a:lnTo>
                    <a:lnTo>
                      <a:pt x="74" y="532"/>
                    </a:lnTo>
                    <a:lnTo>
                      <a:pt x="75" y="527"/>
                    </a:lnTo>
                    <a:lnTo>
                      <a:pt x="71" y="530"/>
                    </a:lnTo>
                    <a:lnTo>
                      <a:pt x="72" y="527"/>
                    </a:lnTo>
                    <a:lnTo>
                      <a:pt x="71" y="528"/>
                    </a:lnTo>
                    <a:lnTo>
                      <a:pt x="69" y="526"/>
                    </a:lnTo>
                    <a:lnTo>
                      <a:pt x="67" y="524"/>
                    </a:lnTo>
                    <a:lnTo>
                      <a:pt x="67" y="526"/>
                    </a:lnTo>
                    <a:lnTo>
                      <a:pt x="65" y="524"/>
                    </a:lnTo>
                    <a:lnTo>
                      <a:pt x="65" y="526"/>
                    </a:lnTo>
                    <a:lnTo>
                      <a:pt x="62" y="526"/>
                    </a:lnTo>
                    <a:lnTo>
                      <a:pt x="60" y="524"/>
                    </a:lnTo>
                    <a:lnTo>
                      <a:pt x="59" y="527"/>
                    </a:lnTo>
                    <a:lnTo>
                      <a:pt x="59" y="528"/>
                    </a:lnTo>
                    <a:lnTo>
                      <a:pt x="57" y="528"/>
                    </a:lnTo>
                    <a:lnTo>
                      <a:pt x="55" y="524"/>
                    </a:lnTo>
                    <a:lnTo>
                      <a:pt x="55" y="526"/>
                    </a:lnTo>
                    <a:lnTo>
                      <a:pt x="55" y="523"/>
                    </a:lnTo>
                    <a:lnTo>
                      <a:pt x="53" y="527"/>
                    </a:lnTo>
                    <a:lnTo>
                      <a:pt x="53" y="523"/>
                    </a:lnTo>
                    <a:lnTo>
                      <a:pt x="51" y="522"/>
                    </a:lnTo>
                    <a:lnTo>
                      <a:pt x="50" y="521"/>
                    </a:lnTo>
                    <a:lnTo>
                      <a:pt x="49" y="524"/>
                    </a:lnTo>
                    <a:lnTo>
                      <a:pt x="49" y="523"/>
                    </a:lnTo>
                    <a:lnTo>
                      <a:pt x="49" y="524"/>
                    </a:lnTo>
                    <a:lnTo>
                      <a:pt x="48" y="525"/>
                    </a:lnTo>
                    <a:lnTo>
                      <a:pt x="48" y="526"/>
                    </a:lnTo>
                    <a:lnTo>
                      <a:pt x="48" y="525"/>
                    </a:lnTo>
                    <a:lnTo>
                      <a:pt x="48" y="524"/>
                    </a:lnTo>
                    <a:lnTo>
                      <a:pt x="49" y="522"/>
                    </a:lnTo>
                    <a:lnTo>
                      <a:pt x="49" y="521"/>
                    </a:lnTo>
                    <a:lnTo>
                      <a:pt x="49" y="518"/>
                    </a:lnTo>
                    <a:lnTo>
                      <a:pt x="49" y="521"/>
                    </a:lnTo>
                    <a:lnTo>
                      <a:pt x="45" y="521"/>
                    </a:lnTo>
                    <a:lnTo>
                      <a:pt x="43" y="518"/>
                    </a:lnTo>
                    <a:lnTo>
                      <a:pt x="41" y="518"/>
                    </a:lnTo>
                    <a:lnTo>
                      <a:pt x="42" y="522"/>
                    </a:lnTo>
                    <a:lnTo>
                      <a:pt x="41" y="519"/>
                    </a:lnTo>
                    <a:lnTo>
                      <a:pt x="41" y="522"/>
                    </a:lnTo>
                    <a:lnTo>
                      <a:pt x="37" y="519"/>
                    </a:lnTo>
                    <a:lnTo>
                      <a:pt x="37" y="521"/>
                    </a:lnTo>
                    <a:lnTo>
                      <a:pt x="35" y="521"/>
                    </a:lnTo>
                    <a:lnTo>
                      <a:pt x="34" y="517"/>
                    </a:lnTo>
                    <a:lnTo>
                      <a:pt x="33" y="519"/>
                    </a:lnTo>
                    <a:lnTo>
                      <a:pt x="33" y="517"/>
                    </a:lnTo>
                    <a:lnTo>
                      <a:pt x="32" y="519"/>
                    </a:lnTo>
                    <a:lnTo>
                      <a:pt x="30" y="517"/>
                    </a:lnTo>
                    <a:lnTo>
                      <a:pt x="32" y="523"/>
                    </a:lnTo>
                    <a:lnTo>
                      <a:pt x="32" y="525"/>
                    </a:lnTo>
                    <a:lnTo>
                      <a:pt x="29" y="523"/>
                    </a:lnTo>
                    <a:lnTo>
                      <a:pt x="30" y="526"/>
                    </a:lnTo>
                    <a:lnTo>
                      <a:pt x="28" y="523"/>
                    </a:lnTo>
                    <a:lnTo>
                      <a:pt x="28" y="525"/>
                    </a:lnTo>
                    <a:lnTo>
                      <a:pt x="26" y="523"/>
                    </a:lnTo>
                    <a:lnTo>
                      <a:pt x="27" y="526"/>
                    </a:lnTo>
                    <a:lnTo>
                      <a:pt x="28" y="527"/>
                    </a:lnTo>
                    <a:lnTo>
                      <a:pt x="26" y="526"/>
                    </a:lnTo>
                    <a:lnTo>
                      <a:pt x="25" y="522"/>
                    </a:lnTo>
                    <a:lnTo>
                      <a:pt x="26" y="525"/>
                    </a:lnTo>
                    <a:lnTo>
                      <a:pt x="24" y="525"/>
                    </a:lnTo>
                    <a:lnTo>
                      <a:pt x="24" y="528"/>
                    </a:lnTo>
                    <a:lnTo>
                      <a:pt x="23" y="526"/>
                    </a:lnTo>
                    <a:lnTo>
                      <a:pt x="23" y="526"/>
                    </a:lnTo>
                    <a:lnTo>
                      <a:pt x="21" y="530"/>
                    </a:lnTo>
                    <a:lnTo>
                      <a:pt x="16" y="521"/>
                    </a:lnTo>
                    <a:lnTo>
                      <a:pt x="15" y="523"/>
                    </a:lnTo>
                    <a:lnTo>
                      <a:pt x="12" y="522"/>
                    </a:lnTo>
                    <a:lnTo>
                      <a:pt x="12" y="524"/>
                    </a:lnTo>
                    <a:lnTo>
                      <a:pt x="12" y="523"/>
                    </a:lnTo>
                    <a:lnTo>
                      <a:pt x="11" y="523"/>
                    </a:lnTo>
                    <a:lnTo>
                      <a:pt x="12" y="525"/>
                    </a:lnTo>
                    <a:lnTo>
                      <a:pt x="9" y="523"/>
                    </a:lnTo>
                    <a:lnTo>
                      <a:pt x="9" y="526"/>
                    </a:lnTo>
                    <a:lnTo>
                      <a:pt x="5" y="521"/>
                    </a:lnTo>
                    <a:lnTo>
                      <a:pt x="5" y="522"/>
                    </a:lnTo>
                    <a:lnTo>
                      <a:pt x="3" y="517"/>
                    </a:lnTo>
                    <a:lnTo>
                      <a:pt x="2" y="518"/>
                    </a:lnTo>
                    <a:lnTo>
                      <a:pt x="2" y="517"/>
                    </a:lnTo>
                    <a:lnTo>
                      <a:pt x="1" y="515"/>
                    </a:lnTo>
                    <a:lnTo>
                      <a:pt x="0" y="519"/>
                    </a:lnTo>
                    <a:lnTo>
                      <a:pt x="0" y="519"/>
                    </a:lnTo>
                    <a:lnTo>
                      <a:pt x="0" y="20"/>
                    </a:lnTo>
                    <a:lnTo>
                      <a:pt x="1" y="19"/>
                    </a:lnTo>
                    <a:lnTo>
                      <a:pt x="3" y="20"/>
                    </a:lnTo>
                    <a:lnTo>
                      <a:pt x="4" y="17"/>
                    </a:lnTo>
                    <a:lnTo>
                      <a:pt x="5" y="19"/>
                    </a:lnTo>
                    <a:lnTo>
                      <a:pt x="5" y="19"/>
                    </a:lnTo>
                    <a:lnTo>
                      <a:pt x="8" y="17"/>
                    </a:lnTo>
                    <a:lnTo>
                      <a:pt x="7" y="15"/>
                    </a:lnTo>
                    <a:lnTo>
                      <a:pt x="9" y="11"/>
                    </a:lnTo>
                    <a:lnTo>
                      <a:pt x="9" y="15"/>
                    </a:lnTo>
                    <a:lnTo>
                      <a:pt x="13" y="12"/>
                    </a:lnTo>
                    <a:lnTo>
                      <a:pt x="10" y="15"/>
                    </a:lnTo>
                    <a:lnTo>
                      <a:pt x="11" y="16"/>
                    </a:lnTo>
                    <a:lnTo>
                      <a:pt x="11" y="14"/>
                    </a:lnTo>
                    <a:lnTo>
                      <a:pt x="18" y="12"/>
                    </a:lnTo>
                    <a:lnTo>
                      <a:pt x="19" y="13"/>
                    </a:lnTo>
                    <a:lnTo>
                      <a:pt x="19" y="12"/>
                    </a:lnTo>
                    <a:lnTo>
                      <a:pt x="20" y="14"/>
                    </a:lnTo>
                    <a:lnTo>
                      <a:pt x="25" y="11"/>
                    </a:lnTo>
                    <a:lnTo>
                      <a:pt x="27" y="11"/>
                    </a:lnTo>
                    <a:lnTo>
                      <a:pt x="27" y="13"/>
                    </a:lnTo>
                    <a:lnTo>
                      <a:pt x="29" y="12"/>
                    </a:lnTo>
                    <a:lnTo>
                      <a:pt x="28" y="13"/>
                    </a:lnTo>
                    <a:lnTo>
                      <a:pt x="29" y="14"/>
                    </a:lnTo>
                    <a:lnTo>
                      <a:pt x="30" y="12"/>
                    </a:lnTo>
                    <a:lnTo>
                      <a:pt x="34" y="13"/>
                    </a:lnTo>
                    <a:lnTo>
                      <a:pt x="34" y="12"/>
                    </a:lnTo>
                    <a:lnTo>
                      <a:pt x="35" y="12"/>
                    </a:lnTo>
                    <a:lnTo>
                      <a:pt x="36" y="14"/>
                    </a:lnTo>
                    <a:lnTo>
                      <a:pt x="38" y="13"/>
                    </a:lnTo>
                    <a:lnTo>
                      <a:pt x="38" y="15"/>
                    </a:lnTo>
                    <a:lnTo>
                      <a:pt x="40" y="14"/>
                    </a:lnTo>
                    <a:lnTo>
                      <a:pt x="41" y="14"/>
                    </a:lnTo>
                    <a:lnTo>
                      <a:pt x="38" y="13"/>
                    </a:lnTo>
                    <a:lnTo>
                      <a:pt x="43" y="13"/>
                    </a:lnTo>
                    <a:lnTo>
                      <a:pt x="44" y="12"/>
                    </a:lnTo>
                    <a:lnTo>
                      <a:pt x="46" y="12"/>
                    </a:lnTo>
                    <a:lnTo>
                      <a:pt x="46" y="14"/>
                    </a:lnTo>
                    <a:lnTo>
                      <a:pt x="48" y="13"/>
                    </a:lnTo>
                    <a:lnTo>
                      <a:pt x="49" y="12"/>
                    </a:lnTo>
                    <a:lnTo>
                      <a:pt x="49" y="14"/>
                    </a:lnTo>
                    <a:lnTo>
                      <a:pt x="48" y="15"/>
                    </a:lnTo>
                    <a:lnTo>
                      <a:pt x="48" y="14"/>
                    </a:lnTo>
                    <a:lnTo>
                      <a:pt x="48" y="15"/>
                    </a:lnTo>
                    <a:lnTo>
                      <a:pt x="48" y="15"/>
                    </a:lnTo>
                    <a:lnTo>
                      <a:pt x="49" y="15"/>
                    </a:lnTo>
                    <a:lnTo>
                      <a:pt x="49" y="14"/>
                    </a:lnTo>
                    <a:lnTo>
                      <a:pt x="49" y="14"/>
                    </a:lnTo>
                    <a:lnTo>
                      <a:pt x="51" y="16"/>
                    </a:lnTo>
                    <a:lnTo>
                      <a:pt x="52" y="12"/>
                    </a:lnTo>
                    <a:lnTo>
                      <a:pt x="52" y="16"/>
                    </a:lnTo>
                    <a:lnTo>
                      <a:pt x="52" y="16"/>
                    </a:lnTo>
                    <a:lnTo>
                      <a:pt x="54" y="16"/>
                    </a:lnTo>
                    <a:lnTo>
                      <a:pt x="54" y="12"/>
                    </a:lnTo>
                    <a:lnTo>
                      <a:pt x="55" y="15"/>
                    </a:lnTo>
                    <a:lnTo>
                      <a:pt x="59" y="12"/>
                    </a:lnTo>
                    <a:lnTo>
                      <a:pt x="61" y="13"/>
                    </a:lnTo>
                    <a:lnTo>
                      <a:pt x="60" y="11"/>
                    </a:lnTo>
                    <a:lnTo>
                      <a:pt x="63" y="11"/>
                    </a:lnTo>
                    <a:lnTo>
                      <a:pt x="65" y="12"/>
                    </a:lnTo>
                    <a:lnTo>
                      <a:pt x="66" y="11"/>
                    </a:lnTo>
                    <a:lnTo>
                      <a:pt x="70" y="11"/>
                    </a:lnTo>
                    <a:lnTo>
                      <a:pt x="69" y="12"/>
                    </a:lnTo>
                    <a:lnTo>
                      <a:pt x="72" y="15"/>
                    </a:lnTo>
                    <a:lnTo>
                      <a:pt x="74" y="13"/>
                    </a:lnTo>
                    <a:lnTo>
                      <a:pt x="75" y="14"/>
                    </a:lnTo>
                    <a:lnTo>
                      <a:pt x="77" y="14"/>
                    </a:lnTo>
                    <a:lnTo>
                      <a:pt x="77" y="13"/>
                    </a:lnTo>
                    <a:lnTo>
                      <a:pt x="72" y="13"/>
                    </a:lnTo>
                    <a:lnTo>
                      <a:pt x="79" y="12"/>
                    </a:lnTo>
                    <a:lnTo>
                      <a:pt x="86" y="6"/>
                    </a:lnTo>
                    <a:lnTo>
                      <a:pt x="87" y="11"/>
                    </a:lnTo>
                    <a:lnTo>
                      <a:pt x="90" y="11"/>
                    </a:lnTo>
                    <a:lnTo>
                      <a:pt x="90" y="9"/>
                    </a:lnTo>
                    <a:lnTo>
                      <a:pt x="92" y="12"/>
                    </a:lnTo>
                    <a:lnTo>
                      <a:pt x="94" y="8"/>
                    </a:lnTo>
                    <a:lnTo>
                      <a:pt x="93" y="13"/>
                    </a:lnTo>
                    <a:lnTo>
                      <a:pt x="97" y="6"/>
                    </a:lnTo>
                    <a:lnTo>
                      <a:pt x="99" y="7"/>
                    </a:lnTo>
                    <a:lnTo>
                      <a:pt x="103" y="6"/>
                    </a:lnTo>
                    <a:lnTo>
                      <a:pt x="102" y="9"/>
                    </a:lnTo>
                    <a:lnTo>
                      <a:pt x="105" y="8"/>
                    </a:lnTo>
                    <a:lnTo>
                      <a:pt x="104" y="7"/>
                    </a:lnTo>
                    <a:lnTo>
                      <a:pt x="107" y="6"/>
                    </a:lnTo>
                    <a:lnTo>
                      <a:pt x="107" y="9"/>
                    </a:lnTo>
                    <a:lnTo>
                      <a:pt x="109" y="9"/>
                    </a:lnTo>
                    <a:lnTo>
                      <a:pt x="112" y="4"/>
                    </a:lnTo>
                    <a:lnTo>
                      <a:pt x="113" y="6"/>
                    </a:lnTo>
                    <a:lnTo>
                      <a:pt x="116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E20074"/>
                  </a:buClr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0" cap="none" spc="0" normalizeH="0" baseline="0" noProof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99" name="Freeform 139"/>
              <p:cNvSpPr>
                <a:spLocks/>
              </p:cNvSpPr>
              <p:nvPr/>
            </p:nvSpPr>
            <p:spPr bwMode="auto">
              <a:xfrm>
                <a:off x="13042901" y="511176"/>
                <a:ext cx="185738" cy="892175"/>
              </a:xfrm>
              <a:custGeom>
                <a:avLst/>
                <a:gdLst>
                  <a:gd name="T0" fmla="*/ 104 w 117"/>
                  <a:gd name="T1" fmla="*/ 4 h 562"/>
                  <a:gd name="T2" fmla="*/ 117 w 117"/>
                  <a:gd name="T3" fmla="*/ 6 h 562"/>
                  <a:gd name="T4" fmla="*/ 113 w 117"/>
                  <a:gd name="T5" fmla="*/ 549 h 562"/>
                  <a:gd name="T6" fmla="*/ 110 w 117"/>
                  <a:gd name="T7" fmla="*/ 553 h 562"/>
                  <a:gd name="T8" fmla="*/ 106 w 117"/>
                  <a:gd name="T9" fmla="*/ 553 h 562"/>
                  <a:gd name="T10" fmla="*/ 103 w 117"/>
                  <a:gd name="T11" fmla="*/ 558 h 562"/>
                  <a:gd name="T12" fmla="*/ 98 w 117"/>
                  <a:gd name="T13" fmla="*/ 556 h 562"/>
                  <a:gd name="T14" fmla="*/ 94 w 117"/>
                  <a:gd name="T15" fmla="*/ 556 h 562"/>
                  <a:gd name="T16" fmla="*/ 91 w 117"/>
                  <a:gd name="T17" fmla="*/ 557 h 562"/>
                  <a:gd name="T18" fmla="*/ 90 w 117"/>
                  <a:gd name="T19" fmla="*/ 559 h 562"/>
                  <a:gd name="T20" fmla="*/ 84 w 117"/>
                  <a:gd name="T21" fmla="*/ 561 h 562"/>
                  <a:gd name="T22" fmla="*/ 77 w 117"/>
                  <a:gd name="T23" fmla="*/ 556 h 562"/>
                  <a:gd name="T24" fmla="*/ 73 w 117"/>
                  <a:gd name="T25" fmla="*/ 555 h 562"/>
                  <a:gd name="T26" fmla="*/ 66 w 117"/>
                  <a:gd name="T27" fmla="*/ 553 h 562"/>
                  <a:gd name="T28" fmla="*/ 59 w 117"/>
                  <a:gd name="T29" fmla="*/ 547 h 562"/>
                  <a:gd name="T30" fmla="*/ 58 w 117"/>
                  <a:gd name="T31" fmla="*/ 553 h 562"/>
                  <a:gd name="T32" fmla="*/ 50 w 117"/>
                  <a:gd name="T33" fmla="*/ 546 h 562"/>
                  <a:gd name="T34" fmla="*/ 48 w 117"/>
                  <a:gd name="T35" fmla="*/ 547 h 562"/>
                  <a:gd name="T36" fmla="*/ 44 w 117"/>
                  <a:gd name="T37" fmla="*/ 549 h 562"/>
                  <a:gd name="T38" fmla="*/ 39 w 117"/>
                  <a:gd name="T39" fmla="*/ 555 h 562"/>
                  <a:gd name="T40" fmla="*/ 32 w 117"/>
                  <a:gd name="T41" fmla="*/ 554 h 562"/>
                  <a:gd name="T42" fmla="*/ 28 w 117"/>
                  <a:gd name="T43" fmla="*/ 555 h 562"/>
                  <a:gd name="T44" fmla="*/ 25 w 117"/>
                  <a:gd name="T45" fmla="*/ 554 h 562"/>
                  <a:gd name="T46" fmla="*/ 23 w 117"/>
                  <a:gd name="T47" fmla="*/ 559 h 562"/>
                  <a:gd name="T48" fmla="*/ 20 w 117"/>
                  <a:gd name="T49" fmla="*/ 562 h 562"/>
                  <a:gd name="T50" fmla="*/ 18 w 117"/>
                  <a:gd name="T51" fmla="*/ 559 h 562"/>
                  <a:gd name="T52" fmla="*/ 15 w 117"/>
                  <a:gd name="T53" fmla="*/ 556 h 562"/>
                  <a:gd name="T54" fmla="*/ 10 w 117"/>
                  <a:gd name="T55" fmla="*/ 556 h 562"/>
                  <a:gd name="T56" fmla="*/ 6 w 117"/>
                  <a:gd name="T57" fmla="*/ 553 h 562"/>
                  <a:gd name="T58" fmla="*/ 1 w 117"/>
                  <a:gd name="T59" fmla="*/ 553 h 562"/>
                  <a:gd name="T60" fmla="*/ 0 w 117"/>
                  <a:gd name="T61" fmla="*/ 32 h 562"/>
                  <a:gd name="T62" fmla="*/ 3 w 117"/>
                  <a:gd name="T63" fmla="*/ 36 h 562"/>
                  <a:gd name="T64" fmla="*/ 6 w 117"/>
                  <a:gd name="T65" fmla="*/ 37 h 562"/>
                  <a:gd name="T66" fmla="*/ 9 w 117"/>
                  <a:gd name="T67" fmla="*/ 35 h 562"/>
                  <a:gd name="T68" fmla="*/ 19 w 117"/>
                  <a:gd name="T69" fmla="*/ 32 h 562"/>
                  <a:gd name="T70" fmla="*/ 19 w 117"/>
                  <a:gd name="T71" fmla="*/ 28 h 562"/>
                  <a:gd name="T72" fmla="*/ 24 w 117"/>
                  <a:gd name="T73" fmla="*/ 32 h 562"/>
                  <a:gd name="T74" fmla="*/ 28 w 117"/>
                  <a:gd name="T75" fmla="*/ 35 h 562"/>
                  <a:gd name="T76" fmla="*/ 33 w 117"/>
                  <a:gd name="T77" fmla="*/ 31 h 562"/>
                  <a:gd name="T78" fmla="*/ 45 w 117"/>
                  <a:gd name="T79" fmla="*/ 25 h 562"/>
                  <a:gd name="T80" fmla="*/ 52 w 117"/>
                  <a:gd name="T81" fmla="*/ 27 h 562"/>
                  <a:gd name="T82" fmla="*/ 56 w 117"/>
                  <a:gd name="T83" fmla="*/ 23 h 562"/>
                  <a:gd name="T84" fmla="*/ 58 w 117"/>
                  <a:gd name="T85" fmla="*/ 25 h 562"/>
                  <a:gd name="T86" fmla="*/ 65 w 117"/>
                  <a:gd name="T87" fmla="*/ 25 h 562"/>
                  <a:gd name="T88" fmla="*/ 67 w 117"/>
                  <a:gd name="T89" fmla="*/ 23 h 562"/>
                  <a:gd name="T90" fmla="*/ 76 w 117"/>
                  <a:gd name="T91" fmla="*/ 22 h 562"/>
                  <a:gd name="T92" fmla="*/ 83 w 117"/>
                  <a:gd name="T93" fmla="*/ 17 h 562"/>
                  <a:gd name="T94" fmla="*/ 87 w 117"/>
                  <a:gd name="T95" fmla="*/ 11 h 562"/>
                  <a:gd name="T96" fmla="*/ 89 w 117"/>
                  <a:gd name="T97" fmla="*/ 9 h 562"/>
                  <a:gd name="T98" fmla="*/ 91 w 117"/>
                  <a:gd name="T99" fmla="*/ 8 h 562"/>
                  <a:gd name="T100" fmla="*/ 92 w 117"/>
                  <a:gd name="T101" fmla="*/ 2 h 5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17" h="562">
                    <a:moveTo>
                      <a:pt x="100" y="0"/>
                    </a:moveTo>
                    <a:lnTo>
                      <a:pt x="101" y="2"/>
                    </a:lnTo>
                    <a:lnTo>
                      <a:pt x="101" y="1"/>
                    </a:lnTo>
                    <a:lnTo>
                      <a:pt x="104" y="4"/>
                    </a:lnTo>
                    <a:lnTo>
                      <a:pt x="108" y="4"/>
                    </a:lnTo>
                    <a:lnTo>
                      <a:pt x="112" y="2"/>
                    </a:lnTo>
                    <a:lnTo>
                      <a:pt x="112" y="4"/>
                    </a:lnTo>
                    <a:lnTo>
                      <a:pt x="117" y="6"/>
                    </a:lnTo>
                    <a:lnTo>
                      <a:pt x="117" y="6"/>
                    </a:lnTo>
                    <a:lnTo>
                      <a:pt x="117" y="548"/>
                    </a:lnTo>
                    <a:lnTo>
                      <a:pt x="113" y="545"/>
                    </a:lnTo>
                    <a:lnTo>
                      <a:pt x="113" y="549"/>
                    </a:lnTo>
                    <a:lnTo>
                      <a:pt x="112" y="550"/>
                    </a:lnTo>
                    <a:lnTo>
                      <a:pt x="112" y="549"/>
                    </a:lnTo>
                    <a:lnTo>
                      <a:pt x="112" y="552"/>
                    </a:lnTo>
                    <a:lnTo>
                      <a:pt x="110" y="553"/>
                    </a:lnTo>
                    <a:lnTo>
                      <a:pt x="110" y="552"/>
                    </a:lnTo>
                    <a:lnTo>
                      <a:pt x="107" y="550"/>
                    </a:lnTo>
                    <a:lnTo>
                      <a:pt x="107" y="553"/>
                    </a:lnTo>
                    <a:lnTo>
                      <a:pt x="106" y="553"/>
                    </a:lnTo>
                    <a:lnTo>
                      <a:pt x="107" y="555"/>
                    </a:lnTo>
                    <a:lnTo>
                      <a:pt x="104" y="555"/>
                    </a:lnTo>
                    <a:lnTo>
                      <a:pt x="103" y="556"/>
                    </a:lnTo>
                    <a:lnTo>
                      <a:pt x="103" y="558"/>
                    </a:lnTo>
                    <a:lnTo>
                      <a:pt x="100" y="552"/>
                    </a:lnTo>
                    <a:lnTo>
                      <a:pt x="100" y="557"/>
                    </a:lnTo>
                    <a:lnTo>
                      <a:pt x="98" y="555"/>
                    </a:lnTo>
                    <a:lnTo>
                      <a:pt x="98" y="556"/>
                    </a:lnTo>
                    <a:lnTo>
                      <a:pt x="95" y="553"/>
                    </a:lnTo>
                    <a:lnTo>
                      <a:pt x="94" y="553"/>
                    </a:lnTo>
                    <a:lnTo>
                      <a:pt x="95" y="557"/>
                    </a:lnTo>
                    <a:lnTo>
                      <a:pt x="94" y="556"/>
                    </a:lnTo>
                    <a:lnTo>
                      <a:pt x="94" y="559"/>
                    </a:lnTo>
                    <a:lnTo>
                      <a:pt x="92" y="558"/>
                    </a:lnTo>
                    <a:lnTo>
                      <a:pt x="91" y="555"/>
                    </a:lnTo>
                    <a:lnTo>
                      <a:pt x="91" y="557"/>
                    </a:lnTo>
                    <a:lnTo>
                      <a:pt x="90" y="558"/>
                    </a:lnTo>
                    <a:lnTo>
                      <a:pt x="87" y="555"/>
                    </a:lnTo>
                    <a:lnTo>
                      <a:pt x="87" y="557"/>
                    </a:lnTo>
                    <a:lnTo>
                      <a:pt x="90" y="559"/>
                    </a:lnTo>
                    <a:lnTo>
                      <a:pt x="85" y="558"/>
                    </a:lnTo>
                    <a:lnTo>
                      <a:pt x="84" y="559"/>
                    </a:lnTo>
                    <a:lnTo>
                      <a:pt x="84" y="558"/>
                    </a:lnTo>
                    <a:lnTo>
                      <a:pt x="84" y="561"/>
                    </a:lnTo>
                    <a:lnTo>
                      <a:pt x="83" y="561"/>
                    </a:lnTo>
                    <a:lnTo>
                      <a:pt x="83" y="559"/>
                    </a:lnTo>
                    <a:lnTo>
                      <a:pt x="82" y="562"/>
                    </a:lnTo>
                    <a:lnTo>
                      <a:pt x="77" y="556"/>
                    </a:lnTo>
                    <a:lnTo>
                      <a:pt x="74" y="556"/>
                    </a:lnTo>
                    <a:lnTo>
                      <a:pt x="75" y="555"/>
                    </a:lnTo>
                    <a:lnTo>
                      <a:pt x="74" y="555"/>
                    </a:lnTo>
                    <a:lnTo>
                      <a:pt x="73" y="555"/>
                    </a:lnTo>
                    <a:lnTo>
                      <a:pt x="73" y="557"/>
                    </a:lnTo>
                    <a:lnTo>
                      <a:pt x="71" y="555"/>
                    </a:lnTo>
                    <a:lnTo>
                      <a:pt x="70" y="557"/>
                    </a:lnTo>
                    <a:lnTo>
                      <a:pt x="66" y="553"/>
                    </a:lnTo>
                    <a:lnTo>
                      <a:pt x="66" y="556"/>
                    </a:lnTo>
                    <a:lnTo>
                      <a:pt x="64" y="549"/>
                    </a:lnTo>
                    <a:lnTo>
                      <a:pt x="64" y="550"/>
                    </a:lnTo>
                    <a:lnTo>
                      <a:pt x="59" y="547"/>
                    </a:lnTo>
                    <a:lnTo>
                      <a:pt x="60" y="553"/>
                    </a:lnTo>
                    <a:lnTo>
                      <a:pt x="59" y="552"/>
                    </a:lnTo>
                    <a:lnTo>
                      <a:pt x="59" y="554"/>
                    </a:lnTo>
                    <a:lnTo>
                      <a:pt x="58" y="553"/>
                    </a:lnTo>
                    <a:lnTo>
                      <a:pt x="56" y="554"/>
                    </a:lnTo>
                    <a:lnTo>
                      <a:pt x="54" y="548"/>
                    </a:lnTo>
                    <a:lnTo>
                      <a:pt x="53" y="552"/>
                    </a:lnTo>
                    <a:lnTo>
                      <a:pt x="50" y="546"/>
                    </a:lnTo>
                    <a:lnTo>
                      <a:pt x="50" y="548"/>
                    </a:lnTo>
                    <a:lnTo>
                      <a:pt x="49" y="547"/>
                    </a:lnTo>
                    <a:lnTo>
                      <a:pt x="49" y="548"/>
                    </a:lnTo>
                    <a:lnTo>
                      <a:pt x="48" y="547"/>
                    </a:lnTo>
                    <a:lnTo>
                      <a:pt x="46" y="547"/>
                    </a:lnTo>
                    <a:lnTo>
                      <a:pt x="48" y="549"/>
                    </a:lnTo>
                    <a:lnTo>
                      <a:pt x="44" y="546"/>
                    </a:lnTo>
                    <a:lnTo>
                      <a:pt x="44" y="549"/>
                    </a:lnTo>
                    <a:lnTo>
                      <a:pt x="42" y="549"/>
                    </a:lnTo>
                    <a:lnTo>
                      <a:pt x="42" y="548"/>
                    </a:lnTo>
                    <a:lnTo>
                      <a:pt x="40" y="549"/>
                    </a:lnTo>
                    <a:lnTo>
                      <a:pt x="39" y="555"/>
                    </a:lnTo>
                    <a:lnTo>
                      <a:pt x="37" y="553"/>
                    </a:lnTo>
                    <a:lnTo>
                      <a:pt x="35" y="553"/>
                    </a:lnTo>
                    <a:lnTo>
                      <a:pt x="34" y="555"/>
                    </a:lnTo>
                    <a:lnTo>
                      <a:pt x="32" y="554"/>
                    </a:lnTo>
                    <a:lnTo>
                      <a:pt x="31" y="558"/>
                    </a:lnTo>
                    <a:lnTo>
                      <a:pt x="31" y="555"/>
                    </a:lnTo>
                    <a:lnTo>
                      <a:pt x="28" y="557"/>
                    </a:lnTo>
                    <a:lnTo>
                      <a:pt x="28" y="555"/>
                    </a:lnTo>
                    <a:lnTo>
                      <a:pt x="26" y="559"/>
                    </a:lnTo>
                    <a:lnTo>
                      <a:pt x="27" y="554"/>
                    </a:lnTo>
                    <a:lnTo>
                      <a:pt x="25" y="556"/>
                    </a:lnTo>
                    <a:lnTo>
                      <a:pt x="25" y="554"/>
                    </a:lnTo>
                    <a:lnTo>
                      <a:pt x="25" y="554"/>
                    </a:lnTo>
                    <a:lnTo>
                      <a:pt x="24" y="555"/>
                    </a:lnTo>
                    <a:lnTo>
                      <a:pt x="23" y="555"/>
                    </a:lnTo>
                    <a:lnTo>
                      <a:pt x="23" y="559"/>
                    </a:lnTo>
                    <a:lnTo>
                      <a:pt x="21" y="557"/>
                    </a:lnTo>
                    <a:lnTo>
                      <a:pt x="21" y="559"/>
                    </a:lnTo>
                    <a:lnTo>
                      <a:pt x="20" y="559"/>
                    </a:lnTo>
                    <a:lnTo>
                      <a:pt x="20" y="562"/>
                    </a:lnTo>
                    <a:lnTo>
                      <a:pt x="19" y="561"/>
                    </a:lnTo>
                    <a:lnTo>
                      <a:pt x="19" y="562"/>
                    </a:lnTo>
                    <a:lnTo>
                      <a:pt x="18" y="559"/>
                    </a:lnTo>
                    <a:lnTo>
                      <a:pt x="18" y="559"/>
                    </a:lnTo>
                    <a:lnTo>
                      <a:pt x="17" y="561"/>
                    </a:lnTo>
                    <a:lnTo>
                      <a:pt x="16" y="557"/>
                    </a:lnTo>
                    <a:lnTo>
                      <a:pt x="15" y="558"/>
                    </a:lnTo>
                    <a:lnTo>
                      <a:pt x="15" y="556"/>
                    </a:lnTo>
                    <a:lnTo>
                      <a:pt x="14" y="559"/>
                    </a:lnTo>
                    <a:lnTo>
                      <a:pt x="12" y="558"/>
                    </a:lnTo>
                    <a:lnTo>
                      <a:pt x="11" y="561"/>
                    </a:lnTo>
                    <a:lnTo>
                      <a:pt x="10" y="556"/>
                    </a:lnTo>
                    <a:lnTo>
                      <a:pt x="10" y="558"/>
                    </a:lnTo>
                    <a:lnTo>
                      <a:pt x="8" y="556"/>
                    </a:lnTo>
                    <a:lnTo>
                      <a:pt x="8" y="554"/>
                    </a:lnTo>
                    <a:lnTo>
                      <a:pt x="6" y="553"/>
                    </a:lnTo>
                    <a:lnTo>
                      <a:pt x="1" y="554"/>
                    </a:lnTo>
                    <a:lnTo>
                      <a:pt x="3" y="552"/>
                    </a:lnTo>
                    <a:lnTo>
                      <a:pt x="2" y="550"/>
                    </a:lnTo>
                    <a:lnTo>
                      <a:pt x="1" y="553"/>
                    </a:lnTo>
                    <a:lnTo>
                      <a:pt x="1" y="550"/>
                    </a:lnTo>
                    <a:lnTo>
                      <a:pt x="0" y="553"/>
                    </a:lnTo>
                    <a:lnTo>
                      <a:pt x="0" y="549"/>
                    </a:lnTo>
                    <a:lnTo>
                      <a:pt x="0" y="32"/>
                    </a:lnTo>
                    <a:lnTo>
                      <a:pt x="1" y="36"/>
                    </a:lnTo>
                    <a:lnTo>
                      <a:pt x="2" y="34"/>
                    </a:lnTo>
                    <a:lnTo>
                      <a:pt x="2" y="36"/>
                    </a:lnTo>
                    <a:lnTo>
                      <a:pt x="3" y="36"/>
                    </a:lnTo>
                    <a:lnTo>
                      <a:pt x="3" y="34"/>
                    </a:lnTo>
                    <a:lnTo>
                      <a:pt x="4" y="36"/>
                    </a:lnTo>
                    <a:lnTo>
                      <a:pt x="6" y="35"/>
                    </a:lnTo>
                    <a:lnTo>
                      <a:pt x="6" y="37"/>
                    </a:lnTo>
                    <a:lnTo>
                      <a:pt x="6" y="37"/>
                    </a:lnTo>
                    <a:lnTo>
                      <a:pt x="8" y="36"/>
                    </a:lnTo>
                    <a:lnTo>
                      <a:pt x="8" y="30"/>
                    </a:lnTo>
                    <a:lnTo>
                      <a:pt x="9" y="35"/>
                    </a:lnTo>
                    <a:lnTo>
                      <a:pt x="14" y="32"/>
                    </a:lnTo>
                    <a:lnTo>
                      <a:pt x="15" y="31"/>
                    </a:lnTo>
                    <a:lnTo>
                      <a:pt x="15" y="34"/>
                    </a:lnTo>
                    <a:lnTo>
                      <a:pt x="19" y="32"/>
                    </a:lnTo>
                    <a:lnTo>
                      <a:pt x="19" y="35"/>
                    </a:lnTo>
                    <a:lnTo>
                      <a:pt x="20" y="31"/>
                    </a:lnTo>
                    <a:lnTo>
                      <a:pt x="18" y="30"/>
                    </a:lnTo>
                    <a:lnTo>
                      <a:pt x="19" y="28"/>
                    </a:lnTo>
                    <a:lnTo>
                      <a:pt x="21" y="29"/>
                    </a:lnTo>
                    <a:lnTo>
                      <a:pt x="20" y="31"/>
                    </a:lnTo>
                    <a:lnTo>
                      <a:pt x="21" y="29"/>
                    </a:lnTo>
                    <a:lnTo>
                      <a:pt x="24" y="32"/>
                    </a:lnTo>
                    <a:lnTo>
                      <a:pt x="27" y="35"/>
                    </a:lnTo>
                    <a:lnTo>
                      <a:pt x="28" y="34"/>
                    </a:lnTo>
                    <a:lnTo>
                      <a:pt x="27" y="32"/>
                    </a:lnTo>
                    <a:lnTo>
                      <a:pt x="28" y="35"/>
                    </a:lnTo>
                    <a:lnTo>
                      <a:pt x="29" y="35"/>
                    </a:lnTo>
                    <a:lnTo>
                      <a:pt x="32" y="31"/>
                    </a:lnTo>
                    <a:lnTo>
                      <a:pt x="32" y="34"/>
                    </a:lnTo>
                    <a:lnTo>
                      <a:pt x="33" y="31"/>
                    </a:lnTo>
                    <a:lnTo>
                      <a:pt x="34" y="31"/>
                    </a:lnTo>
                    <a:lnTo>
                      <a:pt x="37" y="28"/>
                    </a:lnTo>
                    <a:lnTo>
                      <a:pt x="42" y="28"/>
                    </a:lnTo>
                    <a:lnTo>
                      <a:pt x="45" y="25"/>
                    </a:lnTo>
                    <a:lnTo>
                      <a:pt x="44" y="27"/>
                    </a:lnTo>
                    <a:lnTo>
                      <a:pt x="48" y="23"/>
                    </a:lnTo>
                    <a:lnTo>
                      <a:pt x="51" y="25"/>
                    </a:lnTo>
                    <a:lnTo>
                      <a:pt x="52" y="27"/>
                    </a:lnTo>
                    <a:lnTo>
                      <a:pt x="52" y="27"/>
                    </a:lnTo>
                    <a:lnTo>
                      <a:pt x="53" y="27"/>
                    </a:lnTo>
                    <a:lnTo>
                      <a:pt x="54" y="25"/>
                    </a:lnTo>
                    <a:lnTo>
                      <a:pt x="56" y="23"/>
                    </a:lnTo>
                    <a:lnTo>
                      <a:pt x="56" y="25"/>
                    </a:lnTo>
                    <a:lnTo>
                      <a:pt x="57" y="22"/>
                    </a:lnTo>
                    <a:lnTo>
                      <a:pt x="59" y="22"/>
                    </a:lnTo>
                    <a:lnTo>
                      <a:pt x="58" y="25"/>
                    </a:lnTo>
                    <a:lnTo>
                      <a:pt x="61" y="25"/>
                    </a:lnTo>
                    <a:lnTo>
                      <a:pt x="60" y="23"/>
                    </a:lnTo>
                    <a:lnTo>
                      <a:pt x="62" y="25"/>
                    </a:lnTo>
                    <a:lnTo>
                      <a:pt x="65" y="25"/>
                    </a:lnTo>
                    <a:lnTo>
                      <a:pt x="67" y="25"/>
                    </a:lnTo>
                    <a:lnTo>
                      <a:pt x="65" y="23"/>
                    </a:lnTo>
                    <a:lnTo>
                      <a:pt x="66" y="21"/>
                    </a:lnTo>
                    <a:lnTo>
                      <a:pt x="67" y="23"/>
                    </a:lnTo>
                    <a:lnTo>
                      <a:pt x="69" y="20"/>
                    </a:lnTo>
                    <a:lnTo>
                      <a:pt x="76" y="22"/>
                    </a:lnTo>
                    <a:lnTo>
                      <a:pt x="76" y="20"/>
                    </a:lnTo>
                    <a:lnTo>
                      <a:pt x="76" y="22"/>
                    </a:lnTo>
                    <a:lnTo>
                      <a:pt x="78" y="20"/>
                    </a:lnTo>
                    <a:lnTo>
                      <a:pt x="78" y="18"/>
                    </a:lnTo>
                    <a:lnTo>
                      <a:pt x="82" y="17"/>
                    </a:lnTo>
                    <a:lnTo>
                      <a:pt x="83" y="17"/>
                    </a:lnTo>
                    <a:lnTo>
                      <a:pt x="83" y="14"/>
                    </a:lnTo>
                    <a:lnTo>
                      <a:pt x="86" y="12"/>
                    </a:lnTo>
                    <a:lnTo>
                      <a:pt x="86" y="9"/>
                    </a:lnTo>
                    <a:lnTo>
                      <a:pt x="87" y="11"/>
                    </a:lnTo>
                    <a:lnTo>
                      <a:pt x="87" y="9"/>
                    </a:lnTo>
                    <a:lnTo>
                      <a:pt x="86" y="9"/>
                    </a:lnTo>
                    <a:lnTo>
                      <a:pt x="86" y="8"/>
                    </a:lnTo>
                    <a:lnTo>
                      <a:pt x="89" y="9"/>
                    </a:lnTo>
                    <a:lnTo>
                      <a:pt x="87" y="6"/>
                    </a:lnTo>
                    <a:lnTo>
                      <a:pt x="90" y="5"/>
                    </a:lnTo>
                    <a:lnTo>
                      <a:pt x="91" y="8"/>
                    </a:lnTo>
                    <a:lnTo>
                      <a:pt x="91" y="8"/>
                    </a:lnTo>
                    <a:lnTo>
                      <a:pt x="93" y="4"/>
                    </a:lnTo>
                    <a:lnTo>
                      <a:pt x="93" y="3"/>
                    </a:lnTo>
                    <a:lnTo>
                      <a:pt x="92" y="5"/>
                    </a:lnTo>
                    <a:lnTo>
                      <a:pt x="92" y="2"/>
                    </a:lnTo>
                    <a:lnTo>
                      <a:pt x="94" y="2"/>
                    </a:lnTo>
                    <a:lnTo>
                      <a:pt x="99" y="3"/>
                    </a:lnTo>
                    <a:lnTo>
                      <a:pt x="100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E20074"/>
                  </a:buClr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0" cap="none" spc="0" normalizeH="0" baseline="0" noProof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00" name="Freeform 140"/>
              <p:cNvSpPr>
                <a:spLocks noEditPoints="1"/>
              </p:cNvSpPr>
              <p:nvPr/>
            </p:nvSpPr>
            <p:spPr bwMode="auto">
              <a:xfrm>
                <a:off x="13228639" y="481014"/>
                <a:ext cx="187325" cy="903288"/>
              </a:xfrm>
              <a:custGeom>
                <a:avLst/>
                <a:gdLst>
                  <a:gd name="T0" fmla="*/ 53 w 118"/>
                  <a:gd name="T1" fmla="*/ 561 h 569"/>
                  <a:gd name="T2" fmla="*/ 29 w 118"/>
                  <a:gd name="T3" fmla="*/ 16 h 569"/>
                  <a:gd name="T4" fmla="*/ 28 w 118"/>
                  <a:gd name="T5" fmla="*/ 16 h 569"/>
                  <a:gd name="T6" fmla="*/ 118 w 118"/>
                  <a:gd name="T7" fmla="*/ 4 h 569"/>
                  <a:gd name="T8" fmla="*/ 116 w 118"/>
                  <a:gd name="T9" fmla="*/ 90 h 569"/>
                  <a:gd name="T10" fmla="*/ 116 w 118"/>
                  <a:gd name="T11" fmla="*/ 103 h 569"/>
                  <a:gd name="T12" fmla="*/ 115 w 118"/>
                  <a:gd name="T13" fmla="*/ 149 h 569"/>
                  <a:gd name="T14" fmla="*/ 109 w 118"/>
                  <a:gd name="T15" fmla="*/ 404 h 569"/>
                  <a:gd name="T16" fmla="*/ 103 w 118"/>
                  <a:gd name="T17" fmla="*/ 542 h 569"/>
                  <a:gd name="T18" fmla="*/ 102 w 118"/>
                  <a:gd name="T19" fmla="*/ 546 h 569"/>
                  <a:gd name="T20" fmla="*/ 95 w 118"/>
                  <a:gd name="T21" fmla="*/ 550 h 569"/>
                  <a:gd name="T22" fmla="*/ 93 w 118"/>
                  <a:gd name="T23" fmla="*/ 549 h 569"/>
                  <a:gd name="T24" fmla="*/ 92 w 118"/>
                  <a:gd name="T25" fmla="*/ 554 h 569"/>
                  <a:gd name="T26" fmla="*/ 83 w 118"/>
                  <a:gd name="T27" fmla="*/ 555 h 569"/>
                  <a:gd name="T28" fmla="*/ 75 w 118"/>
                  <a:gd name="T29" fmla="*/ 556 h 569"/>
                  <a:gd name="T30" fmla="*/ 70 w 118"/>
                  <a:gd name="T31" fmla="*/ 560 h 569"/>
                  <a:gd name="T32" fmla="*/ 59 w 118"/>
                  <a:gd name="T33" fmla="*/ 557 h 569"/>
                  <a:gd name="T34" fmla="*/ 54 w 118"/>
                  <a:gd name="T35" fmla="*/ 561 h 569"/>
                  <a:gd name="T36" fmla="*/ 50 w 118"/>
                  <a:gd name="T37" fmla="*/ 559 h 569"/>
                  <a:gd name="T38" fmla="*/ 42 w 118"/>
                  <a:gd name="T39" fmla="*/ 554 h 569"/>
                  <a:gd name="T40" fmla="*/ 37 w 118"/>
                  <a:gd name="T41" fmla="*/ 558 h 569"/>
                  <a:gd name="T42" fmla="*/ 33 w 118"/>
                  <a:gd name="T43" fmla="*/ 559 h 569"/>
                  <a:gd name="T44" fmla="*/ 28 w 118"/>
                  <a:gd name="T45" fmla="*/ 557 h 569"/>
                  <a:gd name="T46" fmla="*/ 25 w 118"/>
                  <a:gd name="T47" fmla="*/ 563 h 569"/>
                  <a:gd name="T48" fmla="*/ 20 w 118"/>
                  <a:gd name="T49" fmla="*/ 561 h 569"/>
                  <a:gd name="T50" fmla="*/ 16 w 118"/>
                  <a:gd name="T51" fmla="*/ 564 h 569"/>
                  <a:gd name="T52" fmla="*/ 16 w 118"/>
                  <a:gd name="T53" fmla="*/ 566 h 569"/>
                  <a:gd name="T54" fmla="*/ 7 w 118"/>
                  <a:gd name="T55" fmla="*/ 569 h 569"/>
                  <a:gd name="T56" fmla="*/ 3 w 118"/>
                  <a:gd name="T57" fmla="*/ 567 h 569"/>
                  <a:gd name="T58" fmla="*/ 1 w 118"/>
                  <a:gd name="T59" fmla="*/ 25 h 569"/>
                  <a:gd name="T60" fmla="*/ 4 w 118"/>
                  <a:gd name="T61" fmla="*/ 25 h 569"/>
                  <a:gd name="T62" fmla="*/ 8 w 118"/>
                  <a:gd name="T63" fmla="*/ 24 h 569"/>
                  <a:gd name="T64" fmla="*/ 14 w 118"/>
                  <a:gd name="T65" fmla="*/ 17 h 569"/>
                  <a:gd name="T66" fmla="*/ 15 w 118"/>
                  <a:gd name="T67" fmla="*/ 19 h 569"/>
                  <a:gd name="T68" fmla="*/ 21 w 118"/>
                  <a:gd name="T69" fmla="*/ 21 h 569"/>
                  <a:gd name="T70" fmla="*/ 27 w 118"/>
                  <a:gd name="T71" fmla="*/ 17 h 569"/>
                  <a:gd name="T72" fmla="*/ 32 w 118"/>
                  <a:gd name="T73" fmla="*/ 19 h 569"/>
                  <a:gd name="T74" fmla="*/ 37 w 118"/>
                  <a:gd name="T75" fmla="*/ 16 h 569"/>
                  <a:gd name="T76" fmla="*/ 40 w 118"/>
                  <a:gd name="T77" fmla="*/ 16 h 569"/>
                  <a:gd name="T78" fmla="*/ 43 w 118"/>
                  <a:gd name="T79" fmla="*/ 13 h 569"/>
                  <a:gd name="T80" fmla="*/ 42 w 118"/>
                  <a:gd name="T81" fmla="*/ 15 h 569"/>
                  <a:gd name="T82" fmla="*/ 42 w 118"/>
                  <a:gd name="T83" fmla="*/ 15 h 569"/>
                  <a:gd name="T84" fmla="*/ 48 w 118"/>
                  <a:gd name="T85" fmla="*/ 13 h 569"/>
                  <a:gd name="T86" fmla="*/ 57 w 118"/>
                  <a:gd name="T87" fmla="*/ 15 h 569"/>
                  <a:gd name="T88" fmla="*/ 61 w 118"/>
                  <a:gd name="T89" fmla="*/ 15 h 569"/>
                  <a:gd name="T90" fmla="*/ 61 w 118"/>
                  <a:gd name="T91" fmla="*/ 15 h 569"/>
                  <a:gd name="T92" fmla="*/ 62 w 118"/>
                  <a:gd name="T93" fmla="*/ 15 h 569"/>
                  <a:gd name="T94" fmla="*/ 65 w 118"/>
                  <a:gd name="T95" fmla="*/ 11 h 569"/>
                  <a:gd name="T96" fmla="*/ 73 w 118"/>
                  <a:gd name="T97" fmla="*/ 8 h 569"/>
                  <a:gd name="T98" fmla="*/ 79 w 118"/>
                  <a:gd name="T99" fmla="*/ 8 h 569"/>
                  <a:gd name="T100" fmla="*/ 85 w 118"/>
                  <a:gd name="T101" fmla="*/ 4 h 569"/>
                  <a:gd name="T102" fmla="*/ 90 w 118"/>
                  <a:gd name="T103" fmla="*/ 5 h 569"/>
                  <a:gd name="T104" fmla="*/ 92 w 118"/>
                  <a:gd name="T105" fmla="*/ 5 h 569"/>
                  <a:gd name="T106" fmla="*/ 101 w 118"/>
                  <a:gd name="T107" fmla="*/ 5 h 569"/>
                  <a:gd name="T108" fmla="*/ 103 w 118"/>
                  <a:gd name="T109" fmla="*/ 5 h 569"/>
                  <a:gd name="T110" fmla="*/ 106 w 118"/>
                  <a:gd name="T111" fmla="*/ 6 h 569"/>
                  <a:gd name="T112" fmla="*/ 110 w 118"/>
                  <a:gd name="T113" fmla="*/ 6 h 5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18" h="569">
                    <a:moveTo>
                      <a:pt x="53" y="561"/>
                    </a:moveTo>
                    <a:lnTo>
                      <a:pt x="53" y="561"/>
                    </a:lnTo>
                    <a:lnTo>
                      <a:pt x="53" y="561"/>
                    </a:lnTo>
                    <a:lnTo>
                      <a:pt x="53" y="561"/>
                    </a:lnTo>
                    <a:close/>
                    <a:moveTo>
                      <a:pt x="29" y="16"/>
                    </a:moveTo>
                    <a:lnTo>
                      <a:pt x="29" y="16"/>
                    </a:lnTo>
                    <a:lnTo>
                      <a:pt x="29" y="16"/>
                    </a:lnTo>
                    <a:lnTo>
                      <a:pt x="29" y="16"/>
                    </a:lnTo>
                    <a:close/>
                    <a:moveTo>
                      <a:pt x="28" y="16"/>
                    </a:moveTo>
                    <a:lnTo>
                      <a:pt x="29" y="16"/>
                    </a:lnTo>
                    <a:lnTo>
                      <a:pt x="29" y="17"/>
                    </a:lnTo>
                    <a:lnTo>
                      <a:pt x="28" y="16"/>
                    </a:lnTo>
                    <a:close/>
                    <a:moveTo>
                      <a:pt x="115" y="0"/>
                    </a:moveTo>
                    <a:lnTo>
                      <a:pt x="117" y="3"/>
                    </a:lnTo>
                    <a:lnTo>
                      <a:pt x="116" y="4"/>
                    </a:lnTo>
                    <a:lnTo>
                      <a:pt x="118" y="4"/>
                    </a:lnTo>
                    <a:lnTo>
                      <a:pt x="118" y="4"/>
                    </a:lnTo>
                    <a:lnTo>
                      <a:pt x="118" y="44"/>
                    </a:lnTo>
                    <a:lnTo>
                      <a:pt x="117" y="83"/>
                    </a:lnTo>
                    <a:lnTo>
                      <a:pt x="116" y="90"/>
                    </a:lnTo>
                    <a:lnTo>
                      <a:pt x="116" y="96"/>
                    </a:lnTo>
                    <a:lnTo>
                      <a:pt x="116" y="101"/>
                    </a:lnTo>
                    <a:lnTo>
                      <a:pt x="117" y="103"/>
                    </a:lnTo>
                    <a:lnTo>
                      <a:pt x="116" y="103"/>
                    </a:lnTo>
                    <a:lnTo>
                      <a:pt x="115" y="124"/>
                    </a:lnTo>
                    <a:lnTo>
                      <a:pt x="116" y="145"/>
                    </a:lnTo>
                    <a:lnTo>
                      <a:pt x="115" y="145"/>
                    </a:lnTo>
                    <a:lnTo>
                      <a:pt x="115" y="149"/>
                    </a:lnTo>
                    <a:lnTo>
                      <a:pt x="113" y="216"/>
                    </a:lnTo>
                    <a:lnTo>
                      <a:pt x="111" y="287"/>
                    </a:lnTo>
                    <a:lnTo>
                      <a:pt x="110" y="355"/>
                    </a:lnTo>
                    <a:lnTo>
                      <a:pt x="109" y="404"/>
                    </a:lnTo>
                    <a:lnTo>
                      <a:pt x="107" y="455"/>
                    </a:lnTo>
                    <a:lnTo>
                      <a:pt x="106" y="506"/>
                    </a:lnTo>
                    <a:lnTo>
                      <a:pt x="104" y="524"/>
                    </a:lnTo>
                    <a:lnTo>
                      <a:pt x="103" y="542"/>
                    </a:lnTo>
                    <a:lnTo>
                      <a:pt x="102" y="542"/>
                    </a:lnTo>
                    <a:lnTo>
                      <a:pt x="102" y="547"/>
                    </a:lnTo>
                    <a:lnTo>
                      <a:pt x="102" y="546"/>
                    </a:lnTo>
                    <a:lnTo>
                      <a:pt x="102" y="546"/>
                    </a:lnTo>
                    <a:lnTo>
                      <a:pt x="102" y="544"/>
                    </a:lnTo>
                    <a:lnTo>
                      <a:pt x="101" y="543"/>
                    </a:lnTo>
                    <a:lnTo>
                      <a:pt x="98" y="550"/>
                    </a:lnTo>
                    <a:lnTo>
                      <a:pt x="95" y="550"/>
                    </a:lnTo>
                    <a:lnTo>
                      <a:pt x="95" y="550"/>
                    </a:lnTo>
                    <a:lnTo>
                      <a:pt x="94" y="548"/>
                    </a:lnTo>
                    <a:lnTo>
                      <a:pt x="94" y="550"/>
                    </a:lnTo>
                    <a:lnTo>
                      <a:pt x="93" y="549"/>
                    </a:lnTo>
                    <a:lnTo>
                      <a:pt x="92" y="551"/>
                    </a:lnTo>
                    <a:lnTo>
                      <a:pt x="92" y="550"/>
                    </a:lnTo>
                    <a:lnTo>
                      <a:pt x="91" y="551"/>
                    </a:lnTo>
                    <a:lnTo>
                      <a:pt x="92" y="554"/>
                    </a:lnTo>
                    <a:lnTo>
                      <a:pt x="90" y="551"/>
                    </a:lnTo>
                    <a:lnTo>
                      <a:pt x="88" y="555"/>
                    </a:lnTo>
                    <a:lnTo>
                      <a:pt x="86" y="554"/>
                    </a:lnTo>
                    <a:lnTo>
                      <a:pt x="83" y="555"/>
                    </a:lnTo>
                    <a:lnTo>
                      <a:pt x="78" y="557"/>
                    </a:lnTo>
                    <a:lnTo>
                      <a:pt x="79" y="554"/>
                    </a:lnTo>
                    <a:lnTo>
                      <a:pt x="78" y="558"/>
                    </a:lnTo>
                    <a:lnTo>
                      <a:pt x="75" y="556"/>
                    </a:lnTo>
                    <a:lnTo>
                      <a:pt x="74" y="557"/>
                    </a:lnTo>
                    <a:lnTo>
                      <a:pt x="69" y="556"/>
                    </a:lnTo>
                    <a:lnTo>
                      <a:pt x="67" y="557"/>
                    </a:lnTo>
                    <a:lnTo>
                      <a:pt x="70" y="560"/>
                    </a:lnTo>
                    <a:lnTo>
                      <a:pt x="64" y="552"/>
                    </a:lnTo>
                    <a:lnTo>
                      <a:pt x="64" y="556"/>
                    </a:lnTo>
                    <a:lnTo>
                      <a:pt x="61" y="555"/>
                    </a:lnTo>
                    <a:lnTo>
                      <a:pt x="59" y="557"/>
                    </a:lnTo>
                    <a:lnTo>
                      <a:pt x="58" y="555"/>
                    </a:lnTo>
                    <a:lnTo>
                      <a:pt x="57" y="558"/>
                    </a:lnTo>
                    <a:lnTo>
                      <a:pt x="54" y="559"/>
                    </a:lnTo>
                    <a:lnTo>
                      <a:pt x="54" y="561"/>
                    </a:lnTo>
                    <a:lnTo>
                      <a:pt x="53" y="561"/>
                    </a:lnTo>
                    <a:lnTo>
                      <a:pt x="52" y="558"/>
                    </a:lnTo>
                    <a:lnTo>
                      <a:pt x="52" y="561"/>
                    </a:lnTo>
                    <a:lnTo>
                      <a:pt x="50" y="559"/>
                    </a:lnTo>
                    <a:lnTo>
                      <a:pt x="48" y="559"/>
                    </a:lnTo>
                    <a:lnTo>
                      <a:pt x="46" y="556"/>
                    </a:lnTo>
                    <a:lnTo>
                      <a:pt x="45" y="557"/>
                    </a:lnTo>
                    <a:lnTo>
                      <a:pt x="42" y="554"/>
                    </a:lnTo>
                    <a:lnTo>
                      <a:pt x="43" y="559"/>
                    </a:lnTo>
                    <a:lnTo>
                      <a:pt x="41" y="557"/>
                    </a:lnTo>
                    <a:lnTo>
                      <a:pt x="40" y="560"/>
                    </a:lnTo>
                    <a:lnTo>
                      <a:pt x="37" y="558"/>
                    </a:lnTo>
                    <a:lnTo>
                      <a:pt x="36" y="557"/>
                    </a:lnTo>
                    <a:lnTo>
                      <a:pt x="35" y="559"/>
                    </a:lnTo>
                    <a:lnTo>
                      <a:pt x="34" y="556"/>
                    </a:lnTo>
                    <a:lnTo>
                      <a:pt x="33" y="559"/>
                    </a:lnTo>
                    <a:lnTo>
                      <a:pt x="33" y="558"/>
                    </a:lnTo>
                    <a:lnTo>
                      <a:pt x="31" y="558"/>
                    </a:lnTo>
                    <a:lnTo>
                      <a:pt x="33" y="560"/>
                    </a:lnTo>
                    <a:lnTo>
                      <a:pt x="28" y="557"/>
                    </a:lnTo>
                    <a:lnTo>
                      <a:pt x="27" y="560"/>
                    </a:lnTo>
                    <a:lnTo>
                      <a:pt x="27" y="558"/>
                    </a:lnTo>
                    <a:lnTo>
                      <a:pt x="25" y="560"/>
                    </a:lnTo>
                    <a:lnTo>
                      <a:pt x="25" y="563"/>
                    </a:lnTo>
                    <a:lnTo>
                      <a:pt x="24" y="564"/>
                    </a:lnTo>
                    <a:lnTo>
                      <a:pt x="25" y="560"/>
                    </a:lnTo>
                    <a:lnTo>
                      <a:pt x="23" y="563"/>
                    </a:lnTo>
                    <a:lnTo>
                      <a:pt x="20" y="561"/>
                    </a:lnTo>
                    <a:lnTo>
                      <a:pt x="18" y="561"/>
                    </a:lnTo>
                    <a:lnTo>
                      <a:pt x="17" y="566"/>
                    </a:lnTo>
                    <a:lnTo>
                      <a:pt x="17" y="563"/>
                    </a:lnTo>
                    <a:lnTo>
                      <a:pt x="16" y="564"/>
                    </a:lnTo>
                    <a:lnTo>
                      <a:pt x="16" y="563"/>
                    </a:lnTo>
                    <a:lnTo>
                      <a:pt x="15" y="563"/>
                    </a:lnTo>
                    <a:lnTo>
                      <a:pt x="15" y="564"/>
                    </a:lnTo>
                    <a:lnTo>
                      <a:pt x="16" y="566"/>
                    </a:lnTo>
                    <a:lnTo>
                      <a:pt x="15" y="567"/>
                    </a:lnTo>
                    <a:lnTo>
                      <a:pt x="9" y="568"/>
                    </a:lnTo>
                    <a:lnTo>
                      <a:pt x="8" y="567"/>
                    </a:lnTo>
                    <a:lnTo>
                      <a:pt x="7" y="569"/>
                    </a:lnTo>
                    <a:lnTo>
                      <a:pt x="7" y="569"/>
                    </a:lnTo>
                    <a:lnTo>
                      <a:pt x="6" y="567"/>
                    </a:lnTo>
                    <a:lnTo>
                      <a:pt x="3" y="566"/>
                    </a:lnTo>
                    <a:lnTo>
                      <a:pt x="3" y="567"/>
                    </a:lnTo>
                    <a:lnTo>
                      <a:pt x="1" y="567"/>
                    </a:lnTo>
                    <a:lnTo>
                      <a:pt x="0" y="567"/>
                    </a:lnTo>
                    <a:lnTo>
                      <a:pt x="0" y="25"/>
                    </a:lnTo>
                    <a:lnTo>
                      <a:pt x="1" y="25"/>
                    </a:lnTo>
                    <a:lnTo>
                      <a:pt x="0" y="23"/>
                    </a:lnTo>
                    <a:lnTo>
                      <a:pt x="2" y="25"/>
                    </a:lnTo>
                    <a:lnTo>
                      <a:pt x="3" y="24"/>
                    </a:lnTo>
                    <a:lnTo>
                      <a:pt x="4" y="25"/>
                    </a:lnTo>
                    <a:lnTo>
                      <a:pt x="4" y="22"/>
                    </a:lnTo>
                    <a:lnTo>
                      <a:pt x="8" y="27"/>
                    </a:lnTo>
                    <a:lnTo>
                      <a:pt x="9" y="25"/>
                    </a:lnTo>
                    <a:lnTo>
                      <a:pt x="8" y="24"/>
                    </a:lnTo>
                    <a:lnTo>
                      <a:pt x="10" y="24"/>
                    </a:lnTo>
                    <a:lnTo>
                      <a:pt x="9" y="20"/>
                    </a:lnTo>
                    <a:lnTo>
                      <a:pt x="10" y="21"/>
                    </a:lnTo>
                    <a:lnTo>
                      <a:pt x="14" y="17"/>
                    </a:lnTo>
                    <a:lnTo>
                      <a:pt x="14" y="21"/>
                    </a:lnTo>
                    <a:lnTo>
                      <a:pt x="15" y="20"/>
                    </a:lnTo>
                    <a:lnTo>
                      <a:pt x="16" y="21"/>
                    </a:lnTo>
                    <a:lnTo>
                      <a:pt x="15" y="19"/>
                    </a:lnTo>
                    <a:lnTo>
                      <a:pt x="17" y="22"/>
                    </a:lnTo>
                    <a:lnTo>
                      <a:pt x="18" y="20"/>
                    </a:lnTo>
                    <a:lnTo>
                      <a:pt x="20" y="20"/>
                    </a:lnTo>
                    <a:lnTo>
                      <a:pt x="21" y="21"/>
                    </a:lnTo>
                    <a:lnTo>
                      <a:pt x="26" y="19"/>
                    </a:lnTo>
                    <a:lnTo>
                      <a:pt x="21" y="17"/>
                    </a:lnTo>
                    <a:lnTo>
                      <a:pt x="25" y="17"/>
                    </a:lnTo>
                    <a:lnTo>
                      <a:pt x="27" y="17"/>
                    </a:lnTo>
                    <a:lnTo>
                      <a:pt x="26" y="15"/>
                    </a:lnTo>
                    <a:lnTo>
                      <a:pt x="29" y="19"/>
                    </a:lnTo>
                    <a:lnTo>
                      <a:pt x="29" y="17"/>
                    </a:lnTo>
                    <a:lnTo>
                      <a:pt x="32" y="19"/>
                    </a:lnTo>
                    <a:lnTo>
                      <a:pt x="29" y="16"/>
                    </a:lnTo>
                    <a:lnTo>
                      <a:pt x="33" y="19"/>
                    </a:lnTo>
                    <a:lnTo>
                      <a:pt x="36" y="20"/>
                    </a:lnTo>
                    <a:lnTo>
                      <a:pt x="37" y="16"/>
                    </a:lnTo>
                    <a:lnTo>
                      <a:pt x="37" y="17"/>
                    </a:lnTo>
                    <a:lnTo>
                      <a:pt x="39" y="15"/>
                    </a:lnTo>
                    <a:lnTo>
                      <a:pt x="40" y="17"/>
                    </a:lnTo>
                    <a:lnTo>
                      <a:pt x="40" y="16"/>
                    </a:lnTo>
                    <a:lnTo>
                      <a:pt x="41" y="14"/>
                    </a:lnTo>
                    <a:lnTo>
                      <a:pt x="42" y="14"/>
                    </a:lnTo>
                    <a:lnTo>
                      <a:pt x="43" y="13"/>
                    </a:lnTo>
                    <a:lnTo>
                      <a:pt x="43" y="13"/>
                    </a:lnTo>
                    <a:lnTo>
                      <a:pt x="42" y="14"/>
                    </a:lnTo>
                    <a:lnTo>
                      <a:pt x="42" y="15"/>
                    </a:lnTo>
                    <a:lnTo>
                      <a:pt x="42" y="15"/>
                    </a:lnTo>
                    <a:lnTo>
                      <a:pt x="42" y="15"/>
                    </a:lnTo>
                    <a:lnTo>
                      <a:pt x="41" y="16"/>
                    </a:lnTo>
                    <a:lnTo>
                      <a:pt x="40" y="17"/>
                    </a:lnTo>
                    <a:lnTo>
                      <a:pt x="42" y="17"/>
                    </a:lnTo>
                    <a:lnTo>
                      <a:pt x="42" y="15"/>
                    </a:lnTo>
                    <a:lnTo>
                      <a:pt x="42" y="15"/>
                    </a:lnTo>
                    <a:lnTo>
                      <a:pt x="44" y="15"/>
                    </a:lnTo>
                    <a:lnTo>
                      <a:pt x="44" y="16"/>
                    </a:lnTo>
                    <a:lnTo>
                      <a:pt x="48" y="13"/>
                    </a:lnTo>
                    <a:lnTo>
                      <a:pt x="49" y="16"/>
                    </a:lnTo>
                    <a:lnTo>
                      <a:pt x="53" y="13"/>
                    </a:lnTo>
                    <a:lnTo>
                      <a:pt x="53" y="16"/>
                    </a:lnTo>
                    <a:lnTo>
                      <a:pt x="57" y="15"/>
                    </a:lnTo>
                    <a:lnTo>
                      <a:pt x="59" y="15"/>
                    </a:lnTo>
                    <a:lnTo>
                      <a:pt x="60" y="14"/>
                    </a:lnTo>
                    <a:lnTo>
                      <a:pt x="61" y="15"/>
                    </a:lnTo>
                    <a:lnTo>
                      <a:pt x="61" y="15"/>
                    </a:lnTo>
                    <a:lnTo>
                      <a:pt x="60" y="15"/>
                    </a:lnTo>
                    <a:lnTo>
                      <a:pt x="60" y="16"/>
                    </a:lnTo>
                    <a:lnTo>
                      <a:pt x="61" y="15"/>
                    </a:lnTo>
                    <a:lnTo>
                      <a:pt x="61" y="15"/>
                    </a:lnTo>
                    <a:lnTo>
                      <a:pt x="61" y="15"/>
                    </a:lnTo>
                    <a:lnTo>
                      <a:pt x="61" y="14"/>
                    </a:lnTo>
                    <a:lnTo>
                      <a:pt x="62" y="16"/>
                    </a:lnTo>
                    <a:lnTo>
                      <a:pt x="62" y="15"/>
                    </a:lnTo>
                    <a:lnTo>
                      <a:pt x="62" y="14"/>
                    </a:lnTo>
                    <a:lnTo>
                      <a:pt x="64" y="12"/>
                    </a:lnTo>
                    <a:lnTo>
                      <a:pt x="65" y="14"/>
                    </a:lnTo>
                    <a:lnTo>
                      <a:pt x="65" y="11"/>
                    </a:lnTo>
                    <a:lnTo>
                      <a:pt x="67" y="14"/>
                    </a:lnTo>
                    <a:lnTo>
                      <a:pt x="70" y="12"/>
                    </a:lnTo>
                    <a:lnTo>
                      <a:pt x="69" y="9"/>
                    </a:lnTo>
                    <a:lnTo>
                      <a:pt x="73" y="8"/>
                    </a:lnTo>
                    <a:lnTo>
                      <a:pt x="74" y="9"/>
                    </a:lnTo>
                    <a:lnTo>
                      <a:pt x="76" y="9"/>
                    </a:lnTo>
                    <a:lnTo>
                      <a:pt x="78" y="7"/>
                    </a:lnTo>
                    <a:lnTo>
                      <a:pt x="79" y="8"/>
                    </a:lnTo>
                    <a:lnTo>
                      <a:pt x="81" y="9"/>
                    </a:lnTo>
                    <a:lnTo>
                      <a:pt x="82" y="8"/>
                    </a:lnTo>
                    <a:lnTo>
                      <a:pt x="81" y="7"/>
                    </a:lnTo>
                    <a:lnTo>
                      <a:pt x="85" y="4"/>
                    </a:lnTo>
                    <a:lnTo>
                      <a:pt x="83" y="6"/>
                    </a:lnTo>
                    <a:lnTo>
                      <a:pt x="87" y="3"/>
                    </a:lnTo>
                    <a:lnTo>
                      <a:pt x="87" y="5"/>
                    </a:lnTo>
                    <a:lnTo>
                      <a:pt x="90" y="5"/>
                    </a:lnTo>
                    <a:lnTo>
                      <a:pt x="90" y="5"/>
                    </a:lnTo>
                    <a:lnTo>
                      <a:pt x="92" y="5"/>
                    </a:lnTo>
                    <a:lnTo>
                      <a:pt x="92" y="6"/>
                    </a:lnTo>
                    <a:lnTo>
                      <a:pt x="92" y="5"/>
                    </a:lnTo>
                    <a:lnTo>
                      <a:pt x="92" y="5"/>
                    </a:lnTo>
                    <a:lnTo>
                      <a:pt x="92" y="5"/>
                    </a:lnTo>
                    <a:lnTo>
                      <a:pt x="100" y="4"/>
                    </a:lnTo>
                    <a:lnTo>
                      <a:pt x="101" y="5"/>
                    </a:lnTo>
                    <a:lnTo>
                      <a:pt x="101" y="6"/>
                    </a:lnTo>
                    <a:lnTo>
                      <a:pt x="101" y="6"/>
                    </a:lnTo>
                    <a:lnTo>
                      <a:pt x="102" y="6"/>
                    </a:lnTo>
                    <a:lnTo>
                      <a:pt x="103" y="5"/>
                    </a:lnTo>
                    <a:lnTo>
                      <a:pt x="101" y="6"/>
                    </a:lnTo>
                    <a:lnTo>
                      <a:pt x="101" y="5"/>
                    </a:lnTo>
                    <a:lnTo>
                      <a:pt x="103" y="3"/>
                    </a:lnTo>
                    <a:lnTo>
                      <a:pt x="106" y="6"/>
                    </a:lnTo>
                    <a:lnTo>
                      <a:pt x="103" y="7"/>
                    </a:lnTo>
                    <a:lnTo>
                      <a:pt x="107" y="6"/>
                    </a:lnTo>
                    <a:lnTo>
                      <a:pt x="108" y="8"/>
                    </a:lnTo>
                    <a:lnTo>
                      <a:pt x="110" y="6"/>
                    </a:lnTo>
                    <a:lnTo>
                      <a:pt x="113" y="7"/>
                    </a:lnTo>
                    <a:lnTo>
                      <a:pt x="115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E20074"/>
                  </a:buClr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0" cap="none" spc="0" normalizeH="0" baseline="0" noProof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01" name="Freeform 141"/>
              <p:cNvSpPr>
                <a:spLocks noEditPoints="1"/>
              </p:cNvSpPr>
              <p:nvPr/>
            </p:nvSpPr>
            <p:spPr bwMode="auto">
              <a:xfrm>
                <a:off x="11171239" y="493714"/>
                <a:ext cx="187325" cy="833438"/>
              </a:xfrm>
              <a:custGeom>
                <a:avLst/>
                <a:gdLst>
                  <a:gd name="T0" fmla="*/ 2 w 118"/>
                  <a:gd name="T1" fmla="*/ 414 h 525"/>
                  <a:gd name="T2" fmla="*/ 45 w 118"/>
                  <a:gd name="T3" fmla="*/ 92 h 525"/>
                  <a:gd name="T4" fmla="*/ 45 w 118"/>
                  <a:gd name="T5" fmla="*/ 90 h 525"/>
                  <a:gd name="T6" fmla="*/ 112 w 118"/>
                  <a:gd name="T7" fmla="*/ 6 h 525"/>
                  <a:gd name="T8" fmla="*/ 114 w 118"/>
                  <a:gd name="T9" fmla="*/ 523 h 525"/>
                  <a:gd name="T10" fmla="*/ 104 w 118"/>
                  <a:gd name="T11" fmla="*/ 522 h 525"/>
                  <a:gd name="T12" fmla="*/ 95 w 118"/>
                  <a:gd name="T13" fmla="*/ 519 h 525"/>
                  <a:gd name="T14" fmla="*/ 89 w 118"/>
                  <a:gd name="T15" fmla="*/ 516 h 525"/>
                  <a:gd name="T16" fmla="*/ 82 w 118"/>
                  <a:gd name="T17" fmla="*/ 514 h 525"/>
                  <a:gd name="T18" fmla="*/ 70 w 118"/>
                  <a:gd name="T19" fmla="*/ 509 h 525"/>
                  <a:gd name="T20" fmla="*/ 59 w 118"/>
                  <a:gd name="T21" fmla="*/ 510 h 525"/>
                  <a:gd name="T22" fmla="*/ 52 w 118"/>
                  <a:gd name="T23" fmla="*/ 509 h 525"/>
                  <a:gd name="T24" fmla="*/ 42 w 118"/>
                  <a:gd name="T25" fmla="*/ 511 h 525"/>
                  <a:gd name="T26" fmla="*/ 35 w 118"/>
                  <a:gd name="T27" fmla="*/ 513 h 525"/>
                  <a:gd name="T28" fmla="*/ 27 w 118"/>
                  <a:gd name="T29" fmla="*/ 508 h 525"/>
                  <a:gd name="T30" fmla="*/ 20 w 118"/>
                  <a:gd name="T31" fmla="*/ 509 h 525"/>
                  <a:gd name="T32" fmla="*/ 12 w 118"/>
                  <a:gd name="T33" fmla="*/ 510 h 525"/>
                  <a:gd name="T34" fmla="*/ 7 w 118"/>
                  <a:gd name="T35" fmla="*/ 517 h 525"/>
                  <a:gd name="T36" fmla="*/ 6 w 118"/>
                  <a:gd name="T37" fmla="*/ 499 h 525"/>
                  <a:gd name="T38" fmla="*/ 7 w 118"/>
                  <a:gd name="T39" fmla="*/ 490 h 525"/>
                  <a:gd name="T40" fmla="*/ 5 w 118"/>
                  <a:gd name="T41" fmla="*/ 476 h 525"/>
                  <a:gd name="T42" fmla="*/ 5 w 118"/>
                  <a:gd name="T43" fmla="*/ 460 h 525"/>
                  <a:gd name="T44" fmla="*/ 7 w 118"/>
                  <a:gd name="T45" fmla="*/ 444 h 525"/>
                  <a:gd name="T46" fmla="*/ 6 w 118"/>
                  <a:gd name="T47" fmla="*/ 436 h 525"/>
                  <a:gd name="T48" fmla="*/ 5 w 118"/>
                  <a:gd name="T49" fmla="*/ 422 h 525"/>
                  <a:gd name="T50" fmla="*/ 3 w 118"/>
                  <a:gd name="T51" fmla="*/ 402 h 525"/>
                  <a:gd name="T52" fmla="*/ 8 w 118"/>
                  <a:gd name="T53" fmla="*/ 396 h 525"/>
                  <a:gd name="T54" fmla="*/ 7 w 118"/>
                  <a:gd name="T55" fmla="*/ 386 h 525"/>
                  <a:gd name="T56" fmla="*/ 8 w 118"/>
                  <a:gd name="T57" fmla="*/ 364 h 525"/>
                  <a:gd name="T58" fmla="*/ 7 w 118"/>
                  <a:gd name="T59" fmla="*/ 359 h 525"/>
                  <a:gd name="T60" fmla="*/ 5 w 118"/>
                  <a:gd name="T61" fmla="*/ 340 h 525"/>
                  <a:gd name="T62" fmla="*/ 9 w 118"/>
                  <a:gd name="T63" fmla="*/ 329 h 525"/>
                  <a:gd name="T64" fmla="*/ 12 w 118"/>
                  <a:gd name="T65" fmla="*/ 316 h 525"/>
                  <a:gd name="T66" fmla="*/ 17 w 118"/>
                  <a:gd name="T67" fmla="*/ 302 h 525"/>
                  <a:gd name="T68" fmla="*/ 19 w 118"/>
                  <a:gd name="T69" fmla="*/ 291 h 525"/>
                  <a:gd name="T70" fmla="*/ 19 w 118"/>
                  <a:gd name="T71" fmla="*/ 283 h 525"/>
                  <a:gd name="T72" fmla="*/ 19 w 118"/>
                  <a:gd name="T73" fmla="*/ 257 h 525"/>
                  <a:gd name="T74" fmla="*/ 24 w 118"/>
                  <a:gd name="T75" fmla="*/ 231 h 525"/>
                  <a:gd name="T76" fmla="*/ 24 w 118"/>
                  <a:gd name="T77" fmla="*/ 225 h 525"/>
                  <a:gd name="T78" fmla="*/ 25 w 118"/>
                  <a:gd name="T79" fmla="*/ 217 h 525"/>
                  <a:gd name="T80" fmla="*/ 27 w 118"/>
                  <a:gd name="T81" fmla="*/ 213 h 525"/>
                  <a:gd name="T82" fmla="*/ 28 w 118"/>
                  <a:gd name="T83" fmla="*/ 201 h 525"/>
                  <a:gd name="T84" fmla="*/ 34 w 118"/>
                  <a:gd name="T85" fmla="*/ 188 h 525"/>
                  <a:gd name="T86" fmla="*/ 37 w 118"/>
                  <a:gd name="T87" fmla="*/ 181 h 525"/>
                  <a:gd name="T88" fmla="*/ 40 w 118"/>
                  <a:gd name="T89" fmla="*/ 168 h 525"/>
                  <a:gd name="T90" fmla="*/ 41 w 118"/>
                  <a:gd name="T91" fmla="*/ 154 h 525"/>
                  <a:gd name="T92" fmla="*/ 42 w 118"/>
                  <a:gd name="T93" fmla="*/ 141 h 525"/>
                  <a:gd name="T94" fmla="*/ 43 w 118"/>
                  <a:gd name="T95" fmla="*/ 121 h 525"/>
                  <a:gd name="T96" fmla="*/ 47 w 118"/>
                  <a:gd name="T97" fmla="*/ 109 h 525"/>
                  <a:gd name="T98" fmla="*/ 48 w 118"/>
                  <a:gd name="T99" fmla="*/ 100 h 525"/>
                  <a:gd name="T100" fmla="*/ 47 w 118"/>
                  <a:gd name="T101" fmla="*/ 88 h 525"/>
                  <a:gd name="T102" fmla="*/ 51 w 118"/>
                  <a:gd name="T103" fmla="*/ 82 h 525"/>
                  <a:gd name="T104" fmla="*/ 50 w 118"/>
                  <a:gd name="T105" fmla="*/ 64 h 525"/>
                  <a:gd name="T106" fmla="*/ 49 w 118"/>
                  <a:gd name="T107" fmla="*/ 58 h 525"/>
                  <a:gd name="T108" fmla="*/ 53 w 118"/>
                  <a:gd name="T109" fmla="*/ 46 h 525"/>
                  <a:gd name="T110" fmla="*/ 51 w 118"/>
                  <a:gd name="T111" fmla="*/ 40 h 525"/>
                  <a:gd name="T112" fmla="*/ 55 w 118"/>
                  <a:gd name="T113" fmla="*/ 40 h 525"/>
                  <a:gd name="T114" fmla="*/ 55 w 118"/>
                  <a:gd name="T115" fmla="*/ 31 h 525"/>
                  <a:gd name="T116" fmla="*/ 59 w 118"/>
                  <a:gd name="T117" fmla="*/ 14 h 525"/>
                  <a:gd name="T118" fmla="*/ 70 w 118"/>
                  <a:gd name="T119" fmla="*/ 7 h 525"/>
                  <a:gd name="T120" fmla="*/ 84 w 118"/>
                  <a:gd name="T121" fmla="*/ 6 h 5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18" h="525">
                    <a:moveTo>
                      <a:pt x="108" y="525"/>
                    </a:moveTo>
                    <a:lnTo>
                      <a:pt x="108" y="525"/>
                    </a:lnTo>
                    <a:lnTo>
                      <a:pt x="108" y="525"/>
                    </a:lnTo>
                    <a:lnTo>
                      <a:pt x="108" y="525"/>
                    </a:lnTo>
                    <a:close/>
                    <a:moveTo>
                      <a:pt x="2" y="414"/>
                    </a:moveTo>
                    <a:lnTo>
                      <a:pt x="2" y="414"/>
                    </a:lnTo>
                    <a:lnTo>
                      <a:pt x="2" y="414"/>
                    </a:lnTo>
                    <a:lnTo>
                      <a:pt x="2" y="414"/>
                    </a:lnTo>
                    <a:close/>
                    <a:moveTo>
                      <a:pt x="12" y="313"/>
                    </a:moveTo>
                    <a:lnTo>
                      <a:pt x="12" y="315"/>
                    </a:lnTo>
                    <a:lnTo>
                      <a:pt x="12" y="315"/>
                    </a:lnTo>
                    <a:lnTo>
                      <a:pt x="12" y="313"/>
                    </a:lnTo>
                    <a:close/>
                    <a:moveTo>
                      <a:pt x="45" y="91"/>
                    </a:moveTo>
                    <a:lnTo>
                      <a:pt x="45" y="92"/>
                    </a:lnTo>
                    <a:lnTo>
                      <a:pt x="44" y="93"/>
                    </a:lnTo>
                    <a:lnTo>
                      <a:pt x="44" y="93"/>
                    </a:lnTo>
                    <a:lnTo>
                      <a:pt x="45" y="91"/>
                    </a:lnTo>
                    <a:close/>
                    <a:moveTo>
                      <a:pt x="45" y="90"/>
                    </a:moveTo>
                    <a:lnTo>
                      <a:pt x="45" y="91"/>
                    </a:lnTo>
                    <a:lnTo>
                      <a:pt x="45" y="90"/>
                    </a:lnTo>
                    <a:lnTo>
                      <a:pt x="45" y="90"/>
                    </a:lnTo>
                    <a:close/>
                    <a:moveTo>
                      <a:pt x="100" y="0"/>
                    </a:moveTo>
                    <a:lnTo>
                      <a:pt x="100" y="0"/>
                    </a:lnTo>
                    <a:lnTo>
                      <a:pt x="103" y="5"/>
                    </a:lnTo>
                    <a:lnTo>
                      <a:pt x="108" y="7"/>
                    </a:lnTo>
                    <a:lnTo>
                      <a:pt x="109" y="9"/>
                    </a:lnTo>
                    <a:lnTo>
                      <a:pt x="114" y="9"/>
                    </a:lnTo>
                    <a:lnTo>
                      <a:pt x="112" y="6"/>
                    </a:lnTo>
                    <a:lnTo>
                      <a:pt x="116" y="9"/>
                    </a:lnTo>
                    <a:lnTo>
                      <a:pt x="117" y="13"/>
                    </a:lnTo>
                    <a:lnTo>
                      <a:pt x="118" y="14"/>
                    </a:lnTo>
                    <a:lnTo>
                      <a:pt x="118" y="522"/>
                    </a:lnTo>
                    <a:lnTo>
                      <a:pt x="117" y="521"/>
                    </a:lnTo>
                    <a:lnTo>
                      <a:pt x="115" y="524"/>
                    </a:lnTo>
                    <a:lnTo>
                      <a:pt x="114" y="523"/>
                    </a:lnTo>
                    <a:lnTo>
                      <a:pt x="108" y="525"/>
                    </a:lnTo>
                    <a:lnTo>
                      <a:pt x="108" y="523"/>
                    </a:lnTo>
                    <a:lnTo>
                      <a:pt x="107" y="523"/>
                    </a:lnTo>
                    <a:lnTo>
                      <a:pt x="107" y="525"/>
                    </a:lnTo>
                    <a:lnTo>
                      <a:pt x="106" y="525"/>
                    </a:lnTo>
                    <a:lnTo>
                      <a:pt x="106" y="523"/>
                    </a:lnTo>
                    <a:lnTo>
                      <a:pt x="104" y="522"/>
                    </a:lnTo>
                    <a:lnTo>
                      <a:pt x="104" y="524"/>
                    </a:lnTo>
                    <a:lnTo>
                      <a:pt x="102" y="521"/>
                    </a:lnTo>
                    <a:lnTo>
                      <a:pt x="102" y="524"/>
                    </a:lnTo>
                    <a:lnTo>
                      <a:pt x="99" y="518"/>
                    </a:lnTo>
                    <a:lnTo>
                      <a:pt x="99" y="521"/>
                    </a:lnTo>
                    <a:lnTo>
                      <a:pt x="98" y="517"/>
                    </a:lnTo>
                    <a:lnTo>
                      <a:pt x="95" y="519"/>
                    </a:lnTo>
                    <a:lnTo>
                      <a:pt x="94" y="516"/>
                    </a:lnTo>
                    <a:lnTo>
                      <a:pt x="93" y="516"/>
                    </a:lnTo>
                    <a:lnTo>
                      <a:pt x="91" y="517"/>
                    </a:lnTo>
                    <a:lnTo>
                      <a:pt x="91" y="515"/>
                    </a:lnTo>
                    <a:lnTo>
                      <a:pt x="91" y="515"/>
                    </a:lnTo>
                    <a:lnTo>
                      <a:pt x="90" y="514"/>
                    </a:lnTo>
                    <a:lnTo>
                      <a:pt x="89" y="516"/>
                    </a:lnTo>
                    <a:lnTo>
                      <a:pt x="89" y="513"/>
                    </a:lnTo>
                    <a:lnTo>
                      <a:pt x="85" y="515"/>
                    </a:lnTo>
                    <a:lnTo>
                      <a:pt x="83" y="513"/>
                    </a:lnTo>
                    <a:lnTo>
                      <a:pt x="83" y="515"/>
                    </a:lnTo>
                    <a:lnTo>
                      <a:pt x="82" y="514"/>
                    </a:lnTo>
                    <a:lnTo>
                      <a:pt x="83" y="517"/>
                    </a:lnTo>
                    <a:lnTo>
                      <a:pt x="82" y="514"/>
                    </a:lnTo>
                    <a:lnTo>
                      <a:pt x="81" y="514"/>
                    </a:lnTo>
                    <a:lnTo>
                      <a:pt x="76" y="509"/>
                    </a:lnTo>
                    <a:lnTo>
                      <a:pt x="74" y="511"/>
                    </a:lnTo>
                    <a:lnTo>
                      <a:pt x="73" y="510"/>
                    </a:lnTo>
                    <a:lnTo>
                      <a:pt x="72" y="509"/>
                    </a:lnTo>
                    <a:lnTo>
                      <a:pt x="72" y="510"/>
                    </a:lnTo>
                    <a:lnTo>
                      <a:pt x="70" y="509"/>
                    </a:lnTo>
                    <a:lnTo>
                      <a:pt x="68" y="509"/>
                    </a:lnTo>
                    <a:lnTo>
                      <a:pt x="68" y="511"/>
                    </a:lnTo>
                    <a:lnTo>
                      <a:pt x="67" y="510"/>
                    </a:lnTo>
                    <a:lnTo>
                      <a:pt x="67" y="509"/>
                    </a:lnTo>
                    <a:lnTo>
                      <a:pt x="64" y="514"/>
                    </a:lnTo>
                    <a:lnTo>
                      <a:pt x="61" y="511"/>
                    </a:lnTo>
                    <a:lnTo>
                      <a:pt x="59" y="510"/>
                    </a:lnTo>
                    <a:lnTo>
                      <a:pt x="57" y="514"/>
                    </a:lnTo>
                    <a:lnTo>
                      <a:pt x="57" y="510"/>
                    </a:lnTo>
                    <a:lnTo>
                      <a:pt x="56" y="513"/>
                    </a:lnTo>
                    <a:lnTo>
                      <a:pt x="56" y="510"/>
                    </a:lnTo>
                    <a:lnTo>
                      <a:pt x="55" y="513"/>
                    </a:lnTo>
                    <a:lnTo>
                      <a:pt x="52" y="510"/>
                    </a:lnTo>
                    <a:lnTo>
                      <a:pt x="52" y="509"/>
                    </a:lnTo>
                    <a:lnTo>
                      <a:pt x="50" y="510"/>
                    </a:lnTo>
                    <a:lnTo>
                      <a:pt x="50" y="509"/>
                    </a:lnTo>
                    <a:lnTo>
                      <a:pt x="49" y="513"/>
                    </a:lnTo>
                    <a:lnTo>
                      <a:pt x="47" y="514"/>
                    </a:lnTo>
                    <a:lnTo>
                      <a:pt x="45" y="511"/>
                    </a:lnTo>
                    <a:lnTo>
                      <a:pt x="44" y="514"/>
                    </a:lnTo>
                    <a:lnTo>
                      <a:pt x="42" y="511"/>
                    </a:lnTo>
                    <a:lnTo>
                      <a:pt x="41" y="513"/>
                    </a:lnTo>
                    <a:lnTo>
                      <a:pt x="41" y="510"/>
                    </a:lnTo>
                    <a:lnTo>
                      <a:pt x="41" y="511"/>
                    </a:lnTo>
                    <a:lnTo>
                      <a:pt x="40" y="509"/>
                    </a:lnTo>
                    <a:lnTo>
                      <a:pt x="39" y="508"/>
                    </a:lnTo>
                    <a:lnTo>
                      <a:pt x="36" y="509"/>
                    </a:lnTo>
                    <a:lnTo>
                      <a:pt x="35" y="513"/>
                    </a:lnTo>
                    <a:lnTo>
                      <a:pt x="32" y="508"/>
                    </a:lnTo>
                    <a:lnTo>
                      <a:pt x="34" y="511"/>
                    </a:lnTo>
                    <a:lnTo>
                      <a:pt x="30" y="508"/>
                    </a:lnTo>
                    <a:lnTo>
                      <a:pt x="32" y="511"/>
                    </a:lnTo>
                    <a:lnTo>
                      <a:pt x="28" y="508"/>
                    </a:lnTo>
                    <a:lnTo>
                      <a:pt x="28" y="509"/>
                    </a:lnTo>
                    <a:lnTo>
                      <a:pt x="27" y="508"/>
                    </a:lnTo>
                    <a:lnTo>
                      <a:pt x="25" y="508"/>
                    </a:lnTo>
                    <a:lnTo>
                      <a:pt x="24" y="513"/>
                    </a:lnTo>
                    <a:lnTo>
                      <a:pt x="24" y="509"/>
                    </a:lnTo>
                    <a:lnTo>
                      <a:pt x="23" y="508"/>
                    </a:lnTo>
                    <a:lnTo>
                      <a:pt x="22" y="509"/>
                    </a:lnTo>
                    <a:lnTo>
                      <a:pt x="20" y="507"/>
                    </a:lnTo>
                    <a:lnTo>
                      <a:pt x="20" y="509"/>
                    </a:lnTo>
                    <a:lnTo>
                      <a:pt x="18" y="508"/>
                    </a:lnTo>
                    <a:lnTo>
                      <a:pt x="18" y="510"/>
                    </a:lnTo>
                    <a:lnTo>
                      <a:pt x="17" y="508"/>
                    </a:lnTo>
                    <a:lnTo>
                      <a:pt x="16" y="509"/>
                    </a:lnTo>
                    <a:lnTo>
                      <a:pt x="15" y="506"/>
                    </a:lnTo>
                    <a:lnTo>
                      <a:pt x="10" y="508"/>
                    </a:lnTo>
                    <a:lnTo>
                      <a:pt x="12" y="510"/>
                    </a:lnTo>
                    <a:lnTo>
                      <a:pt x="9" y="510"/>
                    </a:lnTo>
                    <a:lnTo>
                      <a:pt x="10" y="514"/>
                    </a:lnTo>
                    <a:lnTo>
                      <a:pt x="9" y="514"/>
                    </a:lnTo>
                    <a:lnTo>
                      <a:pt x="9" y="511"/>
                    </a:lnTo>
                    <a:lnTo>
                      <a:pt x="9" y="513"/>
                    </a:lnTo>
                    <a:lnTo>
                      <a:pt x="8" y="510"/>
                    </a:lnTo>
                    <a:lnTo>
                      <a:pt x="7" y="517"/>
                    </a:lnTo>
                    <a:lnTo>
                      <a:pt x="6" y="519"/>
                    </a:lnTo>
                    <a:lnTo>
                      <a:pt x="5" y="508"/>
                    </a:lnTo>
                    <a:lnTo>
                      <a:pt x="5" y="503"/>
                    </a:lnTo>
                    <a:lnTo>
                      <a:pt x="6" y="505"/>
                    </a:lnTo>
                    <a:lnTo>
                      <a:pt x="6" y="500"/>
                    </a:lnTo>
                    <a:lnTo>
                      <a:pt x="0" y="502"/>
                    </a:lnTo>
                    <a:lnTo>
                      <a:pt x="6" y="499"/>
                    </a:lnTo>
                    <a:lnTo>
                      <a:pt x="3" y="499"/>
                    </a:lnTo>
                    <a:lnTo>
                      <a:pt x="5" y="496"/>
                    </a:lnTo>
                    <a:lnTo>
                      <a:pt x="2" y="494"/>
                    </a:lnTo>
                    <a:lnTo>
                      <a:pt x="2" y="492"/>
                    </a:lnTo>
                    <a:lnTo>
                      <a:pt x="5" y="494"/>
                    </a:lnTo>
                    <a:lnTo>
                      <a:pt x="5" y="493"/>
                    </a:lnTo>
                    <a:lnTo>
                      <a:pt x="7" y="490"/>
                    </a:lnTo>
                    <a:lnTo>
                      <a:pt x="6" y="488"/>
                    </a:lnTo>
                    <a:lnTo>
                      <a:pt x="5" y="485"/>
                    </a:lnTo>
                    <a:lnTo>
                      <a:pt x="6" y="484"/>
                    </a:lnTo>
                    <a:lnTo>
                      <a:pt x="5" y="478"/>
                    </a:lnTo>
                    <a:lnTo>
                      <a:pt x="2" y="477"/>
                    </a:lnTo>
                    <a:lnTo>
                      <a:pt x="6" y="476"/>
                    </a:lnTo>
                    <a:lnTo>
                      <a:pt x="5" y="476"/>
                    </a:lnTo>
                    <a:lnTo>
                      <a:pt x="6" y="476"/>
                    </a:lnTo>
                    <a:lnTo>
                      <a:pt x="3" y="473"/>
                    </a:lnTo>
                    <a:lnTo>
                      <a:pt x="6" y="464"/>
                    </a:lnTo>
                    <a:lnTo>
                      <a:pt x="5" y="465"/>
                    </a:lnTo>
                    <a:lnTo>
                      <a:pt x="6" y="464"/>
                    </a:lnTo>
                    <a:lnTo>
                      <a:pt x="5" y="463"/>
                    </a:lnTo>
                    <a:lnTo>
                      <a:pt x="5" y="460"/>
                    </a:lnTo>
                    <a:lnTo>
                      <a:pt x="6" y="461"/>
                    </a:lnTo>
                    <a:lnTo>
                      <a:pt x="3" y="459"/>
                    </a:lnTo>
                    <a:lnTo>
                      <a:pt x="6" y="454"/>
                    </a:lnTo>
                    <a:lnTo>
                      <a:pt x="5" y="452"/>
                    </a:lnTo>
                    <a:lnTo>
                      <a:pt x="6" y="446"/>
                    </a:lnTo>
                    <a:lnTo>
                      <a:pt x="7" y="447"/>
                    </a:lnTo>
                    <a:lnTo>
                      <a:pt x="7" y="444"/>
                    </a:lnTo>
                    <a:lnTo>
                      <a:pt x="5" y="446"/>
                    </a:lnTo>
                    <a:lnTo>
                      <a:pt x="6" y="443"/>
                    </a:lnTo>
                    <a:lnTo>
                      <a:pt x="6" y="444"/>
                    </a:lnTo>
                    <a:lnTo>
                      <a:pt x="6" y="441"/>
                    </a:lnTo>
                    <a:lnTo>
                      <a:pt x="5" y="441"/>
                    </a:lnTo>
                    <a:lnTo>
                      <a:pt x="5" y="436"/>
                    </a:lnTo>
                    <a:lnTo>
                      <a:pt x="6" y="436"/>
                    </a:lnTo>
                    <a:lnTo>
                      <a:pt x="6" y="434"/>
                    </a:lnTo>
                    <a:lnTo>
                      <a:pt x="6" y="435"/>
                    </a:lnTo>
                    <a:lnTo>
                      <a:pt x="6" y="432"/>
                    </a:lnTo>
                    <a:lnTo>
                      <a:pt x="5" y="433"/>
                    </a:lnTo>
                    <a:lnTo>
                      <a:pt x="5" y="426"/>
                    </a:lnTo>
                    <a:lnTo>
                      <a:pt x="3" y="419"/>
                    </a:lnTo>
                    <a:lnTo>
                      <a:pt x="5" y="422"/>
                    </a:lnTo>
                    <a:lnTo>
                      <a:pt x="5" y="415"/>
                    </a:lnTo>
                    <a:lnTo>
                      <a:pt x="6" y="414"/>
                    </a:lnTo>
                    <a:lnTo>
                      <a:pt x="5" y="413"/>
                    </a:lnTo>
                    <a:lnTo>
                      <a:pt x="2" y="414"/>
                    </a:lnTo>
                    <a:lnTo>
                      <a:pt x="7" y="411"/>
                    </a:lnTo>
                    <a:lnTo>
                      <a:pt x="6" y="405"/>
                    </a:lnTo>
                    <a:lnTo>
                      <a:pt x="3" y="402"/>
                    </a:lnTo>
                    <a:lnTo>
                      <a:pt x="6" y="404"/>
                    </a:lnTo>
                    <a:lnTo>
                      <a:pt x="6" y="399"/>
                    </a:lnTo>
                    <a:lnTo>
                      <a:pt x="5" y="399"/>
                    </a:lnTo>
                    <a:lnTo>
                      <a:pt x="2" y="398"/>
                    </a:lnTo>
                    <a:lnTo>
                      <a:pt x="7" y="396"/>
                    </a:lnTo>
                    <a:lnTo>
                      <a:pt x="5" y="396"/>
                    </a:lnTo>
                    <a:lnTo>
                      <a:pt x="8" y="396"/>
                    </a:lnTo>
                    <a:lnTo>
                      <a:pt x="6" y="394"/>
                    </a:lnTo>
                    <a:lnTo>
                      <a:pt x="6" y="392"/>
                    </a:lnTo>
                    <a:lnTo>
                      <a:pt x="7" y="390"/>
                    </a:lnTo>
                    <a:lnTo>
                      <a:pt x="6" y="389"/>
                    </a:lnTo>
                    <a:lnTo>
                      <a:pt x="8" y="388"/>
                    </a:lnTo>
                    <a:lnTo>
                      <a:pt x="3" y="382"/>
                    </a:lnTo>
                    <a:lnTo>
                      <a:pt x="7" y="386"/>
                    </a:lnTo>
                    <a:lnTo>
                      <a:pt x="8" y="382"/>
                    </a:lnTo>
                    <a:lnTo>
                      <a:pt x="8" y="383"/>
                    </a:lnTo>
                    <a:lnTo>
                      <a:pt x="6" y="382"/>
                    </a:lnTo>
                    <a:lnTo>
                      <a:pt x="7" y="381"/>
                    </a:lnTo>
                    <a:lnTo>
                      <a:pt x="7" y="368"/>
                    </a:lnTo>
                    <a:lnTo>
                      <a:pt x="8" y="369"/>
                    </a:lnTo>
                    <a:lnTo>
                      <a:pt x="8" y="364"/>
                    </a:lnTo>
                    <a:lnTo>
                      <a:pt x="7" y="364"/>
                    </a:lnTo>
                    <a:lnTo>
                      <a:pt x="7" y="362"/>
                    </a:lnTo>
                    <a:lnTo>
                      <a:pt x="9" y="362"/>
                    </a:lnTo>
                    <a:lnTo>
                      <a:pt x="7" y="360"/>
                    </a:lnTo>
                    <a:lnTo>
                      <a:pt x="8" y="360"/>
                    </a:lnTo>
                    <a:lnTo>
                      <a:pt x="8" y="358"/>
                    </a:lnTo>
                    <a:lnTo>
                      <a:pt x="7" y="359"/>
                    </a:lnTo>
                    <a:lnTo>
                      <a:pt x="9" y="354"/>
                    </a:lnTo>
                    <a:lnTo>
                      <a:pt x="8" y="351"/>
                    </a:lnTo>
                    <a:lnTo>
                      <a:pt x="9" y="350"/>
                    </a:lnTo>
                    <a:lnTo>
                      <a:pt x="8" y="349"/>
                    </a:lnTo>
                    <a:lnTo>
                      <a:pt x="9" y="347"/>
                    </a:lnTo>
                    <a:lnTo>
                      <a:pt x="11" y="342"/>
                    </a:lnTo>
                    <a:lnTo>
                      <a:pt x="5" y="340"/>
                    </a:lnTo>
                    <a:lnTo>
                      <a:pt x="10" y="340"/>
                    </a:lnTo>
                    <a:lnTo>
                      <a:pt x="9" y="335"/>
                    </a:lnTo>
                    <a:lnTo>
                      <a:pt x="11" y="339"/>
                    </a:lnTo>
                    <a:lnTo>
                      <a:pt x="8" y="334"/>
                    </a:lnTo>
                    <a:lnTo>
                      <a:pt x="10" y="331"/>
                    </a:lnTo>
                    <a:lnTo>
                      <a:pt x="9" y="331"/>
                    </a:lnTo>
                    <a:lnTo>
                      <a:pt x="9" y="329"/>
                    </a:lnTo>
                    <a:lnTo>
                      <a:pt x="9" y="325"/>
                    </a:lnTo>
                    <a:lnTo>
                      <a:pt x="9" y="323"/>
                    </a:lnTo>
                    <a:lnTo>
                      <a:pt x="11" y="327"/>
                    </a:lnTo>
                    <a:lnTo>
                      <a:pt x="10" y="325"/>
                    </a:lnTo>
                    <a:lnTo>
                      <a:pt x="12" y="322"/>
                    </a:lnTo>
                    <a:lnTo>
                      <a:pt x="11" y="323"/>
                    </a:lnTo>
                    <a:lnTo>
                      <a:pt x="12" y="316"/>
                    </a:lnTo>
                    <a:lnTo>
                      <a:pt x="14" y="316"/>
                    </a:lnTo>
                    <a:lnTo>
                      <a:pt x="12" y="315"/>
                    </a:lnTo>
                    <a:lnTo>
                      <a:pt x="15" y="313"/>
                    </a:lnTo>
                    <a:lnTo>
                      <a:pt x="14" y="310"/>
                    </a:lnTo>
                    <a:lnTo>
                      <a:pt x="14" y="307"/>
                    </a:lnTo>
                    <a:lnTo>
                      <a:pt x="16" y="307"/>
                    </a:lnTo>
                    <a:lnTo>
                      <a:pt x="17" y="302"/>
                    </a:lnTo>
                    <a:lnTo>
                      <a:pt x="17" y="297"/>
                    </a:lnTo>
                    <a:lnTo>
                      <a:pt x="16" y="295"/>
                    </a:lnTo>
                    <a:lnTo>
                      <a:pt x="18" y="297"/>
                    </a:lnTo>
                    <a:lnTo>
                      <a:pt x="17" y="295"/>
                    </a:lnTo>
                    <a:lnTo>
                      <a:pt x="19" y="295"/>
                    </a:lnTo>
                    <a:lnTo>
                      <a:pt x="18" y="292"/>
                    </a:lnTo>
                    <a:lnTo>
                      <a:pt x="19" y="291"/>
                    </a:lnTo>
                    <a:lnTo>
                      <a:pt x="18" y="290"/>
                    </a:lnTo>
                    <a:lnTo>
                      <a:pt x="18" y="288"/>
                    </a:lnTo>
                    <a:lnTo>
                      <a:pt x="19" y="289"/>
                    </a:lnTo>
                    <a:lnTo>
                      <a:pt x="19" y="287"/>
                    </a:lnTo>
                    <a:lnTo>
                      <a:pt x="20" y="285"/>
                    </a:lnTo>
                    <a:lnTo>
                      <a:pt x="18" y="281"/>
                    </a:lnTo>
                    <a:lnTo>
                      <a:pt x="19" y="283"/>
                    </a:lnTo>
                    <a:lnTo>
                      <a:pt x="19" y="281"/>
                    </a:lnTo>
                    <a:lnTo>
                      <a:pt x="17" y="281"/>
                    </a:lnTo>
                    <a:lnTo>
                      <a:pt x="18" y="276"/>
                    </a:lnTo>
                    <a:lnTo>
                      <a:pt x="18" y="270"/>
                    </a:lnTo>
                    <a:lnTo>
                      <a:pt x="16" y="267"/>
                    </a:lnTo>
                    <a:lnTo>
                      <a:pt x="20" y="258"/>
                    </a:lnTo>
                    <a:lnTo>
                      <a:pt x="19" y="257"/>
                    </a:lnTo>
                    <a:lnTo>
                      <a:pt x="22" y="257"/>
                    </a:lnTo>
                    <a:lnTo>
                      <a:pt x="20" y="240"/>
                    </a:lnTo>
                    <a:lnTo>
                      <a:pt x="22" y="240"/>
                    </a:lnTo>
                    <a:lnTo>
                      <a:pt x="20" y="239"/>
                    </a:lnTo>
                    <a:lnTo>
                      <a:pt x="23" y="238"/>
                    </a:lnTo>
                    <a:lnTo>
                      <a:pt x="25" y="232"/>
                    </a:lnTo>
                    <a:lnTo>
                      <a:pt x="24" y="231"/>
                    </a:lnTo>
                    <a:lnTo>
                      <a:pt x="24" y="230"/>
                    </a:lnTo>
                    <a:lnTo>
                      <a:pt x="25" y="229"/>
                    </a:lnTo>
                    <a:lnTo>
                      <a:pt x="25" y="229"/>
                    </a:lnTo>
                    <a:lnTo>
                      <a:pt x="25" y="229"/>
                    </a:lnTo>
                    <a:lnTo>
                      <a:pt x="24" y="231"/>
                    </a:lnTo>
                    <a:lnTo>
                      <a:pt x="26" y="227"/>
                    </a:lnTo>
                    <a:lnTo>
                      <a:pt x="24" y="225"/>
                    </a:lnTo>
                    <a:lnTo>
                      <a:pt x="24" y="223"/>
                    </a:lnTo>
                    <a:lnTo>
                      <a:pt x="25" y="225"/>
                    </a:lnTo>
                    <a:lnTo>
                      <a:pt x="25" y="222"/>
                    </a:lnTo>
                    <a:lnTo>
                      <a:pt x="24" y="223"/>
                    </a:lnTo>
                    <a:lnTo>
                      <a:pt x="25" y="222"/>
                    </a:lnTo>
                    <a:lnTo>
                      <a:pt x="23" y="221"/>
                    </a:lnTo>
                    <a:lnTo>
                      <a:pt x="25" y="217"/>
                    </a:lnTo>
                    <a:lnTo>
                      <a:pt x="23" y="218"/>
                    </a:lnTo>
                    <a:lnTo>
                      <a:pt x="24" y="216"/>
                    </a:lnTo>
                    <a:lnTo>
                      <a:pt x="25" y="217"/>
                    </a:lnTo>
                    <a:lnTo>
                      <a:pt x="25" y="214"/>
                    </a:lnTo>
                    <a:lnTo>
                      <a:pt x="26" y="215"/>
                    </a:lnTo>
                    <a:lnTo>
                      <a:pt x="26" y="213"/>
                    </a:lnTo>
                    <a:lnTo>
                      <a:pt x="27" y="213"/>
                    </a:lnTo>
                    <a:lnTo>
                      <a:pt x="26" y="212"/>
                    </a:lnTo>
                    <a:lnTo>
                      <a:pt x="28" y="213"/>
                    </a:lnTo>
                    <a:lnTo>
                      <a:pt x="30" y="209"/>
                    </a:lnTo>
                    <a:lnTo>
                      <a:pt x="28" y="209"/>
                    </a:lnTo>
                    <a:lnTo>
                      <a:pt x="27" y="206"/>
                    </a:lnTo>
                    <a:lnTo>
                      <a:pt x="30" y="206"/>
                    </a:lnTo>
                    <a:lnTo>
                      <a:pt x="28" y="201"/>
                    </a:lnTo>
                    <a:lnTo>
                      <a:pt x="32" y="200"/>
                    </a:lnTo>
                    <a:lnTo>
                      <a:pt x="30" y="199"/>
                    </a:lnTo>
                    <a:lnTo>
                      <a:pt x="31" y="198"/>
                    </a:lnTo>
                    <a:lnTo>
                      <a:pt x="32" y="193"/>
                    </a:lnTo>
                    <a:lnTo>
                      <a:pt x="35" y="193"/>
                    </a:lnTo>
                    <a:lnTo>
                      <a:pt x="35" y="191"/>
                    </a:lnTo>
                    <a:lnTo>
                      <a:pt x="34" y="188"/>
                    </a:lnTo>
                    <a:lnTo>
                      <a:pt x="31" y="187"/>
                    </a:lnTo>
                    <a:lnTo>
                      <a:pt x="32" y="184"/>
                    </a:lnTo>
                    <a:lnTo>
                      <a:pt x="34" y="187"/>
                    </a:lnTo>
                    <a:lnTo>
                      <a:pt x="36" y="185"/>
                    </a:lnTo>
                    <a:lnTo>
                      <a:pt x="33" y="183"/>
                    </a:lnTo>
                    <a:lnTo>
                      <a:pt x="37" y="183"/>
                    </a:lnTo>
                    <a:lnTo>
                      <a:pt x="37" y="181"/>
                    </a:lnTo>
                    <a:lnTo>
                      <a:pt x="36" y="181"/>
                    </a:lnTo>
                    <a:lnTo>
                      <a:pt x="40" y="176"/>
                    </a:lnTo>
                    <a:lnTo>
                      <a:pt x="39" y="173"/>
                    </a:lnTo>
                    <a:lnTo>
                      <a:pt x="40" y="171"/>
                    </a:lnTo>
                    <a:lnTo>
                      <a:pt x="41" y="172"/>
                    </a:lnTo>
                    <a:lnTo>
                      <a:pt x="41" y="168"/>
                    </a:lnTo>
                    <a:lnTo>
                      <a:pt x="40" y="168"/>
                    </a:lnTo>
                    <a:lnTo>
                      <a:pt x="39" y="167"/>
                    </a:lnTo>
                    <a:lnTo>
                      <a:pt x="42" y="167"/>
                    </a:lnTo>
                    <a:lnTo>
                      <a:pt x="42" y="162"/>
                    </a:lnTo>
                    <a:lnTo>
                      <a:pt x="42" y="160"/>
                    </a:lnTo>
                    <a:lnTo>
                      <a:pt x="40" y="159"/>
                    </a:lnTo>
                    <a:lnTo>
                      <a:pt x="42" y="159"/>
                    </a:lnTo>
                    <a:lnTo>
                      <a:pt x="41" y="154"/>
                    </a:lnTo>
                    <a:lnTo>
                      <a:pt x="43" y="153"/>
                    </a:lnTo>
                    <a:lnTo>
                      <a:pt x="43" y="150"/>
                    </a:lnTo>
                    <a:lnTo>
                      <a:pt x="42" y="149"/>
                    </a:lnTo>
                    <a:lnTo>
                      <a:pt x="43" y="149"/>
                    </a:lnTo>
                    <a:lnTo>
                      <a:pt x="41" y="146"/>
                    </a:lnTo>
                    <a:lnTo>
                      <a:pt x="44" y="143"/>
                    </a:lnTo>
                    <a:lnTo>
                      <a:pt x="42" y="141"/>
                    </a:lnTo>
                    <a:lnTo>
                      <a:pt x="44" y="140"/>
                    </a:lnTo>
                    <a:lnTo>
                      <a:pt x="42" y="138"/>
                    </a:lnTo>
                    <a:lnTo>
                      <a:pt x="43" y="138"/>
                    </a:lnTo>
                    <a:lnTo>
                      <a:pt x="43" y="137"/>
                    </a:lnTo>
                    <a:lnTo>
                      <a:pt x="43" y="133"/>
                    </a:lnTo>
                    <a:lnTo>
                      <a:pt x="42" y="133"/>
                    </a:lnTo>
                    <a:lnTo>
                      <a:pt x="43" y="121"/>
                    </a:lnTo>
                    <a:lnTo>
                      <a:pt x="45" y="121"/>
                    </a:lnTo>
                    <a:lnTo>
                      <a:pt x="44" y="115"/>
                    </a:lnTo>
                    <a:lnTo>
                      <a:pt x="45" y="118"/>
                    </a:lnTo>
                    <a:lnTo>
                      <a:pt x="48" y="118"/>
                    </a:lnTo>
                    <a:lnTo>
                      <a:pt x="48" y="117"/>
                    </a:lnTo>
                    <a:lnTo>
                      <a:pt x="45" y="115"/>
                    </a:lnTo>
                    <a:lnTo>
                      <a:pt x="47" y="109"/>
                    </a:lnTo>
                    <a:lnTo>
                      <a:pt x="48" y="111"/>
                    </a:lnTo>
                    <a:lnTo>
                      <a:pt x="47" y="108"/>
                    </a:lnTo>
                    <a:lnTo>
                      <a:pt x="49" y="107"/>
                    </a:lnTo>
                    <a:lnTo>
                      <a:pt x="49" y="106"/>
                    </a:lnTo>
                    <a:lnTo>
                      <a:pt x="47" y="101"/>
                    </a:lnTo>
                    <a:lnTo>
                      <a:pt x="50" y="103"/>
                    </a:lnTo>
                    <a:lnTo>
                      <a:pt x="48" y="100"/>
                    </a:lnTo>
                    <a:lnTo>
                      <a:pt x="49" y="100"/>
                    </a:lnTo>
                    <a:lnTo>
                      <a:pt x="50" y="100"/>
                    </a:lnTo>
                    <a:lnTo>
                      <a:pt x="49" y="100"/>
                    </a:lnTo>
                    <a:lnTo>
                      <a:pt x="49" y="88"/>
                    </a:lnTo>
                    <a:lnTo>
                      <a:pt x="48" y="89"/>
                    </a:lnTo>
                    <a:lnTo>
                      <a:pt x="45" y="90"/>
                    </a:lnTo>
                    <a:lnTo>
                      <a:pt x="47" y="88"/>
                    </a:lnTo>
                    <a:lnTo>
                      <a:pt x="48" y="87"/>
                    </a:lnTo>
                    <a:lnTo>
                      <a:pt x="50" y="88"/>
                    </a:lnTo>
                    <a:lnTo>
                      <a:pt x="51" y="87"/>
                    </a:lnTo>
                    <a:lnTo>
                      <a:pt x="50" y="84"/>
                    </a:lnTo>
                    <a:lnTo>
                      <a:pt x="51" y="84"/>
                    </a:lnTo>
                    <a:lnTo>
                      <a:pt x="49" y="83"/>
                    </a:lnTo>
                    <a:lnTo>
                      <a:pt x="51" y="82"/>
                    </a:lnTo>
                    <a:lnTo>
                      <a:pt x="49" y="75"/>
                    </a:lnTo>
                    <a:lnTo>
                      <a:pt x="48" y="75"/>
                    </a:lnTo>
                    <a:lnTo>
                      <a:pt x="44" y="73"/>
                    </a:lnTo>
                    <a:lnTo>
                      <a:pt x="49" y="68"/>
                    </a:lnTo>
                    <a:lnTo>
                      <a:pt x="50" y="64"/>
                    </a:lnTo>
                    <a:lnTo>
                      <a:pt x="49" y="65"/>
                    </a:lnTo>
                    <a:lnTo>
                      <a:pt x="50" y="64"/>
                    </a:lnTo>
                    <a:lnTo>
                      <a:pt x="48" y="62"/>
                    </a:lnTo>
                    <a:lnTo>
                      <a:pt x="49" y="59"/>
                    </a:lnTo>
                    <a:lnTo>
                      <a:pt x="50" y="61"/>
                    </a:lnTo>
                    <a:lnTo>
                      <a:pt x="52" y="59"/>
                    </a:lnTo>
                    <a:lnTo>
                      <a:pt x="51" y="57"/>
                    </a:lnTo>
                    <a:lnTo>
                      <a:pt x="49" y="59"/>
                    </a:lnTo>
                    <a:lnTo>
                      <a:pt x="49" y="58"/>
                    </a:lnTo>
                    <a:lnTo>
                      <a:pt x="48" y="57"/>
                    </a:lnTo>
                    <a:lnTo>
                      <a:pt x="52" y="55"/>
                    </a:lnTo>
                    <a:lnTo>
                      <a:pt x="55" y="50"/>
                    </a:lnTo>
                    <a:lnTo>
                      <a:pt x="53" y="50"/>
                    </a:lnTo>
                    <a:lnTo>
                      <a:pt x="53" y="48"/>
                    </a:lnTo>
                    <a:lnTo>
                      <a:pt x="55" y="49"/>
                    </a:lnTo>
                    <a:lnTo>
                      <a:pt x="53" y="46"/>
                    </a:lnTo>
                    <a:lnTo>
                      <a:pt x="56" y="47"/>
                    </a:lnTo>
                    <a:lnTo>
                      <a:pt x="56" y="45"/>
                    </a:lnTo>
                    <a:lnTo>
                      <a:pt x="51" y="46"/>
                    </a:lnTo>
                    <a:lnTo>
                      <a:pt x="55" y="45"/>
                    </a:lnTo>
                    <a:lnTo>
                      <a:pt x="55" y="42"/>
                    </a:lnTo>
                    <a:lnTo>
                      <a:pt x="51" y="42"/>
                    </a:lnTo>
                    <a:lnTo>
                      <a:pt x="51" y="40"/>
                    </a:lnTo>
                    <a:lnTo>
                      <a:pt x="52" y="39"/>
                    </a:lnTo>
                    <a:lnTo>
                      <a:pt x="53" y="40"/>
                    </a:lnTo>
                    <a:lnTo>
                      <a:pt x="52" y="40"/>
                    </a:lnTo>
                    <a:lnTo>
                      <a:pt x="55" y="41"/>
                    </a:lnTo>
                    <a:lnTo>
                      <a:pt x="53" y="40"/>
                    </a:lnTo>
                    <a:lnTo>
                      <a:pt x="55" y="40"/>
                    </a:lnTo>
                    <a:lnTo>
                      <a:pt x="55" y="40"/>
                    </a:lnTo>
                    <a:lnTo>
                      <a:pt x="55" y="38"/>
                    </a:lnTo>
                    <a:lnTo>
                      <a:pt x="53" y="38"/>
                    </a:lnTo>
                    <a:lnTo>
                      <a:pt x="56" y="37"/>
                    </a:lnTo>
                    <a:lnTo>
                      <a:pt x="55" y="36"/>
                    </a:lnTo>
                    <a:lnTo>
                      <a:pt x="55" y="33"/>
                    </a:lnTo>
                    <a:lnTo>
                      <a:pt x="56" y="33"/>
                    </a:lnTo>
                    <a:lnTo>
                      <a:pt x="55" y="31"/>
                    </a:lnTo>
                    <a:lnTo>
                      <a:pt x="53" y="30"/>
                    </a:lnTo>
                    <a:lnTo>
                      <a:pt x="56" y="26"/>
                    </a:lnTo>
                    <a:lnTo>
                      <a:pt x="55" y="23"/>
                    </a:lnTo>
                    <a:lnTo>
                      <a:pt x="59" y="20"/>
                    </a:lnTo>
                    <a:lnTo>
                      <a:pt x="58" y="19"/>
                    </a:lnTo>
                    <a:lnTo>
                      <a:pt x="58" y="15"/>
                    </a:lnTo>
                    <a:lnTo>
                      <a:pt x="59" y="14"/>
                    </a:lnTo>
                    <a:lnTo>
                      <a:pt x="61" y="15"/>
                    </a:lnTo>
                    <a:lnTo>
                      <a:pt x="62" y="13"/>
                    </a:lnTo>
                    <a:lnTo>
                      <a:pt x="68" y="6"/>
                    </a:lnTo>
                    <a:lnTo>
                      <a:pt x="68" y="5"/>
                    </a:lnTo>
                    <a:lnTo>
                      <a:pt x="69" y="6"/>
                    </a:lnTo>
                    <a:lnTo>
                      <a:pt x="70" y="5"/>
                    </a:lnTo>
                    <a:lnTo>
                      <a:pt x="70" y="7"/>
                    </a:lnTo>
                    <a:lnTo>
                      <a:pt x="73" y="5"/>
                    </a:lnTo>
                    <a:lnTo>
                      <a:pt x="74" y="6"/>
                    </a:lnTo>
                    <a:lnTo>
                      <a:pt x="76" y="6"/>
                    </a:lnTo>
                    <a:lnTo>
                      <a:pt x="78" y="7"/>
                    </a:lnTo>
                    <a:lnTo>
                      <a:pt x="81" y="7"/>
                    </a:lnTo>
                    <a:lnTo>
                      <a:pt x="83" y="7"/>
                    </a:lnTo>
                    <a:lnTo>
                      <a:pt x="84" y="6"/>
                    </a:lnTo>
                    <a:lnTo>
                      <a:pt x="85" y="4"/>
                    </a:lnTo>
                    <a:lnTo>
                      <a:pt x="87" y="7"/>
                    </a:lnTo>
                    <a:lnTo>
                      <a:pt x="89" y="5"/>
                    </a:lnTo>
                    <a:lnTo>
                      <a:pt x="90" y="6"/>
                    </a:lnTo>
                    <a:lnTo>
                      <a:pt x="100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E20074"/>
                  </a:buClr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0" cap="none" spc="0" normalizeH="0" baseline="0" noProof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02" name="Freeform 142"/>
              <p:cNvSpPr>
                <a:spLocks/>
              </p:cNvSpPr>
              <p:nvPr/>
            </p:nvSpPr>
            <p:spPr bwMode="auto">
              <a:xfrm>
                <a:off x="11358564" y="515939"/>
                <a:ext cx="185738" cy="836613"/>
              </a:xfrm>
              <a:custGeom>
                <a:avLst/>
                <a:gdLst>
                  <a:gd name="T0" fmla="*/ 4 w 117"/>
                  <a:gd name="T1" fmla="*/ 5 h 527"/>
                  <a:gd name="T2" fmla="*/ 7 w 117"/>
                  <a:gd name="T3" fmla="*/ 5 h 527"/>
                  <a:gd name="T4" fmla="*/ 10 w 117"/>
                  <a:gd name="T5" fmla="*/ 7 h 527"/>
                  <a:gd name="T6" fmla="*/ 14 w 117"/>
                  <a:gd name="T7" fmla="*/ 5 h 527"/>
                  <a:gd name="T8" fmla="*/ 18 w 117"/>
                  <a:gd name="T9" fmla="*/ 5 h 527"/>
                  <a:gd name="T10" fmla="*/ 23 w 117"/>
                  <a:gd name="T11" fmla="*/ 5 h 527"/>
                  <a:gd name="T12" fmla="*/ 24 w 117"/>
                  <a:gd name="T13" fmla="*/ 6 h 527"/>
                  <a:gd name="T14" fmla="*/ 29 w 117"/>
                  <a:gd name="T15" fmla="*/ 7 h 527"/>
                  <a:gd name="T16" fmla="*/ 32 w 117"/>
                  <a:gd name="T17" fmla="*/ 7 h 527"/>
                  <a:gd name="T18" fmla="*/ 40 w 117"/>
                  <a:gd name="T19" fmla="*/ 6 h 527"/>
                  <a:gd name="T20" fmla="*/ 47 w 117"/>
                  <a:gd name="T21" fmla="*/ 10 h 527"/>
                  <a:gd name="T22" fmla="*/ 56 w 117"/>
                  <a:gd name="T23" fmla="*/ 12 h 527"/>
                  <a:gd name="T24" fmla="*/ 66 w 117"/>
                  <a:gd name="T25" fmla="*/ 15 h 527"/>
                  <a:gd name="T26" fmla="*/ 72 w 117"/>
                  <a:gd name="T27" fmla="*/ 17 h 527"/>
                  <a:gd name="T28" fmla="*/ 73 w 117"/>
                  <a:gd name="T29" fmla="*/ 18 h 527"/>
                  <a:gd name="T30" fmla="*/ 75 w 117"/>
                  <a:gd name="T31" fmla="*/ 18 h 527"/>
                  <a:gd name="T32" fmla="*/ 81 w 117"/>
                  <a:gd name="T33" fmla="*/ 17 h 527"/>
                  <a:gd name="T34" fmla="*/ 85 w 117"/>
                  <a:gd name="T35" fmla="*/ 14 h 527"/>
                  <a:gd name="T36" fmla="*/ 91 w 117"/>
                  <a:gd name="T37" fmla="*/ 16 h 527"/>
                  <a:gd name="T38" fmla="*/ 103 w 117"/>
                  <a:gd name="T39" fmla="*/ 19 h 527"/>
                  <a:gd name="T40" fmla="*/ 111 w 117"/>
                  <a:gd name="T41" fmla="*/ 24 h 527"/>
                  <a:gd name="T42" fmla="*/ 117 w 117"/>
                  <a:gd name="T43" fmla="*/ 23 h 527"/>
                  <a:gd name="T44" fmla="*/ 117 w 117"/>
                  <a:gd name="T45" fmla="*/ 519 h 527"/>
                  <a:gd name="T46" fmla="*/ 116 w 117"/>
                  <a:gd name="T47" fmla="*/ 522 h 527"/>
                  <a:gd name="T48" fmla="*/ 111 w 117"/>
                  <a:gd name="T49" fmla="*/ 519 h 527"/>
                  <a:gd name="T50" fmla="*/ 105 w 117"/>
                  <a:gd name="T51" fmla="*/ 517 h 527"/>
                  <a:gd name="T52" fmla="*/ 100 w 117"/>
                  <a:gd name="T53" fmla="*/ 517 h 527"/>
                  <a:gd name="T54" fmla="*/ 91 w 117"/>
                  <a:gd name="T55" fmla="*/ 516 h 527"/>
                  <a:gd name="T56" fmla="*/ 84 w 117"/>
                  <a:gd name="T57" fmla="*/ 517 h 527"/>
                  <a:gd name="T58" fmla="*/ 78 w 117"/>
                  <a:gd name="T59" fmla="*/ 520 h 527"/>
                  <a:gd name="T60" fmla="*/ 77 w 117"/>
                  <a:gd name="T61" fmla="*/ 521 h 527"/>
                  <a:gd name="T62" fmla="*/ 76 w 117"/>
                  <a:gd name="T63" fmla="*/ 527 h 527"/>
                  <a:gd name="T64" fmla="*/ 66 w 117"/>
                  <a:gd name="T65" fmla="*/ 519 h 527"/>
                  <a:gd name="T66" fmla="*/ 61 w 117"/>
                  <a:gd name="T67" fmla="*/ 517 h 527"/>
                  <a:gd name="T68" fmla="*/ 60 w 117"/>
                  <a:gd name="T69" fmla="*/ 514 h 527"/>
                  <a:gd name="T70" fmla="*/ 57 w 117"/>
                  <a:gd name="T71" fmla="*/ 518 h 527"/>
                  <a:gd name="T72" fmla="*/ 54 w 117"/>
                  <a:gd name="T73" fmla="*/ 512 h 527"/>
                  <a:gd name="T74" fmla="*/ 51 w 117"/>
                  <a:gd name="T75" fmla="*/ 513 h 527"/>
                  <a:gd name="T76" fmla="*/ 50 w 117"/>
                  <a:gd name="T77" fmla="*/ 511 h 527"/>
                  <a:gd name="T78" fmla="*/ 50 w 117"/>
                  <a:gd name="T79" fmla="*/ 514 h 527"/>
                  <a:gd name="T80" fmla="*/ 49 w 117"/>
                  <a:gd name="T81" fmla="*/ 516 h 527"/>
                  <a:gd name="T82" fmla="*/ 47 w 117"/>
                  <a:gd name="T83" fmla="*/ 514 h 527"/>
                  <a:gd name="T84" fmla="*/ 42 w 117"/>
                  <a:gd name="T85" fmla="*/ 510 h 527"/>
                  <a:gd name="T86" fmla="*/ 42 w 117"/>
                  <a:gd name="T87" fmla="*/ 514 h 527"/>
                  <a:gd name="T88" fmla="*/ 39 w 117"/>
                  <a:gd name="T89" fmla="*/ 517 h 527"/>
                  <a:gd name="T90" fmla="*/ 35 w 117"/>
                  <a:gd name="T91" fmla="*/ 511 h 527"/>
                  <a:gd name="T92" fmla="*/ 33 w 117"/>
                  <a:gd name="T93" fmla="*/ 510 h 527"/>
                  <a:gd name="T94" fmla="*/ 30 w 117"/>
                  <a:gd name="T95" fmla="*/ 512 h 527"/>
                  <a:gd name="T96" fmla="*/ 17 w 117"/>
                  <a:gd name="T97" fmla="*/ 512 h 527"/>
                  <a:gd name="T98" fmla="*/ 10 w 117"/>
                  <a:gd name="T99" fmla="*/ 507 h 527"/>
                  <a:gd name="T100" fmla="*/ 2 w 117"/>
                  <a:gd name="T101" fmla="*/ 509 h 5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17" h="527">
                    <a:moveTo>
                      <a:pt x="0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4" y="5"/>
                    </a:lnTo>
                    <a:lnTo>
                      <a:pt x="4" y="0"/>
                    </a:lnTo>
                    <a:lnTo>
                      <a:pt x="6" y="3"/>
                    </a:lnTo>
                    <a:lnTo>
                      <a:pt x="6" y="0"/>
                    </a:lnTo>
                    <a:lnTo>
                      <a:pt x="7" y="5"/>
                    </a:lnTo>
                    <a:lnTo>
                      <a:pt x="7" y="0"/>
                    </a:lnTo>
                    <a:lnTo>
                      <a:pt x="9" y="6"/>
                    </a:lnTo>
                    <a:lnTo>
                      <a:pt x="11" y="5"/>
                    </a:lnTo>
                    <a:lnTo>
                      <a:pt x="10" y="7"/>
                    </a:lnTo>
                    <a:lnTo>
                      <a:pt x="13" y="8"/>
                    </a:lnTo>
                    <a:lnTo>
                      <a:pt x="13" y="6"/>
                    </a:lnTo>
                    <a:lnTo>
                      <a:pt x="13" y="5"/>
                    </a:lnTo>
                    <a:lnTo>
                      <a:pt x="14" y="5"/>
                    </a:lnTo>
                    <a:lnTo>
                      <a:pt x="13" y="1"/>
                    </a:lnTo>
                    <a:lnTo>
                      <a:pt x="16" y="2"/>
                    </a:lnTo>
                    <a:lnTo>
                      <a:pt x="16" y="3"/>
                    </a:lnTo>
                    <a:lnTo>
                      <a:pt x="18" y="5"/>
                    </a:lnTo>
                    <a:lnTo>
                      <a:pt x="18" y="0"/>
                    </a:lnTo>
                    <a:lnTo>
                      <a:pt x="19" y="5"/>
                    </a:lnTo>
                    <a:lnTo>
                      <a:pt x="23" y="2"/>
                    </a:lnTo>
                    <a:lnTo>
                      <a:pt x="23" y="5"/>
                    </a:lnTo>
                    <a:lnTo>
                      <a:pt x="25" y="3"/>
                    </a:lnTo>
                    <a:lnTo>
                      <a:pt x="24" y="6"/>
                    </a:lnTo>
                    <a:lnTo>
                      <a:pt x="24" y="5"/>
                    </a:lnTo>
                    <a:lnTo>
                      <a:pt x="24" y="6"/>
                    </a:lnTo>
                    <a:lnTo>
                      <a:pt x="26" y="5"/>
                    </a:lnTo>
                    <a:lnTo>
                      <a:pt x="26" y="5"/>
                    </a:lnTo>
                    <a:lnTo>
                      <a:pt x="29" y="7"/>
                    </a:lnTo>
                    <a:lnTo>
                      <a:pt x="29" y="7"/>
                    </a:lnTo>
                    <a:lnTo>
                      <a:pt x="30" y="8"/>
                    </a:lnTo>
                    <a:lnTo>
                      <a:pt x="31" y="7"/>
                    </a:lnTo>
                    <a:lnTo>
                      <a:pt x="31" y="10"/>
                    </a:lnTo>
                    <a:lnTo>
                      <a:pt x="32" y="7"/>
                    </a:lnTo>
                    <a:lnTo>
                      <a:pt x="33" y="8"/>
                    </a:lnTo>
                    <a:lnTo>
                      <a:pt x="34" y="6"/>
                    </a:lnTo>
                    <a:lnTo>
                      <a:pt x="34" y="8"/>
                    </a:lnTo>
                    <a:lnTo>
                      <a:pt x="40" y="6"/>
                    </a:lnTo>
                    <a:lnTo>
                      <a:pt x="39" y="7"/>
                    </a:lnTo>
                    <a:lnTo>
                      <a:pt x="43" y="9"/>
                    </a:lnTo>
                    <a:lnTo>
                      <a:pt x="47" y="8"/>
                    </a:lnTo>
                    <a:lnTo>
                      <a:pt x="47" y="10"/>
                    </a:lnTo>
                    <a:lnTo>
                      <a:pt x="51" y="12"/>
                    </a:lnTo>
                    <a:lnTo>
                      <a:pt x="52" y="9"/>
                    </a:lnTo>
                    <a:lnTo>
                      <a:pt x="54" y="14"/>
                    </a:lnTo>
                    <a:lnTo>
                      <a:pt x="56" y="12"/>
                    </a:lnTo>
                    <a:lnTo>
                      <a:pt x="64" y="15"/>
                    </a:lnTo>
                    <a:lnTo>
                      <a:pt x="64" y="17"/>
                    </a:lnTo>
                    <a:lnTo>
                      <a:pt x="66" y="17"/>
                    </a:lnTo>
                    <a:lnTo>
                      <a:pt x="66" y="15"/>
                    </a:lnTo>
                    <a:lnTo>
                      <a:pt x="67" y="16"/>
                    </a:lnTo>
                    <a:lnTo>
                      <a:pt x="67" y="17"/>
                    </a:lnTo>
                    <a:lnTo>
                      <a:pt x="68" y="17"/>
                    </a:lnTo>
                    <a:lnTo>
                      <a:pt x="72" y="17"/>
                    </a:lnTo>
                    <a:lnTo>
                      <a:pt x="71" y="19"/>
                    </a:lnTo>
                    <a:lnTo>
                      <a:pt x="73" y="18"/>
                    </a:lnTo>
                    <a:lnTo>
                      <a:pt x="73" y="17"/>
                    </a:lnTo>
                    <a:lnTo>
                      <a:pt x="73" y="18"/>
                    </a:lnTo>
                    <a:lnTo>
                      <a:pt x="75" y="17"/>
                    </a:lnTo>
                    <a:lnTo>
                      <a:pt x="75" y="12"/>
                    </a:lnTo>
                    <a:lnTo>
                      <a:pt x="75" y="16"/>
                    </a:lnTo>
                    <a:lnTo>
                      <a:pt x="75" y="18"/>
                    </a:lnTo>
                    <a:lnTo>
                      <a:pt x="77" y="17"/>
                    </a:lnTo>
                    <a:lnTo>
                      <a:pt x="80" y="19"/>
                    </a:lnTo>
                    <a:lnTo>
                      <a:pt x="81" y="20"/>
                    </a:lnTo>
                    <a:lnTo>
                      <a:pt x="81" y="17"/>
                    </a:lnTo>
                    <a:lnTo>
                      <a:pt x="82" y="19"/>
                    </a:lnTo>
                    <a:lnTo>
                      <a:pt x="85" y="18"/>
                    </a:lnTo>
                    <a:lnTo>
                      <a:pt x="88" y="18"/>
                    </a:lnTo>
                    <a:lnTo>
                      <a:pt x="85" y="14"/>
                    </a:lnTo>
                    <a:lnTo>
                      <a:pt x="89" y="17"/>
                    </a:lnTo>
                    <a:lnTo>
                      <a:pt x="89" y="16"/>
                    </a:lnTo>
                    <a:lnTo>
                      <a:pt x="91" y="18"/>
                    </a:lnTo>
                    <a:lnTo>
                      <a:pt x="91" y="16"/>
                    </a:lnTo>
                    <a:lnTo>
                      <a:pt x="93" y="15"/>
                    </a:lnTo>
                    <a:lnTo>
                      <a:pt x="98" y="17"/>
                    </a:lnTo>
                    <a:lnTo>
                      <a:pt x="102" y="23"/>
                    </a:lnTo>
                    <a:lnTo>
                      <a:pt x="103" y="19"/>
                    </a:lnTo>
                    <a:lnTo>
                      <a:pt x="106" y="22"/>
                    </a:lnTo>
                    <a:lnTo>
                      <a:pt x="108" y="22"/>
                    </a:lnTo>
                    <a:lnTo>
                      <a:pt x="109" y="20"/>
                    </a:lnTo>
                    <a:lnTo>
                      <a:pt x="111" y="24"/>
                    </a:lnTo>
                    <a:lnTo>
                      <a:pt x="113" y="22"/>
                    </a:lnTo>
                    <a:lnTo>
                      <a:pt x="115" y="25"/>
                    </a:lnTo>
                    <a:lnTo>
                      <a:pt x="115" y="23"/>
                    </a:lnTo>
                    <a:lnTo>
                      <a:pt x="117" y="23"/>
                    </a:lnTo>
                    <a:lnTo>
                      <a:pt x="117" y="24"/>
                    </a:lnTo>
                    <a:lnTo>
                      <a:pt x="117" y="24"/>
                    </a:lnTo>
                    <a:lnTo>
                      <a:pt x="117" y="520"/>
                    </a:lnTo>
                    <a:lnTo>
                      <a:pt x="117" y="519"/>
                    </a:lnTo>
                    <a:lnTo>
                      <a:pt x="117" y="522"/>
                    </a:lnTo>
                    <a:lnTo>
                      <a:pt x="116" y="519"/>
                    </a:lnTo>
                    <a:lnTo>
                      <a:pt x="115" y="519"/>
                    </a:lnTo>
                    <a:lnTo>
                      <a:pt x="116" y="522"/>
                    </a:lnTo>
                    <a:lnTo>
                      <a:pt x="115" y="520"/>
                    </a:lnTo>
                    <a:lnTo>
                      <a:pt x="114" y="520"/>
                    </a:lnTo>
                    <a:lnTo>
                      <a:pt x="113" y="521"/>
                    </a:lnTo>
                    <a:lnTo>
                      <a:pt x="111" y="519"/>
                    </a:lnTo>
                    <a:lnTo>
                      <a:pt x="109" y="520"/>
                    </a:lnTo>
                    <a:lnTo>
                      <a:pt x="107" y="518"/>
                    </a:lnTo>
                    <a:lnTo>
                      <a:pt x="106" y="520"/>
                    </a:lnTo>
                    <a:lnTo>
                      <a:pt x="105" y="517"/>
                    </a:lnTo>
                    <a:lnTo>
                      <a:pt x="102" y="517"/>
                    </a:lnTo>
                    <a:lnTo>
                      <a:pt x="102" y="519"/>
                    </a:lnTo>
                    <a:lnTo>
                      <a:pt x="100" y="517"/>
                    </a:lnTo>
                    <a:lnTo>
                      <a:pt x="100" y="517"/>
                    </a:lnTo>
                    <a:lnTo>
                      <a:pt x="99" y="517"/>
                    </a:lnTo>
                    <a:lnTo>
                      <a:pt x="98" y="519"/>
                    </a:lnTo>
                    <a:lnTo>
                      <a:pt x="98" y="517"/>
                    </a:lnTo>
                    <a:lnTo>
                      <a:pt x="91" y="516"/>
                    </a:lnTo>
                    <a:lnTo>
                      <a:pt x="90" y="521"/>
                    </a:lnTo>
                    <a:lnTo>
                      <a:pt x="89" y="517"/>
                    </a:lnTo>
                    <a:lnTo>
                      <a:pt x="88" y="518"/>
                    </a:lnTo>
                    <a:lnTo>
                      <a:pt x="84" y="517"/>
                    </a:lnTo>
                    <a:lnTo>
                      <a:pt x="83" y="519"/>
                    </a:lnTo>
                    <a:lnTo>
                      <a:pt x="80" y="519"/>
                    </a:lnTo>
                    <a:lnTo>
                      <a:pt x="80" y="520"/>
                    </a:lnTo>
                    <a:lnTo>
                      <a:pt x="78" y="520"/>
                    </a:lnTo>
                    <a:lnTo>
                      <a:pt x="78" y="520"/>
                    </a:lnTo>
                    <a:lnTo>
                      <a:pt x="77" y="520"/>
                    </a:lnTo>
                    <a:lnTo>
                      <a:pt x="78" y="522"/>
                    </a:lnTo>
                    <a:lnTo>
                      <a:pt x="77" y="521"/>
                    </a:lnTo>
                    <a:lnTo>
                      <a:pt x="76" y="521"/>
                    </a:lnTo>
                    <a:lnTo>
                      <a:pt x="75" y="524"/>
                    </a:lnTo>
                    <a:lnTo>
                      <a:pt x="76" y="524"/>
                    </a:lnTo>
                    <a:lnTo>
                      <a:pt x="76" y="527"/>
                    </a:lnTo>
                    <a:lnTo>
                      <a:pt x="75" y="522"/>
                    </a:lnTo>
                    <a:lnTo>
                      <a:pt x="72" y="522"/>
                    </a:lnTo>
                    <a:lnTo>
                      <a:pt x="73" y="524"/>
                    </a:lnTo>
                    <a:lnTo>
                      <a:pt x="66" y="519"/>
                    </a:lnTo>
                    <a:lnTo>
                      <a:pt x="66" y="516"/>
                    </a:lnTo>
                    <a:lnTo>
                      <a:pt x="65" y="518"/>
                    </a:lnTo>
                    <a:lnTo>
                      <a:pt x="63" y="514"/>
                    </a:lnTo>
                    <a:lnTo>
                      <a:pt x="61" y="517"/>
                    </a:lnTo>
                    <a:lnTo>
                      <a:pt x="60" y="517"/>
                    </a:lnTo>
                    <a:lnTo>
                      <a:pt x="61" y="514"/>
                    </a:lnTo>
                    <a:lnTo>
                      <a:pt x="60" y="516"/>
                    </a:lnTo>
                    <a:lnTo>
                      <a:pt x="60" y="514"/>
                    </a:lnTo>
                    <a:lnTo>
                      <a:pt x="59" y="514"/>
                    </a:lnTo>
                    <a:lnTo>
                      <a:pt x="60" y="519"/>
                    </a:lnTo>
                    <a:lnTo>
                      <a:pt x="57" y="516"/>
                    </a:lnTo>
                    <a:lnTo>
                      <a:pt x="57" y="518"/>
                    </a:lnTo>
                    <a:lnTo>
                      <a:pt x="57" y="518"/>
                    </a:lnTo>
                    <a:lnTo>
                      <a:pt x="56" y="516"/>
                    </a:lnTo>
                    <a:lnTo>
                      <a:pt x="56" y="516"/>
                    </a:lnTo>
                    <a:lnTo>
                      <a:pt x="54" y="512"/>
                    </a:lnTo>
                    <a:lnTo>
                      <a:pt x="56" y="516"/>
                    </a:lnTo>
                    <a:lnTo>
                      <a:pt x="55" y="517"/>
                    </a:lnTo>
                    <a:lnTo>
                      <a:pt x="54" y="513"/>
                    </a:lnTo>
                    <a:lnTo>
                      <a:pt x="51" y="513"/>
                    </a:lnTo>
                    <a:lnTo>
                      <a:pt x="51" y="512"/>
                    </a:lnTo>
                    <a:lnTo>
                      <a:pt x="51" y="512"/>
                    </a:lnTo>
                    <a:lnTo>
                      <a:pt x="51" y="512"/>
                    </a:lnTo>
                    <a:lnTo>
                      <a:pt x="50" y="511"/>
                    </a:lnTo>
                    <a:lnTo>
                      <a:pt x="50" y="511"/>
                    </a:lnTo>
                    <a:lnTo>
                      <a:pt x="51" y="512"/>
                    </a:lnTo>
                    <a:lnTo>
                      <a:pt x="51" y="512"/>
                    </a:lnTo>
                    <a:lnTo>
                      <a:pt x="50" y="514"/>
                    </a:lnTo>
                    <a:lnTo>
                      <a:pt x="48" y="510"/>
                    </a:lnTo>
                    <a:lnTo>
                      <a:pt x="48" y="512"/>
                    </a:lnTo>
                    <a:lnTo>
                      <a:pt x="47" y="510"/>
                    </a:lnTo>
                    <a:lnTo>
                      <a:pt x="49" y="516"/>
                    </a:lnTo>
                    <a:lnTo>
                      <a:pt x="49" y="513"/>
                    </a:lnTo>
                    <a:lnTo>
                      <a:pt x="50" y="519"/>
                    </a:lnTo>
                    <a:lnTo>
                      <a:pt x="47" y="512"/>
                    </a:lnTo>
                    <a:lnTo>
                      <a:pt x="47" y="514"/>
                    </a:lnTo>
                    <a:lnTo>
                      <a:pt x="44" y="513"/>
                    </a:lnTo>
                    <a:lnTo>
                      <a:pt x="44" y="512"/>
                    </a:lnTo>
                    <a:lnTo>
                      <a:pt x="42" y="512"/>
                    </a:lnTo>
                    <a:lnTo>
                      <a:pt x="42" y="510"/>
                    </a:lnTo>
                    <a:lnTo>
                      <a:pt x="41" y="512"/>
                    </a:lnTo>
                    <a:lnTo>
                      <a:pt x="43" y="514"/>
                    </a:lnTo>
                    <a:lnTo>
                      <a:pt x="40" y="514"/>
                    </a:lnTo>
                    <a:lnTo>
                      <a:pt x="42" y="514"/>
                    </a:lnTo>
                    <a:lnTo>
                      <a:pt x="40" y="512"/>
                    </a:lnTo>
                    <a:lnTo>
                      <a:pt x="40" y="517"/>
                    </a:lnTo>
                    <a:lnTo>
                      <a:pt x="39" y="514"/>
                    </a:lnTo>
                    <a:lnTo>
                      <a:pt x="39" y="517"/>
                    </a:lnTo>
                    <a:lnTo>
                      <a:pt x="36" y="517"/>
                    </a:lnTo>
                    <a:lnTo>
                      <a:pt x="35" y="513"/>
                    </a:lnTo>
                    <a:lnTo>
                      <a:pt x="35" y="513"/>
                    </a:lnTo>
                    <a:lnTo>
                      <a:pt x="35" y="511"/>
                    </a:lnTo>
                    <a:lnTo>
                      <a:pt x="35" y="513"/>
                    </a:lnTo>
                    <a:lnTo>
                      <a:pt x="34" y="514"/>
                    </a:lnTo>
                    <a:lnTo>
                      <a:pt x="34" y="510"/>
                    </a:lnTo>
                    <a:lnTo>
                      <a:pt x="33" y="510"/>
                    </a:lnTo>
                    <a:lnTo>
                      <a:pt x="33" y="512"/>
                    </a:lnTo>
                    <a:lnTo>
                      <a:pt x="31" y="511"/>
                    </a:lnTo>
                    <a:lnTo>
                      <a:pt x="32" y="516"/>
                    </a:lnTo>
                    <a:lnTo>
                      <a:pt x="30" y="512"/>
                    </a:lnTo>
                    <a:lnTo>
                      <a:pt x="27" y="513"/>
                    </a:lnTo>
                    <a:lnTo>
                      <a:pt x="30" y="517"/>
                    </a:lnTo>
                    <a:lnTo>
                      <a:pt x="19" y="510"/>
                    </a:lnTo>
                    <a:lnTo>
                      <a:pt x="17" y="512"/>
                    </a:lnTo>
                    <a:lnTo>
                      <a:pt x="15" y="509"/>
                    </a:lnTo>
                    <a:lnTo>
                      <a:pt x="14" y="509"/>
                    </a:lnTo>
                    <a:lnTo>
                      <a:pt x="13" y="508"/>
                    </a:lnTo>
                    <a:lnTo>
                      <a:pt x="10" y="507"/>
                    </a:lnTo>
                    <a:lnTo>
                      <a:pt x="9" y="508"/>
                    </a:lnTo>
                    <a:lnTo>
                      <a:pt x="6" y="505"/>
                    </a:lnTo>
                    <a:lnTo>
                      <a:pt x="5" y="510"/>
                    </a:lnTo>
                    <a:lnTo>
                      <a:pt x="2" y="509"/>
                    </a:lnTo>
                    <a:lnTo>
                      <a:pt x="0" y="510"/>
                    </a:lnTo>
                    <a:lnTo>
                      <a:pt x="0" y="508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E20074"/>
                  </a:buClr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0" cap="none" spc="0" normalizeH="0" baseline="0" noProof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03" name="Freeform 143"/>
              <p:cNvSpPr>
                <a:spLocks noEditPoints="1"/>
              </p:cNvSpPr>
              <p:nvPr/>
            </p:nvSpPr>
            <p:spPr bwMode="auto">
              <a:xfrm>
                <a:off x="11544301" y="546101"/>
                <a:ext cx="187325" cy="817563"/>
              </a:xfrm>
              <a:custGeom>
                <a:avLst/>
                <a:gdLst>
                  <a:gd name="T0" fmla="*/ 86 w 118"/>
                  <a:gd name="T1" fmla="*/ 15 h 515"/>
                  <a:gd name="T2" fmla="*/ 94 w 118"/>
                  <a:gd name="T3" fmla="*/ 0 h 515"/>
                  <a:gd name="T4" fmla="*/ 105 w 118"/>
                  <a:gd name="T5" fmla="*/ 4 h 515"/>
                  <a:gd name="T6" fmla="*/ 108 w 118"/>
                  <a:gd name="T7" fmla="*/ 5 h 515"/>
                  <a:gd name="T8" fmla="*/ 111 w 118"/>
                  <a:gd name="T9" fmla="*/ 5 h 515"/>
                  <a:gd name="T10" fmla="*/ 118 w 118"/>
                  <a:gd name="T11" fmla="*/ 515 h 515"/>
                  <a:gd name="T12" fmla="*/ 115 w 118"/>
                  <a:gd name="T13" fmla="*/ 510 h 515"/>
                  <a:gd name="T14" fmla="*/ 110 w 118"/>
                  <a:gd name="T15" fmla="*/ 510 h 515"/>
                  <a:gd name="T16" fmla="*/ 103 w 118"/>
                  <a:gd name="T17" fmla="*/ 501 h 515"/>
                  <a:gd name="T18" fmla="*/ 101 w 118"/>
                  <a:gd name="T19" fmla="*/ 499 h 515"/>
                  <a:gd name="T20" fmla="*/ 97 w 118"/>
                  <a:gd name="T21" fmla="*/ 499 h 515"/>
                  <a:gd name="T22" fmla="*/ 92 w 118"/>
                  <a:gd name="T23" fmla="*/ 499 h 515"/>
                  <a:gd name="T24" fmla="*/ 89 w 118"/>
                  <a:gd name="T25" fmla="*/ 500 h 515"/>
                  <a:gd name="T26" fmla="*/ 84 w 118"/>
                  <a:gd name="T27" fmla="*/ 503 h 515"/>
                  <a:gd name="T28" fmla="*/ 81 w 118"/>
                  <a:gd name="T29" fmla="*/ 502 h 515"/>
                  <a:gd name="T30" fmla="*/ 76 w 118"/>
                  <a:gd name="T31" fmla="*/ 501 h 515"/>
                  <a:gd name="T32" fmla="*/ 75 w 118"/>
                  <a:gd name="T33" fmla="*/ 502 h 515"/>
                  <a:gd name="T34" fmla="*/ 73 w 118"/>
                  <a:gd name="T35" fmla="*/ 509 h 515"/>
                  <a:gd name="T36" fmla="*/ 69 w 118"/>
                  <a:gd name="T37" fmla="*/ 502 h 515"/>
                  <a:gd name="T38" fmla="*/ 66 w 118"/>
                  <a:gd name="T39" fmla="*/ 503 h 515"/>
                  <a:gd name="T40" fmla="*/ 59 w 118"/>
                  <a:gd name="T41" fmla="*/ 502 h 515"/>
                  <a:gd name="T42" fmla="*/ 55 w 118"/>
                  <a:gd name="T43" fmla="*/ 500 h 515"/>
                  <a:gd name="T44" fmla="*/ 50 w 118"/>
                  <a:gd name="T45" fmla="*/ 501 h 515"/>
                  <a:gd name="T46" fmla="*/ 49 w 118"/>
                  <a:gd name="T47" fmla="*/ 501 h 515"/>
                  <a:gd name="T48" fmla="*/ 46 w 118"/>
                  <a:gd name="T49" fmla="*/ 497 h 515"/>
                  <a:gd name="T50" fmla="*/ 42 w 118"/>
                  <a:gd name="T51" fmla="*/ 500 h 515"/>
                  <a:gd name="T52" fmla="*/ 38 w 118"/>
                  <a:gd name="T53" fmla="*/ 499 h 515"/>
                  <a:gd name="T54" fmla="*/ 32 w 118"/>
                  <a:gd name="T55" fmla="*/ 502 h 515"/>
                  <a:gd name="T56" fmla="*/ 24 w 118"/>
                  <a:gd name="T57" fmla="*/ 506 h 515"/>
                  <a:gd name="T58" fmla="*/ 21 w 118"/>
                  <a:gd name="T59" fmla="*/ 506 h 515"/>
                  <a:gd name="T60" fmla="*/ 18 w 118"/>
                  <a:gd name="T61" fmla="*/ 507 h 515"/>
                  <a:gd name="T62" fmla="*/ 16 w 118"/>
                  <a:gd name="T63" fmla="*/ 509 h 515"/>
                  <a:gd name="T64" fmla="*/ 11 w 118"/>
                  <a:gd name="T65" fmla="*/ 506 h 515"/>
                  <a:gd name="T66" fmla="*/ 8 w 118"/>
                  <a:gd name="T67" fmla="*/ 505 h 515"/>
                  <a:gd name="T68" fmla="*/ 4 w 118"/>
                  <a:gd name="T69" fmla="*/ 500 h 515"/>
                  <a:gd name="T70" fmla="*/ 4 w 118"/>
                  <a:gd name="T71" fmla="*/ 3 h 515"/>
                  <a:gd name="T72" fmla="*/ 9 w 118"/>
                  <a:gd name="T73" fmla="*/ 5 h 515"/>
                  <a:gd name="T74" fmla="*/ 13 w 118"/>
                  <a:gd name="T75" fmla="*/ 8 h 515"/>
                  <a:gd name="T76" fmla="*/ 16 w 118"/>
                  <a:gd name="T77" fmla="*/ 10 h 515"/>
                  <a:gd name="T78" fmla="*/ 19 w 118"/>
                  <a:gd name="T79" fmla="*/ 9 h 515"/>
                  <a:gd name="T80" fmla="*/ 22 w 118"/>
                  <a:gd name="T81" fmla="*/ 9 h 515"/>
                  <a:gd name="T82" fmla="*/ 25 w 118"/>
                  <a:gd name="T83" fmla="*/ 8 h 515"/>
                  <a:gd name="T84" fmla="*/ 28 w 118"/>
                  <a:gd name="T85" fmla="*/ 5 h 515"/>
                  <a:gd name="T86" fmla="*/ 32 w 118"/>
                  <a:gd name="T87" fmla="*/ 5 h 515"/>
                  <a:gd name="T88" fmla="*/ 36 w 118"/>
                  <a:gd name="T89" fmla="*/ 6 h 515"/>
                  <a:gd name="T90" fmla="*/ 40 w 118"/>
                  <a:gd name="T91" fmla="*/ 5 h 515"/>
                  <a:gd name="T92" fmla="*/ 50 w 118"/>
                  <a:gd name="T93" fmla="*/ 6 h 515"/>
                  <a:gd name="T94" fmla="*/ 57 w 118"/>
                  <a:gd name="T95" fmla="*/ 8 h 515"/>
                  <a:gd name="T96" fmla="*/ 58 w 118"/>
                  <a:gd name="T97" fmla="*/ 8 h 515"/>
                  <a:gd name="T98" fmla="*/ 61 w 118"/>
                  <a:gd name="T99" fmla="*/ 8 h 515"/>
                  <a:gd name="T100" fmla="*/ 68 w 118"/>
                  <a:gd name="T101" fmla="*/ 9 h 515"/>
                  <a:gd name="T102" fmla="*/ 75 w 118"/>
                  <a:gd name="T103" fmla="*/ 5 h 515"/>
                  <a:gd name="T104" fmla="*/ 84 w 118"/>
                  <a:gd name="T105" fmla="*/ 13 h 515"/>
                  <a:gd name="T106" fmla="*/ 86 w 118"/>
                  <a:gd name="T107" fmla="*/ 15 h 515"/>
                  <a:gd name="T108" fmla="*/ 89 w 118"/>
                  <a:gd name="T109" fmla="*/ 14 h 515"/>
                  <a:gd name="T110" fmla="*/ 91 w 118"/>
                  <a:gd name="T111" fmla="*/ 15 h 515"/>
                  <a:gd name="T112" fmla="*/ 94 w 118"/>
                  <a:gd name="T113" fmla="*/ 13 h 515"/>
                  <a:gd name="T114" fmla="*/ 96 w 118"/>
                  <a:gd name="T115" fmla="*/ 10 h 515"/>
                  <a:gd name="T116" fmla="*/ 97 w 118"/>
                  <a:gd name="T117" fmla="*/ 9 h 515"/>
                  <a:gd name="T118" fmla="*/ 100 w 118"/>
                  <a:gd name="T119" fmla="*/ 6 h 515"/>
                  <a:gd name="T120" fmla="*/ 99 w 118"/>
                  <a:gd name="T121" fmla="*/ 5 h 5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18" h="515">
                    <a:moveTo>
                      <a:pt x="88" y="13"/>
                    </a:moveTo>
                    <a:lnTo>
                      <a:pt x="88" y="13"/>
                    </a:lnTo>
                    <a:lnTo>
                      <a:pt x="86" y="14"/>
                    </a:lnTo>
                    <a:lnTo>
                      <a:pt x="86" y="15"/>
                    </a:lnTo>
                    <a:lnTo>
                      <a:pt x="86" y="15"/>
                    </a:lnTo>
                    <a:lnTo>
                      <a:pt x="86" y="14"/>
                    </a:lnTo>
                    <a:lnTo>
                      <a:pt x="88" y="13"/>
                    </a:lnTo>
                    <a:close/>
                    <a:moveTo>
                      <a:pt x="94" y="0"/>
                    </a:moveTo>
                    <a:lnTo>
                      <a:pt x="100" y="5"/>
                    </a:lnTo>
                    <a:lnTo>
                      <a:pt x="102" y="6"/>
                    </a:lnTo>
                    <a:lnTo>
                      <a:pt x="106" y="5"/>
                    </a:lnTo>
                    <a:lnTo>
                      <a:pt x="105" y="4"/>
                    </a:lnTo>
                    <a:lnTo>
                      <a:pt x="106" y="5"/>
                    </a:lnTo>
                    <a:lnTo>
                      <a:pt x="107" y="5"/>
                    </a:lnTo>
                    <a:lnTo>
                      <a:pt x="107" y="3"/>
                    </a:lnTo>
                    <a:lnTo>
                      <a:pt x="108" y="5"/>
                    </a:lnTo>
                    <a:lnTo>
                      <a:pt x="109" y="4"/>
                    </a:lnTo>
                    <a:lnTo>
                      <a:pt x="109" y="6"/>
                    </a:lnTo>
                    <a:lnTo>
                      <a:pt x="111" y="6"/>
                    </a:lnTo>
                    <a:lnTo>
                      <a:pt x="111" y="5"/>
                    </a:lnTo>
                    <a:lnTo>
                      <a:pt x="113" y="6"/>
                    </a:lnTo>
                    <a:lnTo>
                      <a:pt x="114" y="7"/>
                    </a:lnTo>
                    <a:lnTo>
                      <a:pt x="118" y="8"/>
                    </a:lnTo>
                    <a:lnTo>
                      <a:pt x="118" y="515"/>
                    </a:lnTo>
                    <a:lnTo>
                      <a:pt x="118" y="515"/>
                    </a:lnTo>
                    <a:lnTo>
                      <a:pt x="118" y="510"/>
                    </a:lnTo>
                    <a:lnTo>
                      <a:pt x="116" y="513"/>
                    </a:lnTo>
                    <a:lnTo>
                      <a:pt x="115" y="510"/>
                    </a:lnTo>
                    <a:lnTo>
                      <a:pt x="114" y="511"/>
                    </a:lnTo>
                    <a:lnTo>
                      <a:pt x="110" y="508"/>
                    </a:lnTo>
                    <a:lnTo>
                      <a:pt x="109" y="509"/>
                    </a:lnTo>
                    <a:lnTo>
                      <a:pt x="110" y="510"/>
                    </a:lnTo>
                    <a:lnTo>
                      <a:pt x="108" y="508"/>
                    </a:lnTo>
                    <a:lnTo>
                      <a:pt x="107" y="509"/>
                    </a:lnTo>
                    <a:lnTo>
                      <a:pt x="105" y="502"/>
                    </a:lnTo>
                    <a:lnTo>
                      <a:pt x="103" y="501"/>
                    </a:lnTo>
                    <a:lnTo>
                      <a:pt x="102" y="501"/>
                    </a:lnTo>
                    <a:lnTo>
                      <a:pt x="100" y="503"/>
                    </a:lnTo>
                    <a:lnTo>
                      <a:pt x="101" y="501"/>
                    </a:lnTo>
                    <a:lnTo>
                      <a:pt x="101" y="499"/>
                    </a:lnTo>
                    <a:lnTo>
                      <a:pt x="99" y="499"/>
                    </a:lnTo>
                    <a:lnTo>
                      <a:pt x="99" y="500"/>
                    </a:lnTo>
                    <a:lnTo>
                      <a:pt x="97" y="497"/>
                    </a:lnTo>
                    <a:lnTo>
                      <a:pt x="97" y="499"/>
                    </a:lnTo>
                    <a:lnTo>
                      <a:pt x="96" y="500"/>
                    </a:lnTo>
                    <a:lnTo>
                      <a:pt x="94" y="498"/>
                    </a:lnTo>
                    <a:lnTo>
                      <a:pt x="93" y="501"/>
                    </a:lnTo>
                    <a:lnTo>
                      <a:pt x="92" y="499"/>
                    </a:lnTo>
                    <a:lnTo>
                      <a:pt x="91" y="501"/>
                    </a:lnTo>
                    <a:lnTo>
                      <a:pt x="90" y="501"/>
                    </a:lnTo>
                    <a:lnTo>
                      <a:pt x="90" y="502"/>
                    </a:lnTo>
                    <a:lnTo>
                      <a:pt x="89" y="500"/>
                    </a:lnTo>
                    <a:lnTo>
                      <a:pt x="89" y="502"/>
                    </a:lnTo>
                    <a:lnTo>
                      <a:pt x="88" y="501"/>
                    </a:lnTo>
                    <a:lnTo>
                      <a:pt x="85" y="501"/>
                    </a:lnTo>
                    <a:lnTo>
                      <a:pt x="84" y="503"/>
                    </a:lnTo>
                    <a:lnTo>
                      <a:pt x="83" y="502"/>
                    </a:lnTo>
                    <a:lnTo>
                      <a:pt x="82" y="505"/>
                    </a:lnTo>
                    <a:lnTo>
                      <a:pt x="81" y="500"/>
                    </a:lnTo>
                    <a:lnTo>
                      <a:pt x="81" y="502"/>
                    </a:lnTo>
                    <a:lnTo>
                      <a:pt x="78" y="502"/>
                    </a:lnTo>
                    <a:lnTo>
                      <a:pt x="78" y="506"/>
                    </a:lnTo>
                    <a:lnTo>
                      <a:pt x="77" y="500"/>
                    </a:lnTo>
                    <a:lnTo>
                      <a:pt x="76" y="501"/>
                    </a:lnTo>
                    <a:lnTo>
                      <a:pt x="76" y="499"/>
                    </a:lnTo>
                    <a:lnTo>
                      <a:pt x="74" y="499"/>
                    </a:lnTo>
                    <a:lnTo>
                      <a:pt x="75" y="503"/>
                    </a:lnTo>
                    <a:lnTo>
                      <a:pt x="75" y="502"/>
                    </a:lnTo>
                    <a:lnTo>
                      <a:pt x="74" y="503"/>
                    </a:lnTo>
                    <a:lnTo>
                      <a:pt x="74" y="501"/>
                    </a:lnTo>
                    <a:lnTo>
                      <a:pt x="73" y="500"/>
                    </a:lnTo>
                    <a:lnTo>
                      <a:pt x="73" y="509"/>
                    </a:lnTo>
                    <a:lnTo>
                      <a:pt x="72" y="502"/>
                    </a:lnTo>
                    <a:lnTo>
                      <a:pt x="71" y="505"/>
                    </a:lnTo>
                    <a:lnTo>
                      <a:pt x="71" y="502"/>
                    </a:lnTo>
                    <a:lnTo>
                      <a:pt x="69" y="502"/>
                    </a:lnTo>
                    <a:lnTo>
                      <a:pt x="68" y="505"/>
                    </a:lnTo>
                    <a:lnTo>
                      <a:pt x="68" y="501"/>
                    </a:lnTo>
                    <a:lnTo>
                      <a:pt x="66" y="501"/>
                    </a:lnTo>
                    <a:lnTo>
                      <a:pt x="66" y="503"/>
                    </a:lnTo>
                    <a:lnTo>
                      <a:pt x="64" y="502"/>
                    </a:lnTo>
                    <a:lnTo>
                      <a:pt x="65" y="503"/>
                    </a:lnTo>
                    <a:lnTo>
                      <a:pt x="63" y="501"/>
                    </a:lnTo>
                    <a:lnTo>
                      <a:pt x="59" y="502"/>
                    </a:lnTo>
                    <a:lnTo>
                      <a:pt x="58" y="498"/>
                    </a:lnTo>
                    <a:lnTo>
                      <a:pt x="56" y="497"/>
                    </a:lnTo>
                    <a:lnTo>
                      <a:pt x="56" y="499"/>
                    </a:lnTo>
                    <a:lnTo>
                      <a:pt x="55" y="500"/>
                    </a:lnTo>
                    <a:lnTo>
                      <a:pt x="53" y="501"/>
                    </a:lnTo>
                    <a:lnTo>
                      <a:pt x="52" y="500"/>
                    </a:lnTo>
                    <a:lnTo>
                      <a:pt x="51" y="502"/>
                    </a:lnTo>
                    <a:lnTo>
                      <a:pt x="50" y="501"/>
                    </a:lnTo>
                    <a:lnTo>
                      <a:pt x="50" y="501"/>
                    </a:lnTo>
                    <a:lnTo>
                      <a:pt x="51" y="501"/>
                    </a:lnTo>
                    <a:lnTo>
                      <a:pt x="51" y="498"/>
                    </a:lnTo>
                    <a:lnTo>
                      <a:pt x="49" y="501"/>
                    </a:lnTo>
                    <a:lnTo>
                      <a:pt x="48" y="498"/>
                    </a:lnTo>
                    <a:lnTo>
                      <a:pt x="47" y="495"/>
                    </a:lnTo>
                    <a:lnTo>
                      <a:pt x="47" y="499"/>
                    </a:lnTo>
                    <a:lnTo>
                      <a:pt x="46" y="497"/>
                    </a:lnTo>
                    <a:lnTo>
                      <a:pt x="44" y="502"/>
                    </a:lnTo>
                    <a:lnTo>
                      <a:pt x="44" y="500"/>
                    </a:lnTo>
                    <a:lnTo>
                      <a:pt x="42" y="499"/>
                    </a:lnTo>
                    <a:lnTo>
                      <a:pt x="42" y="500"/>
                    </a:lnTo>
                    <a:lnTo>
                      <a:pt x="40" y="499"/>
                    </a:lnTo>
                    <a:lnTo>
                      <a:pt x="39" y="500"/>
                    </a:lnTo>
                    <a:lnTo>
                      <a:pt x="40" y="501"/>
                    </a:lnTo>
                    <a:lnTo>
                      <a:pt x="38" y="499"/>
                    </a:lnTo>
                    <a:lnTo>
                      <a:pt x="35" y="500"/>
                    </a:lnTo>
                    <a:lnTo>
                      <a:pt x="34" y="502"/>
                    </a:lnTo>
                    <a:lnTo>
                      <a:pt x="33" y="502"/>
                    </a:lnTo>
                    <a:lnTo>
                      <a:pt x="32" y="502"/>
                    </a:lnTo>
                    <a:lnTo>
                      <a:pt x="32" y="505"/>
                    </a:lnTo>
                    <a:lnTo>
                      <a:pt x="30" y="502"/>
                    </a:lnTo>
                    <a:lnTo>
                      <a:pt x="25" y="502"/>
                    </a:lnTo>
                    <a:lnTo>
                      <a:pt x="24" y="506"/>
                    </a:lnTo>
                    <a:lnTo>
                      <a:pt x="23" y="505"/>
                    </a:lnTo>
                    <a:lnTo>
                      <a:pt x="22" y="506"/>
                    </a:lnTo>
                    <a:lnTo>
                      <a:pt x="23" y="507"/>
                    </a:lnTo>
                    <a:lnTo>
                      <a:pt x="21" y="506"/>
                    </a:lnTo>
                    <a:lnTo>
                      <a:pt x="23" y="508"/>
                    </a:lnTo>
                    <a:lnTo>
                      <a:pt x="21" y="508"/>
                    </a:lnTo>
                    <a:lnTo>
                      <a:pt x="19" y="509"/>
                    </a:lnTo>
                    <a:lnTo>
                      <a:pt x="18" y="507"/>
                    </a:lnTo>
                    <a:lnTo>
                      <a:pt x="17" y="507"/>
                    </a:lnTo>
                    <a:lnTo>
                      <a:pt x="17" y="510"/>
                    </a:lnTo>
                    <a:lnTo>
                      <a:pt x="15" y="507"/>
                    </a:lnTo>
                    <a:lnTo>
                      <a:pt x="16" y="509"/>
                    </a:lnTo>
                    <a:lnTo>
                      <a:pt x="14" y="507"/>
                    </a:lnTo>
                    <a:lnTo>
                      <a:pt x="13" y="506"/>
                    </a:lnTo>
                    <a:lnTo>
                      <a:pt x="11" y="507"/>
                    </a:lnTo>
                    <a:lnTo>
                      <a:pt x="11" y="506"/>
                    </a:lnTo>
                    <a:lnTo>
                      <a:pt x="10" y="507"/>
                    </a:lnTo>
                    <a:lnTo>
                      <a:pt x="10" y="505"/>
                    </a:lnTo>
                    <a:lnTo>
                      <a:pt x="8" y="503"/>
                    </a:lnTo>
                    <a:lnTo>
                      <a:pt x="8" y="505"/>
                    </a:lnTo>
                    <a:lnTo>
                      <a:pt x="8" y="501"/>
                    </a:lnTo>
                    <a:lnTo>
                      <a:pt x="6" y="503"/>
                    </a:lnTo>
                    <a:lnTo>
                      <a:pt x="6" y="501"/>
                    </a:lnTo>
                    <a:lnTo>
                      <a:pt x="4" y="500"/>
                    </a:lnTo>
                    <a:lnTo>
                      <a:pt x="1" y="501"/>
                    </a:lnTo>
                    <a:lnTo>
                      <a:pt x="0" y="501"/>
                    </a:lnTo>
                    <a:lnTo>
                      <a:pt x="0" y="5"/>
                    </a:lnTo>
                    <a:lnTo>
                      <a:pt x="4" y="3"/>
                    </a:lnTo>
                    <a:lnTo>
                      <a:pt x="5" y="5"/>
                    </a:lnTo>
                    <a:lnTo>
                      <a:pt x="8" y="4"/>
                    </a:lnTo>
                    <a:lnTo>
                      <a:pt x="7" y="5"/>
                    </a:lnTo>
                    <a:lnTo>
                      <a:pt x="9" y="5"/>
                    </a:lnTo>
                    <a:lnTo>
                      <a:pt x="9" y="4"/>
                    </a:lnTo>
                    <a:lnTo>
                      <a:pt x="10" y="5"/>
                    </a:lnTo>
                    <a:lnTo>
                      <a:pt x="11" y="8"/>
                    </a:lnTo>
                    <a:lnTo>
                      <a:pt x="13" y="8"/>
                    </a:lnTo>
                    <a:lnTo>
                      <a:pt x="15" y="7"/>
                    </a:lnTo>
                    <a:lnTo>
                      <a:pt x="15" y="9"/>
                    </a:lnTo>
                    <a:lnTo>
                      <a:pt x="16" y="8"/>
                    </a:lnTo>
                    <a:lnTo>
                      <a:pt x="16" y="10"/>
                    </a:lnTo>
                    <a:lnTo>
                      <a:pt x="17" y="9"/>
                    </a:lnTo>
                    <a:lnTo>
                      <a:pt x="18" y="10"/>
                    </a:lnTo>
                    <a:lnTo>
                      <a:pt x="17" y="6"/>
                    </a:lnTo>
                    <a:lnTo>
                      <a:pt x="19" y="9"/>
                    </a:lnTo>
                    <a:lnTo>
                      <a:pt x="19" y="8"/>
                    </a:lnTo>
                    <a:lnTo>
                      <a:pt x="21" y="10"/>
                    </a:lnTo>
                    <a:lnTo>
                      <a:pt x="23" y="12"/>
                    </a:lnTo>
                    <a:lnTo>
                      <a:pt x="22" y="9"/>
                    </a:lnTo>
                    <a:lnTo>
                      <a:pt x="22" y="6"/>
                    </a:lnTo>
                    <a:lnTo>
                      <a:pt x="23" y="8"/>
                    </a:lnTo>
                    <a:lnTo>
                      <a:pt x="23" y="8"/>
                    </a:lnTo>
                    <a:lnTo>
                      <a:pt x="25" y="8"/>
                    </a:lnTo>
                    <a:lnTo>
                      <a:pt x="23" y="5"/>
                    </a:lnTo>
                    <a:lnTo>
                      <a:pt x="25" y="7"/>
                    </a:lnTo>
                    <a:lnTo>
                      <a:pt x="26" y="5"/>
                    </a:lnTo>
                    <a:lnTo>
                      <a:pt x="28" y="5"/>
                    </a:lnTo>
                    <a:lnTo>
                      <a:pt x="27" y="4"/>
                    </a:lnTo>
                    <a:lnTo>
                      <a:pt x="30" y="3"/>
                    </a:lnTo>
                    <a:lnTo>
                      <a:pt x="31" y="5"/>
                    </a:lnTo>
                    <a:lnTo>
                      <a:pt x="32" y="5"/>
                    </a:lnTo>
                    <a:lnTo>
                      <a:pt x="32" y="3"/>
                    </a:lnTo>
                    <a:lnTo>
                      <a:pt x="33" y="5"/>
                    </a:lnTo>
                    <a:lnTo>
                      <a:pt x="36" y="4"/>
                    </a:lnTo>
                    <a:lnTo>
                      <a:pt x="36" y="6"/>
                    </a:lnTo>
                    <a:lnTo>
                      <a:pt x="38" y="5"/>
                    </a:lnTo>
                    <a:lnTo>
                      <a:pt x="38" y="6"/>
                    </a:lnTo>
                    <a:lnTo>
                      <a:pt x="40" y="8"/>
                    </a:lnTo>
                    <a:lnTo>
                      <a:pt x="40" y="5"/>
                    </a:lnTo>
                    <a:lnTo>
                      <a:pt x="42" y="7"/>
                    </a:lnTo>
                    <a:lnTo>
                      <a:pt x="46" y="6"/>
                    </a:lnTo>
                    <a:lnTo>
                      <a:pt x="49" y="7"/>
                    </a:lnTo>
                    <a:lnTo>
                      <a:pt x="50" y="6"/>
                    </a:lnTo>
                    <a:lnTo>
                      <a:pt x="52" y="6"/>
                    </a:lnTo>
                    <a:lnTo>
                      <a:pt x="52" y="7"/>
                    </a:lnTo>
                    <a:lnTo>
                      <a:pt x="53" y="8"/>
                    </a:lnTo>
                    <a:lnTo>
                      <a:pt x="57" y="8"/>
                    </a:lnTo>
                    <a:lnTo>
                      <a:pt x="57" y="9"/>
                    </a:lnTo>
                    <a:lnTo>
                      <a:pt x="57" y="8"/>
                    </a:lnTo>
                    <a:lnTo>
                      <a:pt x="56" y="6"/>
                    </a:lnTo>
                    <a:lnTo>
                      <a:pt x="58" y="8"/>
                    </a:lnTo>
                    <a:lnTo>
                      <a:pt x="58" y="6"/>
                    </a:lnTo>
                    <a:lnTo>
                      <a:pt x="60" y="12"/>
                    </a:lnTo>
                    <a:lnTo>
                      <a:pt x="61" y="10"/>
                    </a:lnTo>
                    <a:lnTo>
                      <a:pt x="61" y="8"/>
                    </a:lnTo>
                    <a:lnTo>
                      <a:pt x="64" y="10"/>
                    </a:lnTo>
                    <a:lnTo>
                      <a:pt x="65" y="8"/>
                    </a:lnTo>
                    <a:lnTo>
                      <a:pt x="69" y="10"/>
                    </a:lnTo>
                    <a:lnTo>
                      <a:pt x="68" y="9"/>
                    </a:lnTo>
                    <a:lnTo>
                      <a:pt x="68" y="8"/>
                    </a:lnTo>
                    <a:lnTo>
                      <a:pt x="68" y="8"/>
                    </a:lnTo>
                    <a:lnTo>
                      <a:pt x="75" y="10"/>
                    </a:lnTo>
                    <a:lnTo>
                      <a:pt x="75" y="5"/>
                    </a:lnTo>
                    <a:lnTo>
                      <a:pt x="78" y="10"/>
                    </a:lnTo>
                    <a:lnTo>
                      <a:pt x="78" y="7"/>
                    </a:lnTo>
                    <a:lnTo>
                      <a:pt x="81" y="7"/>
                    </a:lnTo>
                    <a:lnTo>
                      <a:pt x="84" y="13"/>
                    </a:lnTo>
                    <a:lnTo>
                      <a:pt x="84" y="16"/>
                    </a:lnTo>
                    <a:lnTo>
                      <a:pt x="86" y="16"/>
                    </a:lnTo>
                    <a:lnTo>
                      <a:pt x="86" y="16"/>
                    </a:lnTo>
                    <a:lnTo>
                      <a:pt x="86" y="15"/>
                    </a:lnTo>
                    <a:lnTo>
                      <a:pt x="86" y="16"/>
                    </a:lnTo>
                    <a:lnTo>
                      <a:pt x="89" y="15"/>
                    </a:lnTo>
                    <a:lnTo>
                      <a:pt x="89" y="15"/>
                    </a:lnTo>
                    <a:lnTo>
                      <a:pt x="89" y="14"/>
                    </a:lnTo>
                    <a:lnTo>
                      <a:pt x="89" y="15"/>
                    </a:lnTo>
                    <a:lnTo>
                      <a:pt x="89" y="12"/>
                    </a:lnTo>
                    <a:lnTo>
                      <a:pt x="91" y="17"/>
                    </a:lnTo>
                    <a:lnTo>
                      <a:pt x="91" y="15"/>
                    </a:lnTo>
                    <a:lnTo>
                      <a:pt x="92" y="15"/>
                    </a:lnTo>
                    <a:lnTo>
                      <a:pt x="93" y="12"/>
                    </a:lnTo>
                    <a:lnTo>
                      <a:pt x="93" y="13"/>
                    </a:lnTo>
                    <a:lnTo>
                      <a:pt x="94" y="13"/>
                    </a:lnTo>
                    <a:lnTo>
                      <a:pt x="94" y="12"/>
                    </a:lnTo>
                    <a:lnTo>
                      <a:pt x="96" y="14"/>
                    </a:lnTo>
                    <a:lnTo>
                      <a:pt x="97" y="13"/>
                    </a:lnTo>
                    <a:lnTo>
                      <a:pt x="96" y="10"/>
                    </a:lnTo>
                    <a:lnTo>
                      <a:pt x="97" y="12"/>
                    </a:lnTo>
                    <a:lnTo>
                      <a:pt x="97" y="10"/>
                    </a:lnTo>
                    <a:lnTo>
                      <a:pt x="98" y="9"/>
                    </a:lnTo>
                    <a:lnTo>
                      <a:pt x="97" y="9"/>
                    </a:lnTo>
                    <a:lnTo>
                      <a:pt x="98" y="8"/>
                    </a:lnTo>
                    <a:lnTo>
                      <a:pt x="99" y="5"/>
                    </a:lnTo>
                    <a:lnTo>
                      <a:pt x="99" y="5"/>
                    </a:lnTo>
                    <a:lnTo>
                      <a:pt x="100" y="6"/>
                    </a:lnTo>
                    <a:lnTo>
                      <a:pt x="101" y="6"/>
                    </a:lnTo>
                    <a:lnTo>
                      <a:pt x="99" y="5"/>
                    </a:lnTo>
                    <a:lnTo>
                      <a:pt x="99" y="5"/>
                    </a:lnTo>
                    <a:lnTo>
                      <a:pt x="99" y="5"/>
                    </a:lnTo>
                    <a:lnTo>
                      <a:pt x="94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E20074"/>
                  </a:buClr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0" cap="none" spc="0" normalizeH="0" baseline="0" noProof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04" name="Freeform 144"/>
              <p:cNvSpPr>
                <a:spLocks/>
              </p:cNvSpPr>
              <p:nvPr/>
            </p:nvSpPr>
            <p:spPr bwMode="auto">
              <a:xfrm>
                <a:off x="11731626" y="552451"/>
                <a:ext cx="187325" cy="822325"/>
              </a:xfrm>
              <a:custGeom>
                <a:avLst/>
                <a:gdLst>
                  <a:gd name="T0" fmla="*/ 12 w 118"/>
                  <a:gd name="T1" fmla="*/ 8 h 518"/>
                  <a:gd name="T2" fmla="*/ 21 w 118"/>
                  <a:gd name="T3" fmla="*/ 13 h 518"/>
                  <a:gd name="T4" fmla="*/ 25 w 118"/>
                  <a:gd name="T5" fmla="*/ 12 h 518"/>
                  <a:gd name="T6" fmla="*/ 32 w 118"/>
                  <a:gd name="T7" fmla="*/ 16 h 518"/>
                  <a:gd name="T8" fmla="*/ 38 w 118"/>
                  <a:gd name="T9" fmla="*/ 18 h 518"/>
                  <a:gd name="T10" fmla="*/ 48 w 118"/>
                  <a:gd name="T11" fmla="*/ 28 h 518"/>
                  <a:gd name="T12" fmla="*/ 54 w 118"/>
                  <a:gd name="T13" fmla="*/ 24 h 518"/>
                  <a:gd name="T14" fmla="*/ 59 w 118"/>
                  <a:gd name="T15" fmla="*/ 29 h 518"/>
                  <a:gd name="T16" fmla="*/ 64 w 118"/>
                  <a:gd name="T17" fmla="*/ 28 h 518"/>
                  <a:gd name="T18" fmla="*/ 67 w 118"/>
                  <a:gd name="T19" fmla="*/ 29 h 518"/>
                  <a:gd name="T20" fmla="*/ 71 w 118"/>
                  <a:gd name="T21" fmla="*/ 30 h 518"/>
                  <a:gd name="T22" fmla="*/ 73 w 118"/>
                  <a:gd name="T23" fmla="*/ 28 h 518"/>
                  <a:gd name="T24" fmla="*/ 79 w 118"/>
                  <a:gd name="T25" fmla="*/ 29 h 518"/>
                  <a:gd name="T26" fmla="*/ 84 w 118"/>
                  <a:gd name="T27" fmla="*/ 33 h 518"/>
                  <a:gd name="T28" fmla="*/ 89 w 118"/>
                  <a:gd name="T29" fmla="*/ 38 h 518"/>
                  <a:gd name="T30" fmla="*/ 94 w 118"/>
                  <a:gd name="T31" fmla="*/ 36 h 518"/>
                  <a:gd name="T32" fmla="*/ 100 w 118"/>
                  <a:gd name="T33" fmla="*/ 36 h 518"/>
                  <a:gd name="T34" fmla="*/ 106 w 118"/>
                  <a:gd name="T35" fmla="*/ 33 h 518"/>
                  <a:gd name="T36" fmla="*/ 112 w 118"/>
                  <a:gd name="T37" fmla="*/ 39 h 518"/>
                  <a:gd name="T38" fmla="*/ 117 w 118"/>
                  <a:gd name="T39" fmla="*/ 39 h 518"/>
                  <a:gd name="T40" fmla="*/ 118 w 118"/>
                  <a:gd name="T41" fmla="*/ 507 h 518"/>
                  <a:gd name="T42" fmla="*/ 110 w 118"/>
                  <a:gd name="T43" fmla="*/ 506 h 518"/>
                  <a:gd name="T44" fmla="*/ 105 w 118"/>
                  <a:gd name="T45" fmla="*/ 507 h 518"/>
                  <a:gd name="T46" fmla="*/ 105 w 118"/>
                  <a:gd name="T47" fmla="*/ 506 h 518"/>
                  <a:gd name="T48" fmla="*/ 100 w 118"/>
                  <a:gd name="T49" fmla="*/ 505 h 518"/>
                  <a:gd name="T50" fmla="*/ 99 w 118"/>
                  <a:gd name="T51" fmla="*/ 506 h 518"/>
                  <a:gd name="T52" fmla="*/ 94 w 118"/>
                  <a:gd name="T53" fmla="*/ 506 h 518"/>
                  <a:gd name="T54" fmla="*/ 92 w 118"/>
                  <a:gd name="T55" fmla="*/ 505 h 518"/>
                  <a:gd name="T56" fmla="*/ 88 w 118"/>
                  <a:gd name="T57" fmla="*/ 509 h 518"/>
                  <a:gd name="T58" fmla="*/ 84 w 118"/>
                  <a:gd name="T59" fmla="*/ 504 h 518"/>
                  <a:gd name="T60" fmla="*/ 82 w 118"/>
                  <a:gd name="T61" fmla="*/ 503 h 518"/>
                  <a:gd name="T62" fmla="*/ 79 w 118"/>
                  <a:gd name="T63" fmla="*/ 501 h 518"/>
                  <a:gd name="T64" fmla="*/ 73 w 118"/>
                  <a:gd name="T65" fmla="*/ 506 h 518"/>
                  <a:gd name="T66" fmla="*/ 65 w 118"/>
                  <a:gd name="T67" fmla="*/ 512 h 518"/>
                  <a:gd name="T68" fmla="*/ 59 w 118"/>
                  <a:gd name="T69" fmla="*/ 511 h 518"/>
                  <a:gd name="T70" fmla="*/ 57 w 118"/>
                  <a:gd name="T71" fmla="*/ 512 h 518"/>
                  <a:gd name="T72" fmla="*/ 50 w 118"/>
                  <a:gd name="T73" fmla="*/ 510 h 518"/>
                  <a:gd name="T74" fmla="*/ 47 w 118"/>
                  <a:gd name="T75" fmla="*/ 513 h 518"/>
                  <a:gd name="T76" fmla="*/ 42 w 118"/>
                  <a:gd name="T77" fmla="*/ 507 h 518"/>
                  <a:gd name="T78" fmla="*/ 40 w 118"/>
                  <a:gd name="T79" fmla="*/ 516 h 518"/>
                  <a:gd name="T80" fmla="*/ 37 w 118"/>
                  <a:gd name="T81" fmla="*/ 515 h 518"/>
                  <a:gd name="T82" fmla="*/ 31 w 118"/>
                  <a:gd name="T83" fmla="*/ 515 h 518"/>
                  <a:gd name="T84" fmla="*/ 23 w 118"/>
                  <a:gd name="T85" fmla="*/ 506 h 518"/>
                  <a:gd name="T86" fmla="*/ 21 w 118"/>
                  <a:gd name="T87" fmla="*/ 509 h 518"/>
                  <a:gd name="T88" fmla="*/ 17 w 118"/>
                  <a:gd name="T89" fmla="*/ 511 h 518"/>
                  <a:gd name="T90" fmla="*/ 9 w 118"/>
                  <a:gd name="T91" fmla="*/ 509 h 518"/>
                  <a:gd name="T92" fmla="*/ 8 w 118"/>
                  <a:gd name="T93" fmla="*/ 507 h 518"/>
                  <a:gd name="T94" fmla="*/ 2 w 118"/>
                  <a:gd name="T95" fmla="*/ 509 h 518"/>
                  <a:gd name="T96" fmla="*/ 6 w 118"/>
                  <a:gd name="T97" fmla="*/ 6 h 518"/>
                  <a:gd name="T98" fmla="*/ 7 w 118"/>
                  <a:gd name="T99" fmla="*/ 5 h 5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18" h="518">
                    <a:moveTo>
                      <a:pt x="4" y="0"/>
                    </a:moveTo>
                    <a:lnTo>
                      <a:pt x="12" y="8"/>
                    </a:lnTo>
                    <a:lnTo>
                      <a:pt x="12" y="9"/>
                    </a:lnTo>
                    <a:lnTo>
                      <a:pt x="12" y="8"/>
                    </a:lnTo>
                    <a:lnTo>
                      <a:pt x="20" y="12"/>
                    </a:lnTo>
                    <a:lnTo>
                      <a:pt x="18" y="13"/>
                    </a:lnTo>
                    <a:lnTo>
                      <a:pt x="21" y="12"/>
                    </a:lnTo>
                    <a:lnTo>
                      <a:pt x="21" y="13"/>
                    </a:lnTo>
                    <a:lnTo>
                      <a:pt x="22" y="13"/>
                    </a:lnTo>
                    <a:lnTo>
                      <a:pt x="23" y="11"/>
                    </a:lnTo>
                    <a:lnTo>
                      <a:pt x="23" y="12"/>
                    </a:lnTo>
                    <a:lnTo>
                      <a:pt x="25" y="12"/>
                    </a:lnTo>
                    <a:lnTo>
                      <a:pt x="24" y="11"/>
                    </a:lnTo>
                    <a:lnTo>
                      <a:pt x="27" y="11"/>
                    </a:lnTo>
                    <a:lnTo>
                      <a:pt x="32" y="17"/>
                    </a:lnTo>
                    <a:lnTo>
                      <a:pt x="32" y="16"/>
                    </a:lnTo>
                    <a:lnTo>
                      <a:pt x="33" y="18"/>
                    </a:lnTo>
                    <a:lnTo>
                      <a:pt x="33" y="19"/>
                    </a:lnTo>
                    <a:lnTo>
                      <a:pt x="37" y="20"/>
                    </a:lnTo>
                    <a:lnTo>
                      <a:pt x="38" y="18"/>
                    </a:lnTo>
                    <a:lnTo>
                      <a:pt x="40" y="21"/>
                    </a:lnTo>
                    <a:lnTo>
                      <a:pt x="41" y="19"/>
                    </a:lnTo>
                    <a:lnTo>
                      <a:pt x="42" y="21"/>
                    </a:lnTo>
                    <a:lnTo>
                      <a:pt x="48" y="28"/>
                    </a:lnTo>
                    <a:lnTo>
                      <a:pt x="51" y="26"/>
                    </a:lnTo>
                    <a:lnTo>
                      <a:pt x="51" y="24"/>
                    </a:lnTo>
                    <a:lnTo>
                      <a:pt x="52" y="27"/>
                    </a:lnTo>
                    <a:lnTo>
                      <a:pt x="54" y="24"/>
                    </a:lnTo>
                    <a:lnTo>
                      <a:pt x="55" y="28"/>
                    </a:lnTo>
                    <a:lnTo>
                      <a:pt x="55" y="25"/>
                    </a:lnTo>
                    <a:lnTo>
                      <a:pt x="58" y="29"/>
                    </a:lnTo>
                    <a:lnTo>
                      <a:pt x="59" y="29"/>
                    </a:lnTo>
                    <a:lnTo>
                      <a:pt x="59" y="31"/>
                    </a:lnTo>
                    <a:lnTo>
                      <a:pt x="60" y="31"/>
                    </a:lnTo>
                    <a:lnTo>
                      <a:pt x="60" y="27"/>
                    </a:lnTo>
                    <a:lnTo>
                      <a:pt x="64" y="28"/>
                    </a:lnTo>
                    <a:lnTo>
                      <a:pt x="64" y="30"/>
                    </a:lnTo>
                    <a:lnTo>
                      <a:pt x="65" y="31"/>
                    </a:lnTo>
                    <a:lnTo>
                      <a:pt x="65" y="29"/>
                    </a:lnTo>
                    <a:lnTo>
                      <a:pt x="67" y="29"/>
                    </a:lnTo>
                    <a:lnTo>
                      <a:pt x="68" y="30"/>
                    </a:lnTo>
                    <a:lnTo>
                      <a:pt x="70" y="27"/>
                    </a:lnTo>
                    <a:lnTo>
                      <a:pt x="70" y="28"/>
                    </a:lnTo>
                    <a:lnTo>
                      <a:pt x="71" y="30"/>
                    </a:lnTo>
                    <a:lnTo>
                      <a:pt x="71" y="28"/>
                    </a:lnTo>
                    <a:lnTo>
                      <a:pt x="72" y="30"/>
                    </a:lnTo>
                    <a:lnTo>
                      <a:pt x="72" y="28"/>
                    </a:lnTo>
                    <a:lnTo>
                      <a:pt x="73" y="28"/>
                    </a:lnTo>
                    <a:lnTo>
                      <a:pt x="75" y="30"/>
                    </a:lnTo>
                    <a:lnTo>
                      <a:pt x="75" y="28"/>
                    </a:lnTo>
                    <a:lnTo>
                      <a:pt x="77" y="30"/>
                    </a:lnTo>
                    <a:lnTo>
                      <a:pt x="79" y="29"/>
                    </a:lnTo>
                    <a:lnTo>
                      <a:pt x="80" y="33"/>
                    </a:lnTo>
                    <a:lnTo>
                      <a:pt x="81" y="30"/>
                    </a:lnTo>
                    <a:lnTo>
                      <a:pt x="82" y="33"/>
                    </a:lnTo>
                    <a:lnTo>
                      <a:pt x="84" y="33"/>
                    </a:lnTo>
                    <a:lnTo>
                      <a:pt x="82" y="30"/>
                    </a:lnTo>
                    <a:lnTo>
                      <a:pt x="83" y="29"/>
                    </a:lnTo>
                    <a:lnTo>
                      <a:pt x="88" y="31"/>
                    </a:lnTo>
                    <a:lnTo>
                      <a:pt x="89" y="38"/>
                    </a:lnTo>
                    <a:lnTo>
                      <a:pt x="89" y="31"/>
                    </a:lnTo>
                    <a:lnTo>
                      <a:pt x="92" y="37"/>
                    </a:lnTo>
                    <a:lnTo>
                      <a:pt x="93" y="31"/>
                    </a:lnTo>
                    <a:lnTo>
                      <a:pt x="94" y="36"/>
                    </a:lnTo>
                    <a:lnTo>
                      <a:pt x="97" y="34"/>
                    </a:lnTo>
                    <a:lnTo>
                      <a:pt x="99" y="36"/>
                    </a:lnTo>
                    <a:lnTo>
                      <a:pt x="98" y="30"/>
                    </a:lnTo>
                    <a:lnTo>
                      <a:pt x="100" y="36"/>
                    </a:lnTo>
                    <a:lnTo>
                      <a:pt x="102" y="36"/>
                    </a:lnTo>
                    <a:lnTo>
                      <a:pt x="101" y="33"/>
                    </a:lnTo>
                    <a:lnTo>
                      <a:pt x="105" y="34"/>
                    </a:lnTo>
                    <a:lnTo>
                      <a:pt x="106" y="33"/>
                    </a:lnTo>
                    <a:lnTo>
                      <a:pt x="109" y="37"/>
                    </a:lnTo>
                    <a:lnTo>
                      <a:pt x="109" y="35"/>
                    </a:lnTo>
                    <a:lnTo>
                      <a:pt x="112" y="36"/>
                    </a:lnTo>
                    <a:lnTo>
                      <a:pt x="112" y="39"/>
                    </a:lnTo>
                    <a:lnTo>
                      <a:pt x="113" y="39"/>
                    </a:lnTo>
                    <a:lnTo>
                      <a:pt x="113" y="37"/>
                    </a:lnTo>
                    <a:lnTo>
                      <a:pt x="115" y="41"/>
                    </a:lnTo>
                    <a:lnTo>
                      <a:pt x="117" y="39"/>
                    </a:lnTo>
                    <a:lnTo>
                      <a:pt x="115" y="33"/>
                    </a:lnTo>
                    <a:lnTo>
                      <a:pt x="116" y="33"/>
                    </a:lnTo>
                    <a:lnTo>
                      <a:pt x="118" y="37"/>
                    </a:lnTo>
                    <a:lnTo>
                      <a:pt x="118" y="507"/>
                    </a:lnTo>
                    <a:lnTo>
                      <a:pt x="117" y="506"/>
                    </a:lnTo>
                    <a:lnTo>
                      <a:pt x="114" y="511"/>
                    </a:lnTo>
                    <a:lnTo>
                      <a:pt x="112" y="507"/>
                    </a:lnTo>
                    <a:lnTo>
                      <a:pt x="110" y="506"/>
                    </a:lnTo>
                    <a:lnTo>
                      <a:pt x="109" y="509"/>
                    </a:lnTo>
                    <a:lnTo>
                      <a:pt x="107" y="505"/>
                    </a:lnTo>
                    <a:lnTo>
                      <a:pt x="106" y="505"/>
                    </a:lnTo>
                    <a:lnTo>
                      <a:pt x="105" y="507"/>
                    </a:lnTo>
                    <a:lnTo>
                      <a:pt x="105" y="509"/>
                    </a:lnTo>
                    <a:lnTo>
                      <a:pt x="105" y="509"/>
                    </a:lnTo>
                    <a:lnTo>
                      <a:pt x="105" y="507"/>
                    </a:lnTo>
                    <a:lnTo>
                      <a:pt x="105" y="506"/>
                    </a:lnTo>
                    <a:lnTo>
                      <a:pt x="105" y="505"/>
                    </a:lnTo>
                    <a:lnTo>
                      <a:pt x="105" y="504"/>
                    </a:lnTo>
                    <a:lnTo>
                      <a:pt x="100" y="504"/>
                    </a:lnTo>
                    <a:lnTo>
                      <a:pt x="100" y="505"/>
                    </a:lnTo>
                    <a:lnTo>
                      <a:pt x="99" y="506"/>
                    </a:lnTo>
                    <a:lnTo>
                      <a:pt x="98" y="506"/>
                    </a:lnTo>
                    <a:lnTo>
                      <a:pt x="99" y="506"/>
                    </a:lnTo>
                    <a:lnTo>
                      <a:pt x="99" y="506"/>
                    </a:lnTo>
                    <a:lnTo>
                      <a:pt x="101" y="506"/>
                    </a:lnTo>
                    <a:lnTo>
                      <a:pt x="101" y="509"/>
                    </a:lnTo>
                    <a:lnTo>
                      <a:pt x="96" y="505"/>
                    </a:lnTo>
                    <a:lnTo>
                      <a:pt x="94" y="506"/>
                    </a:lnTo>
                    <a:lnTo>
                      <a:pt x="94" y="504"/>
                    </a:lnTo>
                    <a:lnTo>
                      <a:pt x="93" y="507"/>
                    </a:lnTo>
                    <a:lnTo>
                      <a:pt x="92" y="507"/>
                    </a:lnTo>
                    <a:lnTo>
                      <a:pt x="92" y="505"/>
                    </a:lnTo>
                    <a:lnTo>
                      <a:pt x="91" y="507"/>
                    </a:lnTo>
                    <a:lnTo>
                      <a:pt x="91" y="506"/>
                    </a:lnTo>
                    <a:lnTo>
                      <a:pt x="91" y="510"/>
                    </a:lnTo>
                    <a:lnTo>
                      <a:pt x="88" y="509"/>
                    </a:lnTo>
                    <a:lnTo>
                      <a:pt x="88" y="505"/>
                    </a:lnTo>
                    <a:lnTo>
                      <a:pt x="87" y="506"/>
                    </a:lnTo>
                    <a:lnTo>
                      <a:pt x="85" y="503"/>
                    </a:lnTo>
                    <a:lnTo>
                      <a:pt x="84" y="504"/>
                    </a:lnTo>
                    <a:lnTo>
                      <a:pt x="84" y="501"/>
                    </a:lnTo>
                    <a:lnTo>
                      <a:pt x="82" y="501"/>
                    </a:lnTo>
                    <a:lnTo>
                      <a:pt x="83" y="503"/>
                    </a:lnTo>
                    <a:lnTo>
                      <a:pt x="82" y="503"/>
                    </a:lnTo>
                    <a:lnTo>
                      <a:pt x="81" y="501"/>
                    </a:lnTo>
                    <a:lnTo>
                      <a:pt x="80" y="501"/>
                    </a:lnTo>
                    <a:lnTo>
                      <a:pt x="79" y="502"/>
                    </a:lnTo>
                    <a:lnTo>
                      <a:pt x="79" y="501"/>
                    </a:lnTo>
                    <a:lnTo>
                      <a:pt x="77" y="501"/>
                    </a:lnTo>
                    <a:lnTo>
                      <a:pt x="77" y="503"/>
                    </a:lnTo>
                    <a:lnTo>
                      <a:pt x="76" y="502"/>
                    </a:lnTo>
                    <a:lnTo>
                      <a:pt x="73" y="506"/>
                    </a:lnTo>
                    <a:lnTo>
                      <a:pt x="74" y="502"/>
                    </a:lnTo>
                    <a:lnTo>
                      <a:pt x="68" y="511"/>
                    </a:lnTo>
                    <a:lnTo>
                      <a:pt x="67" y="512"/>
                    </a:lnTo>
                    <a:lnTo>
                      <a:pt x="65" y="512"/>
                    </a:lnTo>
                    <a:lnTo>
                      <a:pt x="62" y="515"/>
                    </a:lnTo>
                    <a:lnTo>
                      <a:pt x="62" y="512"/>
                    </a:lnTo>
                    <a:lnTo>
                      <a:pt x="59" y="512"/>
                    </a:lnTo>
                    <a:lnTo>
                      <a:pt x="59" y="511"/>
                    </a:lnTo>
                    <a:lnTo>
                      <a:pt x="59" y="512"/>
                    </a:lnTo>
                    <a:lnTo>
                      <a:pt x="59" y="512"/>
                    </a:lnTo>
                    <a:lnTo>
                      <a:pt x="58" y="514"/>
                    </a:lnTo>
                    <a:lnTo>
                      <a:pt x="57" y="512"/>
                    </a:lnTo>
                    <a:lnTo>
                      <a:pt x="55" y="513"/>
                    </a:lnTo>
                    <a:lnTo>
                      <a:pt x="54" y="512"/>
                    </a:lnTo>
                    <a:lnTo>
                      <a:pt x="52" y="510"/>
                    </a:lnTo>
                    <a:lnTo>
                      <a:pt x="50" y="510"/>
                    </a:lnTo>
                    <a:lnTo>
                      <a:pt x="47" y="507"/>
                    </a:lnTo>
                    <a:lnTo>
                      <a:pt x="48" y="510"/>
                    </a:lnTo>
                    <a:lnTo>
                      <a:pt x="46" y="509"/>
                    </a:lnTo>
                    <a:lnTo>
                      <a:pt x="47" y="513"/>
                    </a:lnTo>
                    <a:lnTo>
                      <a:pt x="45" y="509"/>
                    </a:lnTo>
                    <a:lnTo>
                      <a:pt x="43" y="510"/>
                    </a:lnTo>
                    <a:lnTo>
                      <a:pt x="43" y="509"/>
                    </a:lnTo>
                    <a:lnTo>
                      <a:pt x="42" y="507"/>
                    </a:lnTo>
                    <a:lnTo>
                      <a:pt x="42" y="513"/>
                    </a:lnTo>
                    <a:lnTo>
                      <a:pt x="42" y="509"/>
                    </a:lnTo>
                    <a:lnTo>
                      <a:pt x="42" y="515"/>
                    </a:lnTo>
                    <a:lnTo>
                      <a:pt x="40" y="516"/>
                    </a:lnTo>
                    <a:lnTo>
                      <a:pt x="39" y="516"/>
                    </a:lnTo>
                    <a:lnTo>
                      <a:pt x="37" y="515"/>
                    </a:lnTo>
                    <a:lnTo>
                      <a:pt x="37" y="514"/>
                    </a:lnTo>
                    <a:lnTo>
                      <a:pt x="37" y="515"/>
                    </a:lnTo>
                    <a:lnTo>
                      <a:pt x="37" y="515"/>
                    </a:lnTo>
                    <a:lnTo>
                      <a:pt x="37" y="518"/>
                    </a:lnTo>
                    <a:lnTo>
                      <a:pt x="35" y="516"/>
                    </a:lnTo>
                    <a:lnTo>
                      <a:pt x="31" y="515"/>
                    </a:lnTo>
                    <a:lnTo>
                      <a:pt x="31" y="511"/>
                    </a:lnTo>
                    <a:lnTo>
                      <a:pt x="25" y="510"/>
                    </a:lnTo>
                    <a:lnTo>
                      <a:pt x="25" y="512"/>
                    </a:lnTo>
                    <a:lnTo>
                      <a:pt x="23" y="506"/>
                    </a:lnTo>
                    <a:lnTo>
                      <a:pt x="23" y="507"/>
                    </a:lnTo>
                    <a:lnTo>
                      <a:pt x="21" y="507"/>
                    </a:lnTo>
                    <a:lnTo>
                      <a:pt x="22" y="510"/>
                    </a:lnTo>
                    <a:lnTo>
                      <a:pt x="21" y="509"/>
                    </a:lnTo>
                    <a:lnTo>
                      <a:pt x="21" y="511"/>
                    </a:lnTo>
                    <a:lnTo>
                      <a:pt x="20" y="509"/>
                    </a:lnTo>
                    <a:lnTo>
                      <a:pt x="17" y="509"/>
                    </a:lnTo>
                    <a:lnTo>
                      <a:pt x="17" y="511"/>
                    </a:lnTo>
                    <a:lnTo>
                      <a:pt x="16" y="509"/>
                    </a:lnTo>
                    <a:lnTo>
                      <a:pt x="14" y="511"/>
                    </a:lnTo>
                    <a:lnTo>
                      <a:pt x="10" y="506"/>
                    </a:lnTo>
                    <a:lnTo>
                      <a:pt x="9" y="509"/>
                    </a:lnTo>
                    <a:lnTo>
                      <a:pt x="8" y="507"/>
                    </a:lnTo>
                    <a:lnTo>
                      <a:pt x="8" y="506"/>
                    </a:lnTo>
                    <a:lnTo>
                      <a:pt x="7" y="506"/>
                    </a:lnTo>
                    <a:lnTo>
                      <a:pt x="8" y="507"/>
                    </a:lnTo>
                    <a:lnTo>
                      <a:pt x="8" y="509"/>
                    </a:lnTo>
                    <a:lnTo>
                      <a:pt x="6" y="506"/>
                    </a:lnTo>
                    <a:lnTo>
                      <a:pt x="5" y="512"/>
                    </a:lnTo>
                    <a:lnTo>
                      <a:pt x="2" y="509"/>
                    </a:lnTo>
                    <a:lnTo>
                      <a:pt x="1" y="511"/>
                    </a:lnTo>
                    <a:lnTo>
                      <a:pt x="0" y="511"/>
                    </a:lnTo>
                    <a:lnTo>
                      <a:pt x="0" y="4"/>
                    </a:lnTo>
                    <a:lnTo>
                      <a:pt x="6" y="6"/>
                    </a:lnTo>
                    <a:lnTo>
                      <a:pt x="8" y="9"/>
                    </a:lnTo>
                    <a:lnTo>
                      <a:pt x="8" y="8"/>
                    </a:lnTo>
                    <a:lnTo>
                      <a:pt x="6" y="6"/>
                    </a:lnTo>
                    <a:lnTo>
                      <a:pt x="7" y="5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E20074"/>
                  </a:buClr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0" cap="none" spc="0" normalizeH="0" baseline="0" noProof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05" name="Freeform 145"/>
              <p:cNvSpPr>
                <a:spLocks/>
              </p:cNvSpPr>
              <p:nvPr/>
            </p:nvSpPr>
            <p:spPr bwMode="auto">
              <a:xfrm>
                <a:off x="11918951" y="609601"/>
                <a:ext cx="187325" cy="758825"/>
              </a:xfrm>
              <a:custGeom>
                <a:avLst/>
                <a:gdLst>
                  <a:gd name="T0" fmla="*/ 15 w 118"/>
                  <a:gd name="T1" fmla="*/ 3 h 478"/>
                  <a:gd name="T2" fmla="*/ 21 w 118"/>
                  <a:gd name="T3" fmla="*/ 7 h 478"/>
                  <a:gd name="T4" fmla="*/ 23 w 118"/>
                  <a:gd name="T5" fmla="*/ 6 h 478"/>
                  <a:gd name="T6" fmla="*/ 28 w 118"/>
                  <a:gd name="T7" fmla="*/ 1 h 478"/>
                  <a:gd name="T8" fmla="*/ 29 w 118"/>
                  <a:gd name="T9" fmla="*/ 3 h 478"/>
                  <a:gd name="T10" fmla="*/ 33 w 118"/>
                  <a:gd name="T11" fmla="*/ 5 h 478"/>
                  <a:gd name="T12" fmla="*/ 34 w 118"/>
                  <a:gd name="T13" fmla="*/ 8 h 478"/>
                  <a:gd name="T14" fmla="*/ 37 w 118"/>
                  <a:gd name="T15" fmla="*/ 6 h 478"/>
                  <a:gd name="T16" fmla="*/ 41 w 118"/>
                  <a:gd name="T17" fmla="*/ 3 h 478"/>
                  <a:gd name="T18" fmla="*/ 45 w 118"/>
                  <a:gd name="T19" fmla="*/ 5 h 478"/>
                  <a:gd name="T20" fmla="*/ 47 w 118"/>
                  <a:gd name="T21" fmla="*/ 6 h 478"/>
                  <a:gd name="T22" fmla="*/ 51 w 118"/>
                  <a:gd name="T23" fmla="*/ 5 h 478"/>
                  <a:gd name="T24" fmla="*/ 55 w 118"/>
                  <a:gd name="T25" fmla="*/ 9 h 478"/>
                  <a:gd name="T26" fmla="*/ 58 w 118"/>
                  <a:gd name="T27" fmla="*/ 7 h 478"/>
                  <a:gd name="T28" fmla="*/ 68 w 118"/>
                  <a:gd name="T29" fmla="*/ 3 h 478"/>
                  <a:gd name="T30" fmla="*/ 72 w 118"/>
                  <a:gd name="T31" fmla="*/ 5 h 478"/>
                  <a:gd name="T32" fmla="*/ 76 w 118"/>
                  <a:gd name="T33" fmla="*/ 3 h 478"/>
                  <a:gd name="T34" fmla="*/ 81 w 118"/>
                  <a:gd name="T35" fmla="*/ 6 h 478"/>
                  <a:gd name="T36" fmla="*/ 86 w 118"/>
                  <a:gd name="T37" fmla="*/ 5 h 478"/>
                  <a:gd name="T38" fmla="*/ 90 w 118"/>
                  <a:gd name="T39" fmla="*/ 5 h 478"/>
                  <a:gd name="T40" fmla="*/ 91 w 118"/>
                  <a:gd name="T41" fmla="*/ 6 h 478"/>
                  <a:gd name="T42" fmla="*/ 99 w 118"/>
                  <a:gd name="T43" fmla="*/ 6 h 478"/>
                  <a:gd name="T44" fmla="*/ 105 w 118"/>
                  <a:gd name="T45" fmla="*/ 2 h 478"/>
                  <a:gd name="T46" fmla="*/ 118 w 118"/>
                  <a:gd name="T47" fmla="*/ 6 h 478"/>
                  <a:gd name="T48" fmla="*/ 118 w 118"/>
                  <a:gd name="T49" fmla="*/ 473 h 478"/>
                  <a:gd name="T50" fmla="*/ 108 w 118"/>
                  <a:gd name="T51" fmla="*/ 471 h 478"/>
                  <a:gd name="T52" fmla="*/ 104 w 118"/>
                  <a:gd name="T53" fmla="*/ 473 h 478"/>
                  <a:gd name="T54" fmla="*/ 103 w 118"/>
                  <a:gd name="T55" fmla="*/ 474 h 478"/>
                  <a:gd name="T56" fmla="*/ 92 w 118"/>
                  <a:gd name="T57" fmla="*/ 473 h 478"/>
                  <a:gd name="T58" fmla="*/ 89 w 118"/>
                  <a:gd name="T59" fmla="*/ 468 h 478"/>
                  <a:gd name="T60" fmla="*/ 84 w 118"/>
                  <a:gd name="T61" fmla="*/ 463 h 478"/>
                  <a:gd name="T62" fmla="*/ 82 w 118"/>
                  <a:gd name="T63" fmla="*/ 465 h 478"/>
                  <a:gd name="T64" fmla="*/ 76 w 118"/>
                  <a:gd name="T65" fmla="*/ 468 h 478"/>
                  <a:gd name="T66" fmla="*/ 73 w 118"/>
                  <a:gd name="T67" fmla="*/ 467 h 478"/>
                  <a:gd name="T68" fmla="*/ 64 w 118"/>
                  <a:gd name="T69" fmla="*/ 466 h 478"/>
                  <a:gd name="T70" fmla="*/ 62 w 118"/>
                  <a:gd name="T71" fmla="*/ 468 h 478"/>
                  <a:gd name="T72" fmla="*/ 53 w 118"/>
                  <a:gd name="T73" fmla="*/ 470 h 478"/>
                  <a:gd name="T74" fmla="*/ 50 w 118"/>
                  <a:gd name="T75" fmla="*/ 466 h 478"/>
                  <a:gd name="T76" fmla="*/ 45 w 118"/>
                  <a:gd name="T77" fmla="*/ 463 h 478"/>
                  <a:gd name="T78" fmla="*/ 40 w 118"/>
                  <a:gd name="T79" fmla="*/ 462 h 478"/>
                  <a:gd name="T80" fmla="*/ 38 w 118"/>
                  <a:gd name="T81" fmla="*/ 465 h 478"/>
                  <a:gd name="T82" fmla="*/ 37 w 118"/>
                  <a:gd name="T83" fmla="*/ 465 h 478"/>
                  <a:gd name="T84" fmla="*/ 33 w 118"/>
                  <a:gd name="T85" fmla="*/ 465 h 478"/>
                  <a:gd name="T86" fmla="*/ 30 w 118"/>
                  <a:gd name="T87" fmla="*/ 466 h 478"/>
                  <a:gd name="T88" fmla="*/ 26 w 118"/>
                  <a:gd name="T89" fmla="*/ 466 h 478"/>
                  <a:gd name="T90" fmla="*/ 22 w 118"/>
                  <a:gd name="T91" fmla="*/ 471 h 478"/>
                  <a:gd name="T92" fmla="*/ 17 w 118"/>
                  <a:gd name="T93" fmla="*/ 469 h 478"/>
                  <a:gd name="T94" fmla="*/ 16 w 118"/>
                  <a:gd name="T95" fmla="*/ 478 h 478"/>
                  <a:gd name="T96" fmla="*/ 7 w 118"/>
                  <a:gd name="T97" fmla="*/ 473 h 478"/>
                  <a:gd name="T98" fmla="*/ 4 w 118"/>
                  <a:gd name="T99" fmla="*/ 473 h 478"/>
                  <a:gd name="T100" fmla="*/ 0 w 118"/>
                  <a:gd name="T101" fmla="*/ 1 h 478"/>
                  <a:gd name="T102" fmla="*/ 4 w 118"/>
                  <a:gd name="T103" fmla="*/ 5 h 478"/>
                  <a:gd name="T104" fmla="*/ 5 w 118"/>
                  <a:gd name="T105" fmla="*/ 5 h 478"/>
                  <a:gd name="T106" fmla="*/ 7 w 118"/>
                  <a:gd name="T107" fmla="*/ 0 h 478"/>
                  <a:gd name="T108" fmla="*/ 8 w 118"/>
                  <a:gd name="T109" fmla="*/ 2 h 4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18" h="478">
                    <a:moveTo>
                      <a:pt x="9" y="0"/>
                    </a:moveTo>
                    <a:lnTo>
                      <a:pt x="13" y="6"/>
                    </a:lnTo>
                    <a:lnTo>
                      <a:pt x="15" y="3"/>
                    </a:lnTo>
                    <a:lnTo>
                      <a:pt x="16" y="7"/>
                    </a:lnTo>
                    <a:lnTo>
                      <a:pt x="20" y="9"/>
                    </a:lnTo>
                    <a:lnTo>
                      <a:pt x="21" y="7"/>
                    </a:lnTo>
                    <a:lnTo>
                      <a:pt x="20" y="3"/>
                    </a:lnTo>
                    <a:lnTo>
                      <a:pt x="22" y="6"/>
                    </a:lnTo>
                    <a:lnTo>
                      <a:pt x="23" y="6"/>
                    </a:lnTo>
                    <a:lnTo>
                      <a:pt x="25" y="2"/>
                    </a:lnTo>
                    <a:lnTo>
                      <a:pt x="25" y="5"/>
                    </a:lnTo>
                    <a:lnTo>
                      <a:pt x="28" y="1"/>
                    </a:lnTo>
                    <a:lnTo>
                      <a:pt x="26" y="3"/>
                    </a:lnTo>
                    <a:lnTo>
                      <a:pt x="29" y="6"/>
                    </a:lnTo>
                    <a:lnTo>
                      <a:pt x="29" y="3"/>
                    </a:lnTo>
                    <a:lnTo>
                      <a:pt x="31" y="5"/>
                    </a:lnTo>
                    <a:lnTo>
                      <a:pt x="31" y="7"/>
                    </a:lnTo>
                    <a:lnTo>
                      <a:pt x="33" y="5"/>
                    </a:lnTo>
                    <a:lnTo>
                      <a:pt x="33" y="6"/>
                    </a:lnTo>
                    <a:lnTo>
                      <a:pt x="32" y="7"/>
                    </a:lnTo>
                    <a:lnTo>
                      <a:pt x="34" y="8"/>
                    </a:lnTo>
                    <a:lnTo>
                      <a:pt x="36" y="6"/>
                    </a:lnTo>
                    <a:lnTo>
                      <a:pt x="37" y="7"/>
                    </a:lnTo>
                    <a:lnTo>
                      <a:pt x="37" y="6"/>
                    </a:lnTo>
                    <a:lnTo>
                      <a:pt x="38" y="7"/>
                    </a:lnTo>
                    <a:lnTo>
                      <a:pt x="39" y="5"/>
                    </a:lnTo>
                    <a:lnTo>
                      <a:pt x="41" y="3"/>
                    </a:lnTo>
                    <a:lnTo>
                      <a:pt x="41" y="7"/>
                    </a:lnTo>
                    <a:lnTo>
                      <a:pt x="44" y="5"/>
                    </a:lnTo>
                    <a:lnTo>
                      <a:pt x="45" y="5"/>
                    </a:lnTo>
                    <a:lnTo>
                      <a:pt x="45" y="8"/>
                    </a:lnTo>
                    <a:lnTo>
                      <a:pt x="48" y="8"/>
                    </a:lnTo>
                    <a:lnTo>
                      <a:pt x="47" y="6"/>
                    </a:lnTo>
                    <a:lnTo>
                      <a:pt x="48" y="6"/>
                    </a:lnTo>
                    <a:lnTo>
                      <a:pt x="50" y="8"/>
                    </a:lnTo>
                    <a:lnTo>
                      <a:pt x="51" y="5"/>
                    </a:lnTo>
                    <a:lnTo>
                      <a:pt x="53" y="5"/>
                    </a:lnTo>
                    <a:lnTo>
                      <a:pt x="53" y="8"/>
                    </a:lnTo>
                    <a:lnTo>
                      <a:pt x="55" y="9"/>
                    </a:lnTo>
                    <a:lnTo>
                      <a:pt x="55" y="7"/>
                    </a:lnTo>
                    <a:lnTo>
                      <a:pt x="56" y="8"/>
                    </a:lnTo>
                    <a:lnTo>
                      <a:pt x="58" y="7"/>
                    </a:lnTo>
                    <a:lnTo>
                      <a:pt x="58" y="6"/>
                    </a:lnTo>
                    <a:lnTo>
                      <a:pt x="66" y="3"/>
                    </a:lnTo>
                    <a:lnTo>
                      <a:pt x="68" y="3"/>
                    </a:lnTo>
                    <a:lnTo>
                      <a:pt x="68" y="5"/>
                    </a:lnTo>
                    <a:lnTo>
                      <a:pt x="71" y="3"/>
                    </a:lnTo>
                    <a:lnTo>
                      <a:pt x="72" y="5"/>
                    </a:lnTo>
                    <a:lnTo>
                      <a:pt x="72" y="2"/>
                    </a:lnTo>
                    <a:lnTo>
                      <a:pt x="76" y="5"/>
                    </a:lnTo>
                    <a:lnTo>
                      <a:pt x="76" y="3"/>
                    </a:lnTo>
                    <a:lnTo>
                      <a:pt x="76" y="5"/>
                    </a:lnTo>
                    <a:lnTo>
                      <a:pt x="81" y="5"/>
                    </a:lnTo>
                    <a:lnTo>
                      <a:pt x="81" y="6"/>
                    </a:lnTo>
                    <a:lnTo>
                      <a:pt x="83" y="6"/>
                    </a:lnTo>
                    <a:lnTo>
                      <a:pt x="82" y="6"/>
                    </a:lnTo>
                    <a:lnTo>
                      <a:pt x="86" y="5"/>
                    </a:lnTo>
                    <a:lnTo>
                      <a:pt x="86" y="6"/>
                    </a:lnTo>
                    <a:lnTo>
                      <a:pt x="87" y="5"/>
                    </a:lnTo>
                    <a:lnTo>
                      <a:pt x="90" y="5"/>
                    </a:lnTo>
                    <a:lnTo>
                      <a:pt x="92" y="1"/>
                    </a:lnTo>
                    <a:lnTo>
                      <a:pt x="91" y="5"/>
                    </a:lnTo>
                    <a:lnTo>
                      <a:pt x="91" y="6"/>
                    </a:lnTo>
                    <a:lnTo>
                      <a:pt x="95" y="5"/>
                    </a:lnTo>
                    <a:lnTo>
                      <a:pt x="95" y="7"/>
                    </a:lnTo>
                    <a:lnTo>
                      <a:pt x="99" y="6"/>
                    </a:lnTo>
                    <a:lnTo>
                      <a:pt x="100" y="2"/>
                    </a:lnTo>
                    <a:lnTo>
                      <a:pt x="104" y="0"/>
                    </a:lnTo>
                    <a:lnTo>
                      <a:pt x="105" y="2"/>
                    </a:lnTo>
                    <a:lnTo>
                      <a:pt x="115" y="6"/>
                    </a:lnTo>
                    <a:lnTo>
                      <a:pt x="115" y="3"/>
                    </a:lnTo>
                    <a:lnTo>
                      <a:pt x="118" y="6"/>
                    </a:lnTo>
                    <a:lnTo>
                      <a:pt x="118" y="469"/>
                    </a:lnTo>
                    <a:lnTo>
                      <a:pt x="114" y="469"/>
                    </a:lnTo>
                    <a:lnTo>
                      <a:pt x="118" y="473"/>
                    </a:lnTo>
                    <a:lnTo>
                      <a:pt x="109" y="467"/>
                    </a:lnTo>
                    <a:lnTo>
                      <a:pt x="112" y="474"/>
                    </a:lnTo>
                    <a:lnTo>
                      <a:pt x="108" y="471"/>
                    </a:lnTo>
                    <a:lnTo>
                      <a:pt x="107" y="473"/>
                    </a:lnTo>
                    <a:lnTo>
                      <a:pt x="108" y="475"/>
                    </a:lnTo>
                    <a:lnTo>
                      <a:pt x="104" y="473"/>
                    </a:lnTo>
                    <a:lnTo>
                      <a:pt x="104" y="474"/>
                    </a:lnTo>
                    <a:lnTo>
                      <a:pt x="100" y="474"/>
                    </a:lnTo>
                    <a:lnTo>
                      <a:pt x="103" y="474"/>
                    </a:lnTo>
                    <a:lnTo>
                      <a:pt x="103" y="475"/>
                    </a:lnTo>
                    <a:lnTo>
                      <a:pt x="99" y="476"/>
                    </a:lnTo>
                    <a:lnTo>
                      <a:pt x="92" y="473"/>
                    </a:lnTo>
                    <a:lnTo>
                      <a:pt x="90" y="470"/>
                    </a:lnTo>
                    <a:lnTo>
                      <a:pt x="90" y="473"/>
                    </a:lnTo>
                    <a:lnTo>
                      <a:pt x="89" y="468"/>
                    </a:lnTo>
                    <a:lnTo>
                      <a:pt x="88" y="470"/>
                    </a:lnTo>
                    <a:lnTo>
                      <a:pt x="84" y="461"/>
                    </a:lnTo>
                    <a:lnTo>
                      <a:pt x="84" y="463"/>
                    </a:lnTo>
                    <a:lnTo>
                      <a:pt x="83" y="462"/>
                    </a:lnTo>
                    <a:lnTo>
                      <a:pt x="82" y="462"/>
                    </a:lnTo>
                    <a:lnTo>
                      <a:pt x="82" y="465"/>
                    </a:lnTo>
                    <a:lnTo>
                      <a:pt x="79" y="465"/>
                    </a:lnTo>
                    <a:lnTo>
                      <a:pt x="76" y="463"/>
                    </a:lnTo>
                    <a:lnTo>
                      <a:pt x="76" y="468"/>
                    </a:lnTo>
                    <a:lnTo>
                      <a:pt x="74" y="465"/>
                    </a:lnTo>
                    <a:lnTo>
                      <a:pt x="74" y="468"/>
                    </a:lnTo>
                    <a:lnTo>
                      <a:pt x="73" y="467"/>
                    </a:lnTo>
                    <a:lnTo>
                      <a:pt x="71" y="468"/>
                    </a:lnTo>
                    <a:lnTo>
                      <a:pt x="66" y="465"/>
                    </a:lnTo>
                    <a:lnTo>
                      <a:pt x="64" y="466"/>
                    </a:lnTo>
                    <a:lnTo>
                      <a:pt x="65" y="467"/>
                    </a:lnTo>
                    <a:lnTo>
                      <a:pt x="63" y="468"/>
                    </a:lnTo>
                    <a:lnTo>
                      <a:pt x="62" y="468"/>
                    </a:lnTo>
                    <a:lnTo>
                      <a:pt x="56" y="470"/>
                    </a:lnTo>
                    <a:lnTo>
                      <a:pt x="56" y="468"/>
                    </a:lnTo>
                    <a:lnTo>
                      <a:pt x="53" y="470"/>
                    </a:lnTo>
                    <a:lnTo>
                      <a:pt x="54" y="468"/>
                    </a:lnTo>
                    <a:lnTo>
                      <a:pt x="53" y="466"/>
                    </a:lnTo>
                    <a:lnTo>
                      <a:pt x="50" y="466"/>
                    </a:lnTo>
                    <a:lnTo>
                      <a:pt x="48" y="463"/>
                    </a:lnTo>
                    <a:lnTo>
                      <a:pt x="48" y="466"/>
                    </a:lnTo>
                    <a:lnTo>
                      <a:pt x="45" y="463"/>
                    </a:lnTo>
                    <a:lnTo>
                      <a:pt x="44" y="461"/>
                    </a:lnTo>
                    <a:lnTo>
                      <a:pt x="41" y="465"/>
                    </a:lnTo>
                    <a:lnTo>
                      <a:pt x="40" y="462"/>
                    </a:lnTo>
                    <a:lnTo>
                      <a:pt x="38" y="462"/>
                    </a:lnTo>
                    <a:lnTo>
                      <a:pt x="40" y="465"/>
                    </a:lnTo>
                    <a:lnTo>
                      <a:pt x="38" y="465"/>
                    </a:lnTo>
                    <a:lnTo>
                      <a:pt x="40" y="466"/>
                    </a:lnTo>
                    <a:lnTo>
                      <a:pt x="37" y="466"/>
                    </a:lnTo>
                    <a:lnTo>
                      <a:pt x="37" y="465"/>
                    </a:lnTo>
                    <a:lnTo>
                      <a:pt x="36" y="466"/>
                    </a:lnTo>
                    <a:lnTo>
                      <a:pt x="34" y="465"/>
                    </a:lnTo>
                    <a:lnTo>
                      <a:pt x="33" y="465"/>
                    </a:lnTo>
                    <a:lnTo>
                      <a:pt x="32" y="468"/>
                    </a:lnTo>
                    <a:lnTo>
                      <a:pt x="30" y="465"/>
                    </a:lnTo>
                    <a:lnTo>
                      <a:pt x="30" y="466"/>
                    </a:lnTo>
                    <a:lnTo>
                      <a:pt x="28" y="465"/>
                    </a:lnTo>
                    <a:lnTo>
                      <a:pt x="28" y="468"/>
                    </a:lnTo>
                    <a:lnTo>
                      <a:pt x="26" y="466"/>
                    </a:lnTo>
                    <a:lnTo>
                      <a:pt x="23" y="467"/>
                    </a:lnTo>
                    <a:lnTo>
                      <a:pt x="23" y="470"/>
                    </a:lnTo>
                    <a:lnTo>
                      <a:pt x="22" y="471"/>
                    </a:lnTo>
                    <a:lnTo>
                      <a:pt x="20" y="471"/>
                    </a:lnTo>
                    <a:lnTo>
                      <a:pt x="19" y="469"/>
                    </a:lnTo>
                    <a:lnTo>
                      <a:pt x="17" y="469"/>
                    </a:lnTo>
                    <a:lnTo>
                      <a:pt x="17" y="471"/>
                    </a:lnTo>
                    <a:lnTo>
                      <a:pt x="16" y="469"/>
                    </a:lnTo>
                    <a:lnTo>
                      <a:pt x="16" y="478"/>
                    </a:lnTo>
                    <a:lnTo>
                      <a:pt x="12" y="473"/>
                    </a:lnTo>
                    <a:lnTo>
                      <a:pt x="8" y="471"/>
                    </a:lnTo>
                    <a:lnTo>
                      <a:pt x="7" y="473"/>
                    </a:lnTo>
                    <a:lnTo>
                      <a:pt x="11" y="474"/>
                    </a:lnTo>
                    <a:lnTo>
                      <a:pt x="7" y="473"/>
                    </a:lnTo>
                    <a:lnTo>
                      <a:pt x="4" y="473"/>
                    </a:lnTo>
                    <a:lnTo>
                      <a:pt x="1" y="471"/>
                    </a:lnTo>
                    <a:lnTo>
                      <a:pt x="0" y="471"/>
                    </a:lnTo>
                    <a:lnTo>
                      <a:pt x="0" y="1"/>
                    </a:lnTo>
                    <a:lnTo>
                      <a:pt x="1" y="5"/>
                    </a:lnTo>
                    <a:lnTo>
                      <a:pt x="3" y="1"/>
                    </a:lnTo>
                    <a:lnTo>
                      <a:pt x="4" y="5"/>
                    </a:lnTo>
                    <a:lnTo>
                      <a:pt x="5" y="2"/>
                    </a:lnTo>
                    <a:lnTo>
                      <a:pt x="6" y="2"/>
                    </a:lnTo>
                    <a:lnTo>
                      <a:pt x="5" y="5"/>
                    </a:lnTo>
                    <a:lnTo>
                      <a:pt x="6" y="0"/>
                    </a:lnTo>
                    <a:lnTo>
                      <a:pt x="6" y="1"/>
                    </a:lnTo>
                    <a:lnTo>
                      <a:pt x="7" y="0"/>
                    </a:lnTo>
                    <a:lnTo>
                      <a:pt x="8" y="1"/>
                    </a:lnTo>
                    <a:lnTo>
                      <a:pt x="8" y="1"/>
                    </a:lnTo>
                    <a:lnTo>
                      <a:pt x="8" y="2"/>
                    </a:lnTo>
                    <a:lnTo>
                      <a:pt x="9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E20074"/>
                  </a:buClr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0" cap="none" spc="0" normalizeH="0" baseline="0" noProof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06" name="Freeform 146"/>
              <p:cNvSpPr>
                <a:spLocks noEditPoints="1"/>
              </p:cNvSpPr>
              <p:nvPr/>
            </p:nvSpPr>
            <p:spPr bwMode="auto">
              <a:xfrm>
                <a:off x="12106276" y="612776"/>
                <a:ext cx="185738" cy="742950"/>
              </a:xfrm>
              <a:custGeom>
                <a:avLst/>
                <a:gdLst>
                  <a:gd name="T0" fmla="*/ 61 w 117"/>
                  <a:gd name="T1" fmla="*/ 459 h 468"/>
                  <a:gd name="T2" fmla="*/ 56 w 117"/>
                  <a:gd name="T3" fmla="*/ 458 h 468"/>
                  <a:gd name="T4" fmla="*/ 54 w 117"/>
                  <a:gd name="T5" fmla="*/ 459 h 468"/>
                  <a:gd name="T6" fmla="*/ 98 w 117"/>
                  <a:gd name="T7" fmla="*/ 15 h 468"/>
                  <a:gd name="T8" fmla="*/ 113 w 117"/>
                  <a:gd name="T9" fmla="*/ 12 h 468"/>
                  <a:gd name="T10" fmla="*/ 17 w 117"/>
                  <a:gd name="T11" fmla="*/ 8 h 468"/>
                  <a:gd name="T12" fmla="*/ 4 w 117"/>
                  <a:gd name="T13" fmla="*/ 5 h 468"/>
                  <a:gd name="T14" fmla="*/ 5 w 117"/>
                  <a:gd name="T15" fmla="*/ 4 h 468"/>
                  <a:gd name="T16" fmla="*/ 25 w 117"/>
                  <a:gd name="T17" fmla="*/ 3 h 468"/>
                  <a:gd name="T18" fmla="*/ 28 w 117"/>
                  <a:gd name="T19" fmla="*/ 5 h 468"/>
                  <a:gd name="T20" fmla="*/ 42 w 117"/>
                  <a:gd name="T21" fmla="*/ 13 h 468"/>
                  <a:gd name="T22" fmla="*/ 45 w 117"/>
                  <a:gd name="T23" fmla="*/ 15 h 468"/>
                  <a:gd name="T24" fmla="*/ 54 w 117"/>
                  <a:gd name="T25" fmla="*/ 17 h 468"/>
                  <a:gd name="T26" fmla="*/ 60 w 117"/>
                  <a:gd name="T27" fmla="*/ 18 h 468"/>
                  <a:gd name="T28" fmla="*/ 66 w 117"/>
                  <a:gd name="T29" fmla="*/ 22 h 468"/>
                  <a:gd name="T30" fmla="*/ 73 w 117"/>
                  <a:gd name="T31" fmla="*/ 17 h 468"/>
                  <a:gd name="T32" fmla="*/ 79 w 117"/>
                  <a:gd name="T33" fmla="*/ 17 h 468"/>
                  <a:gd name="T34" fmla="*/ 86 w 117"/>
                  <a:gd name="T35" fmla="*/ 20 h 468"/>
                  <a:gd name="T36" fmla="*/ 91 w 117"/>
                  <a:gd name="T37" fmla="*/ 14 h 468"/>
                  <a:gd name="T38" fmla="*/ 98 w 117"/>
                  <a:gd name="T39" fmla="*/ 17 h 468"/>
                  <a:gd name="T40" fmla="*/ 100 w 117"/>
                  <a:gd name="T41" fmla="*/ 15 h 468"/>
                  <a:gd name="T42" fmla="*/ 106 w 117"/>
                  <a:gd name="T43" fmla="*/ 13 h 468"/>
                  <a:gd name="T44" fmla="*/ 115 w 117"/>
                  <a:gd name="T45" fmla="*/ 12 h 468"/>
                  <a:gd name="T46" fmla="*/ 117 w 117"/>
                  <a:gd name="T47" fmla="*/ 12 h 468"/>
                  <a:gd name="T48" fmla="*/ 116 w 117"/>
                  <a:gd name="T49" fmla="*/ 458 h 468"/>
                  <a:gd name="T50" fmla="*/ 115 w 117"/>
                  <a:gd name="T51" fmla="*/ 461 h 468"/>
                  <a:gd name="T52" fmla="*/ 113 w 117"/>
                  <a:gd name="T53" fmla="*/ 461 h 468"/>
                  <a:gd name="T54" fmla="*/ 107 w 117"/>
                  <a:gd name="T55" fmla="*/ 459 h 468"/>
                  <a:gd name="T56" fmla="*/ 105 w 117"/>
                  <a:gd name="T57" fmla="*/ 463 h 468"/>
                  <a:gd name="T58" fmla="*/ 102 w 117"/>
                  <a:gd name="T59" fmla="*/ 458 h 468"/>
                  <a:gd name="T60" fmla="*/ 99 w 117"/>
                  <a:gd name="T61" fmla="*/ 458 h 468"/>
                  <a:gd name="T62" fmla="*/ 96 w 117"/>
                  <a:gd name="T63" fmla="*/ 457 h 468"/>
                  <a:gd name="T64" fmla="*/ 92 w 117"/>
                  <a:gd name="T65" fmla="*/ 456 h 468"/>
                  <a:gd name="T66" fmla="*/ 94 w 117"/>
                  <a:gd name="T67" fmla="*/ 458 h 468"/>
                  <a:gd name="T68" fmla="*/ 87 w 117"/>
                  <a:gd name="T69" fmla="*/ 458 h 468"/>
                  <a:gd name="T70" fmla="*/ 79 w 117"/>
                  <a:gd name="T71" fmla="*/ 460 h 468"/>
                  <a:gd name="T72" fmla="*/ 72 w 117"/>
                  <a:gd name="T73" fmla="*/ 457 h 468"/>
                  <a:gd name="T74" fmla="*/ 62 w 117"/>
                  <a:gd name="T75" fmla="*/ 458 h 468"/>
                  <a:gd name="T76" fmla="*/ 60 w 117"/>
                  <a:gd name="T77" fmla="*/ 456 h 468"/>
                  <a:gd name="T78" fmla="*/ 58 w 117"/>
                  <a:gd name="T79" fmla="*/ 459 h 468"/>
                  <a:gd name="T80" fmla="*/ 53 w 117"/>
                  <a:gd name="T81" fmla="*/ 460 h 468"/>
                  <a:gd name="T82" fmla="*/ 44 w 117"/>
                  <a:gd name="T83" fmla="*/ 457 h 468"/>
                  <a:gd name="T84" fmla="*/ 38 w 117"/>
                  <a:gd name="T85" fmla="*/ 452 h 468"/>
                  <a:gd name="T86" fmla="*/ 35 w 117"/>
                  <a:gd name="T87" fmla="*/ 456 h 468"/>
                  <a:gd name="T88" fmla="*/ 20 w 117"/>
                  <a:gd name="T89" fmla="*/ 460 h 468"/>
                  <a:gd name="T90" fmla="*/ 19 w 117"/>
                  <a:gd name="T91" fmla="*/ 464 h 468"/>
                  <a:gd name="T92" fmla="*/ 11 w 117"/>
                  <a:gd name="T93" fmla="*/ 464 h 468"/>
                  <a:gd name="T94" fmla="*/ 10 w 117"/>
                  <a:gd name="T95" fmla="*/ 467 h 468"/>
                  <a:gd name="T96" fmla="*/ 2 w 117"/>
                  <a:gd name="T97" fmla="*/ 467 h 468"/>
                  <a:gd name="T98" fmla="*/ 3 w 117"/>
                  <a:gd name="T99" fmla="*/ 6 h 468"/>
                  <a:gd name="T100" fmla="*/ 10 w 117"/>
                  <a:gd name="T101" fmla="*/ 7 h 468"/>
                  <a:gd name="T102" fmla="*/ 17 w 117"/>
                  <a:gd name="T103" fmla="*/ 9 h 468"/>
                  <a:gd name="T104" fmla="*/ 19 w 117"/>
                  <a:gd name="T105" fmla="*/ 7 h 468"/>
                  <a:gd name="T106" fmla="*/ 20 w 117"/>
                  <a:gd name="T107" fmla="*/ 5 h 468"/>
                  <a:gd name="T108" fmla="*/ 29 w 117"/>
                  <a:gd name="T109" fmla="*/ 0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17" h="468">
                    <a:moveTo>
                      <a:pt x="61" y="459"/>
                    </a:moveTo>
                    <a:lnTo>
                      <a:pt x="62" y="460"/>
                    </a:lnTo>
                    <a:lnTo>
                      <a:pt x="61" y="460"/>
                    </a:lnTo>
                    <a:lnTo>
                      <a:pt x="61" y="459"/>
                    </a:lnTo>
                    <a:close/>
                    <a:moveTo>
                      <a:pt x="56" y="458"/>
                    </a:moveTo>
                    <a:lnTo>
                      <a:pt x="57" y="458"/>
                    </a:lnTo>
                    <a:lnTo>
                      <a:pt x="57" y="459"/>
                    </a:lnTo>
                    <a:lnTo>
                      <a:pt x="56" y="458"/>
                    </a:lnTo>
                    <a:close/>
                    <a:moveTo>
                      <a:pt x="54" y="457"/>
                    </a:moveTo>
                    <a:lnTo>
                      <a:pt x="56" y="458"/>
                    </a:lnTo>
                    <a:lnTo>
                      <a:pt x="55" y="458"/>
                    </a:lnTo>
                    <a:lnTo>
                      <a:pt x="54" y="459"/>
                    </a:lnTo>
                    <a:lnTo>
                      <a:pt x="54" y="457"/>
                    </a:lnTo>
                    <a:close/>
                    <a:moveTo>
                      <a:pt x="97" y="15"/>
                    </a:moveTo>
                    <a:lnTo>
                      <a:pt x="98" y="15"/>
                    </a:lnTo>
                    <a:lnTo>
                      <a:pt x="98" y="15"/>
                    </a:lnTo>
                    <a:lnTo>
                      <a:pt x="97" y="15"/>
                    </a:lnTo>
                    <a:close/>
                    <a:moveTo>
                      <a:pt x="113" y="11"/>
                    </a:moveTo>
                    <a:lnTo>
                      <a:pt x="113" y="12"/>
                    </a:lnTo>
                    <a:lnTo>
                      <a:pt x="113" y="12"/>
                    </a:lnTo>
                    <a:lnTo>
                      <a:pt x="113" y="11"/>
                    </a:lnTo>
                    <a:close/>
                    <a:moveTo>
                      <a:pt x="17" y="8"/>
                    </a:moveTo>
                    <a:lnTo>
                      <a:pt x="17" y="8"/>
                    </a:lnTo>
                    <a:lnTo>
                      <a:pt x="17" y="8"/>
                    </a:lnTo>
                    <a:lnTo>
                      <a:pt x="17" y="8"/>
                    </a:lnTo>
                    <a:close/>
                    <a:moveTo>
                      <a:pt x="4" y="4"/>
                    </a:moveTo>
                    <a:lnTo>
                      <a:pt x="5" y="4"/>
                    </a:lnTo>
                    <a:lnTo>
                      <a:pt x="4" y="5"/>
                    </a:lnTo>
                    <a:lnTo>
                      <a:pt x="4" y="4"/>
                    </a:lnTo>
                    <a:close/>
                    <a:moveTo>
                      <a:pt x="5" y="3"/>
                    </a:moveTo>
                    <a:lnTo>
                      <a:pt x="5" y="5"/>
                    </a:lnTo>
                    <a:lnTo>
                      <a:pt x="5" y="4"/>
                    </a:lnTo>
                    <a:lnTo>
                      <a:pt x="5" y="3"/>
                    </a:lnTo>
                    <a:close/>
                    <a:moveTo>
                      <a:pt x="27" y="1"/>
                    </a:moveTo>
                    <a:lnTo>
                      <a:pt x="25" y="3"/>
                    </a:lnTo>
                    <a:lnTo>
                      <a:pt x="25" y="3"/>
                    </a:lnTo>
                    <a:lnTo>
                      <a:pt x="27" y="1"/>
                    </a:lnTo>
                    <a:close/>
                    <a:moveTo>
                      <a:pt x="29" y="0"/>
                    </a:moveTo>
                    <a:lnTo>
                      <a:pt x="25" y="5"/>
                    </a:lnTo>
                    <a:lnTo>
                      <a:pt x="28" y="5"/>
                    </a:lnTo>
                    <a:lnTo>
                      <a:pt x="35" y="5"/>
                    </a:lnTo>
                    <a:lnTo>
                      <a:pt x="37" y="7"/>
                    </a:lnTo>
                    <a:lnTo>
                      <a:pt x="37" y="8"/>
                    </a:lnTo>
                    <a:lnTo>
                      <a:pt x="42" y="13"/>
                    </a:lnTo>
                    <a:lnTo>
                      <a:pt x="44" y="18"/>
                    </a:lnTo>
                    <a:lnTo>
                      <a:pt x="44" y="15"/>
                    </a:lnTo>
                    <a:lnTo>
                      <a:pt x="45" y="17"/>
                    </a:lnTo>
                    <a:lnTo>
                      <a:pt x="45" y="15"/>
                    </a:lnTo>
                    <a:lnTo>
                      <a:pt x="47" y="14"/>
                    </a:lnTo>
                    <a:lnTo>
                      <a:pt x="48" y="15"/>
                    </a:lnTo>
                    <a:lnTo>
                      <a:pt x="49" y="18"/>
                    </a:lnTo>
                    <a:lnTo>
                      <a:pt x="54" y="17"/>
                    </a:lnTo>
                    <a:lnTo>
                      <a:pt x="53" y="18"/>
                    </a:lnTo>
                    <a:lnTo>
                      <a:pt x="55" y="18"/>
                    </a:lnTo>
                    <a:lnTo>
                      <a:pt x="55" y="21"/>
                    </a:lnTo>
                    <a:lnTo>
                      <a:pt x="60" y="18"/>
                    </a:lnTo>
                    <a:lnTo>
                      <a:pt x="61" y="16"/>
                    </a:lnTo>
                    <a:lnTo>
                      <a:pt x="62" y="21"/>
                    </a:lnTo>
                    <a:lnTo>
                      <a:pt x="65" y="20"/>
                    </a:lnTo>
                    <a:lnTo>
                      <a:pt x="66" y="22"/>
                    </a:lnTo>
                    <a:lnTo>
                      <a:pt x="66" y="18"/>
                    </a:lnTo>
                    <a:lnTo>
                      <a:pt x="71" y="22"/>
                    </a:lnTo>
                    <a:lnTo>
                      <a:pt x="73" y="21"/>
                    </a:lnTo>
                    <a:lnTo>
                      <a:pt x="73" y="17"/>
                    </a:lnTo>
                    <a:lnTo>
                      <a:pt x="74" y="17"/>
                    </a:lnTo>
                    <a:lnTo>
                      <a:pt x="75" y="20"/>
                    </a:lnTo>
                    <a:lnTo>
                      <a:pt x="80" y="20"/>
                    </a:lnTo>
                    <a:lnTo>
                      <a:pt x="79" y="17"/>
                    </a:lnTo>
                    <a:lnTo>
                      <a:pt x="80" y="20"/>
                    </a:lnTo>
                    <a:lnTo>
                      <a:pt x="83" y="20"/>
                    </a:lnTo>
                    <a:lnTo>
                      <a:pt x="82" y="18"/>
                    </a:lnTo>
                    <a:lnTo>
                      <a:pt x="86" y="20"/>
                    </a:lnTo>
                    <a:lnTo>
                      <a:pt x="87" y="18"/>
                    </a:lnTo>
                    <a:lnTo>
                      <a:pt x="87" y="16"/>
                    </a:lnTo>
                    <a:lnTo>
                      <a:pt x="90" y="14"/>
                    </a:lnTo>
                    <a:lnTo>
                      <a:pt x="91" y="14"/>
                    </a:lnTo>
                    <a:lnTo>
                      <a:pt x="96" y="17"/>
                    </a:lnTo>
                    <a:lnTo>
                      <a:pt x="96" y="15"/>
                    </a:lnTo>
                    <a:lnTo>
                      <a:pt x="96" y="14"/>
                    </a:lnTo>
                    <a:lnTo>
                      <a:pt x="98" y="17"/>
                    </a:lnTo>
                    <a:lnTo>
                      <a:pt x="98" y="15"/>
                    </a:lnTo>
                    <a:lnTo>
                      <a:pt x="99" y="16"/>
                    </a:lnTo>
                    <a:lnTo>
                      <a:pt x="98" y="15"/>
                    </a:lnTo>
                    <a:lnTo>
                      <a:pt x="100" y="15"/>
                    </a:lnTo>
                    <a:lnTo>
                      <a:pt x="102" y="11"/>
                    </a:lnTo>
                    <a:lnTo>
                      <a:pt x="104" y="11"/>
                    </a:lnTo>
                    <a:lnTo>
                      <a:pt x="104" y="13"/>
                    </a:lnTo>
                    <a:lnTo>
                      <a:pt x="106" y="13"/>
                    </a:lnTo>
                    <a:lnTo>
                      <a:pt x="107" y="14"/>
                    </a:lnTo>
                    <a:lnTo>
                      <a:pt x="112" y="13"/>
                    </a:lnTo>
                    <a:lnTo>
                      <a:pt x="113" y="12"/>
                    </a:lnTo>
                    <a:lnTo>
                      <a:pt x="115" y="12"/>
                    </a:lnTo>
                    <a:lnTo>
                      <a:pt x="115" y="12"/>
                    </a:lnTo>
                    <a:lnTo>
                      <a:pt x="115" y="12"/>
                    </a:lnTo>
                    <a:lnTo>
                      <a:pt x="116" y="13"/>
                    </a:lnTo>
                    <a:lnTo>
                      <a:pt x="117" y="12"/>
                    </a:lnTo>
                    <a:lnTo>
                      <a:pt x="117" y="458"/>
                    </a:lnTo>
                    <a:lnTo>
                      <a:pt x="117" y="457"/>
                    </a:lnTo>
                    <a:lnTo>
                      <a:pt x="117" y="461"/>
                    </a:lnTo>
                    <a:lnTo>
                      <a:pt x="116" y="458"/>
                    </a:lnTo>
                    <a:lnTo>
                      <a:pt x="116" y="463"/>
                    </a:lnTo>
                    <a:lnTo>
                      <a:pt x="115" y="460"/>
                    </a:lnTo>
                    <a:lnTo>
                      <a:pt x="114" y="460"/>
                    </a:lnTo>
                    <a:lnTo>
                      <a:pt x="115" y="461"/>
                    </a:lnTo>
                    <a:lnTo>
                      <a:pt x="115" y="463"/>
                    </a:lnTo>
                    <a:lnTo>
                      <a:pt x="115" y="463"/>
                    </a:lnTo>
                    <a:lnTo>
                      <a:pt x="111" y="463"/>
                    </a:lnTo>
                    <a:lnTo>
                      <a:pt x="113" y="461"/>
                    </a:lnTo>
                    <a:lnTo>
                      <a:pt x="111" y="459"/>
                    </a:lnTo>
                    <a:lnTo>
                      <a:pt x="111" y="461"/>
                    </a:lnTo>
                    <a:lnTo>
                      <a:pt x="108" y="463"/>
                    </a:lnTo>
                    <a:lnTo>
                      <a:pt x="107" y="459"/>
                    </a:lnTo>
                    <a:lnTo>
                      <a:pt x="106" y="461"/>
                    </a:lnTo>
                    <a:lnTo>
                      <a:pt x="107" y="464"/>
                    </a:lnTo>
                    <a:lnTo>
                      <a:pt x="105" y="461"/>
                    </a:lnTo>
                    <a:lnTo>
                      <a:pt x="105" y="463"/>
                    </a:lnTo>
                    <a:lnTo>
                      <a:pt x="104" y="461"/>
                    </a:lnTo>
                    <a:lnTo>
                      <a:pt x="104" y="458"/>
                    </a:lnTo>
                    <a:lnTo>
                      <a:pt x="102" y="460"/>
                    </a:lnTo>
                    <a:lnTo>
                      <a:pt x="102" y="458"/>
                    </a:lnTo>
                    <a:lnTo>
                      <a:pt x="99" y="459"/>
                    </a:lnTo>
                    <a:lnTo>
                      <a:pt x="100" y="457"/>
                    </a:lnTo>
                    <a:lnTo>
                      <a:pt x="100" y="456"/>
                    </a:lnTo>
                    <a:lnTo>
                      <a:pt x="99" y="458"/>
                    </a:lnTo>
                    <a:lnTo>
                      <a:pt x="97" y="456"/>
                    </a:lnTo>
                    <a:lnTo>
                      <a:pt x="96" y="456"/>
                    </a:lnTo>
                    <a:lnTo>
                      <a:pt x="98" y="459"/>
                    </a:lnTo>
                    <a:lnTo>
                      <a:pt x="96" y="457"/>
                    </a:lnTo>
                    <a:lnTo>
                      <a:pt x="95" y="455"/>
                    </a:lnTo>
                    <a:lnTo>
                      <a:pt x="94" y="456"/>
                    </a:lnTo>
                    <a:lnTo>
                      <a:pt x="94" y="453"/>
                    </a:lnTo>
                    <a:lnTo>
                      <a:pt x="92" y="456"/>
                    </a:lnTo>
                    <a:lnTo>
                      <a:pt x="90" y="453"/>
                    </a:lnTo>
                    <a:lnTo>
                      <a:pt x="92" y="457"/>
                    </a:lnTo>
                    <a:lnTo>
                      <a:pt x="94" y="457"/>
                    </a:lnTo>
                    <a:lnTo>
                      <a:pt x="94" y="458"/>
                    </a:lnTo>
                    <a:lnTo>
                      <a:pt x="89" y="456"/>
                    </a:lnTo>
                    <a:lnTo>
                      <a:pt x="90" y="457"/>
                    </a:lnTo>
                    <a:lnTo>
                      <a:pt x="87" y="456"/>
                    </a:lnTo>
                    <a:lnTo>
                      <a:pt x="87" y="458"/>
                    </a:lnTo>
                    <a:lnTo>
                      <a:pt x="86" y="456"/>
                    </a:lnTo>
                    <a:lnTo>
                      <a:pt x="85" y="461"/>
                    </a:lnTo>
                    <a:lnTo>
                      <a:pt x="80" y="458"/>
                    </a:lnTo>
                    <a:lnTo>
                      <a:pt x="79" y="460"/>
                    </a:lnTo>
                    <a:lnTo>
                      <a:pt x="77" y="458"/>
                    </a:lnTo>
                    <a:lnTo>
                      <a:pt x="74" y="459"/>
                    </a:lnTo>
                    <a:lnTo>
                      <a:pt x="73" y="457"/>
                    </a:lnTo>
                    <a:lnTo>
                      <a:pt x="72" y="457"/>
                    </a:lnTo>
                    <a:lnTo>
                      <a:pt x="72" y="459"/>
                    </a:lnTo>
                    <a:lnTo>
                      <a:pt x="70" y="457"/>
                    </a:lnTo>
                    <a:lnTo>
                      <a:pt x="70" y="458"/>
                    </a:lnTo>
                    <a:lnTo>
                      <a:pt x="62" y="458"/>
                    </a:lnTo>
                    <a:lnTo>
                      <a:pt x="63" y="459"/>
                    </a:lnTo>
                    <a:lnTo>
                      <a:pt x="61" y="457"/>
                    </a:lnTo>
                    <a:lnTo>
                      <a:pt x="62" y="458"/>
                    </a:lnTo>
                    <a:lnTo>
                      <a:pt x="60" y="456"/>
                    </a:lnTo>
                    <a:lnTo>
                      <a:pt x="60" y="459"/>
                    </a:lnTo>
                    <a:lnTo>
                      <a:pt x="61" y="460"/>
                    </a:lnTo>
                    <a:lnTo>
                      <a:pt x="61" y="460"/>
                    </a:lnTo>
                    <a:lnTo>
                      <a:pt x="58" y="459"/>
                    </a:lnTo>
                    <a:lnTo>
                      <a:pt x="57" y="458"/>
                    </a:lnTo>
                    <a:lnTo>
                      <a:pt x="54" y="455"/>
                    </a:lnTo>
                    <a:lnTo>
                      <a:pt x="53" y="457"/>
                    </a:lnTo>
                    <a:lnTo>
                      <a:pt x="53" y="460"/>
                    </a:lnTo>
                    <a:lnTo>
                      <a:pt x="52" y="457"/>
                    </a:lnTo>
                    <a:lnTo>
                      <a:pt x="50" y="456"/>
                    </a:lnTo>
                    <a:lnTo>
                      <a:pt x="45" y="458"/>
                    </a:lnTo>
                    <a:lnTo>
                      <a:pt x="44" y="457"/>
                    </a:lnTo>
                    <a:lnTo>
                      <a:pt x="44" y="452"/>
                    </a:lnTo>
                    <a:lnTo>
                      <a:pt x="39" y="451"/>
                    </a:lnTo>
                    <a:lnTo>
                      <a:pt x="40" y="453"/>
                    </a:lnTo>
                    <a:lnTo>
                      <a:pt x="38" y="452"/>
                    </a:lnTo>
                    <a:lnTo>
                      <a:pt x="37" y="455"/>
                    </a:lnTo>
                    <a:lnTo>
                      <a:pt x="38" y="456"/>
                    </a:lnTo>
                    <a:lnTo>
                      <a:pt x="35" y="453"/>
                    </a:lnTo>
                    <a:lnTo>
                      <a:pt x="35" y="456"/>
                    </a:lnTo>
                    <a:lnTo>
                      <a:pt x="32" y="455"/>
                    </a:lnTo>
                    <a:lnTo>
                      <a:pt x="33" y="457"/>
                    </a:lnTo>
                    <a:lnTo>
                      <a:pt x="24" y="458"/>
                    </a:lnTo>
                    <a:lnTo>
                      <a:pt x="20" y="460"/>
                    </a:lnTo>
                    <a:lnTo>
                      <a:pt x="20" y="461"/>
                    </a:lnTo>
                    <a:lnTo>
                      <a:pt x="19" y="459"/>
                    </a:lnTo>
                    <a:lnTo>
                      <a:pt x="17" y="461"/>
                    </a:lnTo>
                    <a:lnTo>
                      <a:pt x="19" y="464"/>
                    </a:lnTo>
                    <a:lnTo>
                      <a:pt x="15" y="461"/>
                    </a:lnTo>
                    <a:lnTo>
                      <a:pt x="14" y="464"/>
                    </a:lnTo>
                    <a:lnTo>
                      <a:pt x="13" y="463"/>
                    </a:lnTo>
                    <a:lnTo>
                      <a:pt x="11" y="464"/>
                    </a:lnTo>
                    <a:lnTo>
                      <a:pt x="12" y="464"/>
                    </a:lnTo>
                    <a:lnTo>
                      <a:pt x="12" y="468"/>
                    </a:lnTo>
                    <a:lnTo>
                      <a:pt x="11" y="466"/>
                    </a:lnTo>
                    <a:lnTo>
                      <a:pt x="10" y="467"/>
                    </a:lnTo>
                    <a:lnTo>
                      <a:pt x="10" y="466"/>
                    </a:lnTo>
                    <a:lnTo>
                      <a:pt x="10" y="468"/>
                    </a:lnTo>
                    <a:lnTo>
                      <a:pt x="7" y="468"/>
                    </a:lnTo>
                    <a:lnTo>
                      <a:pt x="2" y="467"/>
                    </a:lnTo>
                    <a:lnTo>
                      <a:pt x="0" y="467"/>
                    </a:lnTo>
                    <a:lnTo>
                      <a:pt x="0" y="4"/>
                    </a:lnTo>
                    <a:lnTo>
                      <a:pt x="2" y="5"/>
                    </a:lnTo>
                    <a:lnTo>
                      <a:pt x="3" y="6"/>
                    </a:lnTo>
                    <a:lnTo>
                      <a:pt x="4" y="6"/>
                    </a:lnTo>
                    <a:lnTo>
                      <a:pt x="4" y="5"/>
                    </a:lnTo>
                    <a:lnTo>
                      <a:pt x="5" y="6"/>
                    </a:lnTo>
                    <a:lnTo>
                      <a:pt x="10" y="7"/>
                    </a:lnTo>
                    <a:lnTo>
                      <a:pt x="12" y="5"/>
                    </a:lnTo>
                    <a:lnTo>
                      <a:pt x="15" y="9"/>
                    </a:lnTo>
                    <a:lnTo>
                      <a:pt x="16" y="7"/>
                    </a:lnTo>
                    <a:lnTo>
                      <a:pt x="17" y="9"/>
                    </a:lnTo>
                    <a:lnTo>
                      <a:pt x="19" y="8"/>
                    </a:lnTo>
                    <a:lnTo>
                      <a:pt x="17" y="8"/>
                    </a:lnTo>
                    <a:lnTo>
                      <a:pt x="19" y="7"/>
                    </a:lnTo>
                    <a:lnTo>
                      <a:pt x="19" y="7"/>
                    </a:lnTo>
                    <a:lnTo>
                      <a:pt x="20" y="5"/>
                    </a:lnTo>
                    <a:lnTo>
                      <a:pt x="20" y="5"/>
                    </a:lnTo>
                    <a:lnTo>
                      <a:pt x="20" y="4"/>
                    </a:lnTo>
                    <a:lnTo>
                      <a:pt x="20" y="5"/>
                    </a:lnTo>
                    <a:lnTo>
                      <a:pt x="20" y="6"/>
                    </a:lnTo>
                    <a:lnTo>
                      <a:pt x="25" y="3"/>
                    </a:lnTo>
                    <a:lnTo>
                      <a:pt x="25" y="4"/>
                    </a:lnTo>
                    <a:lnTo>
                      <a:pt x="29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E20074"/>
                  </a:buClr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0" cap="none" spc="0" normalizeH="0" baseline="0" noProof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07" name="Freeform 147"/>
              <p:cNvSpPr>
                <a:spLocks noEditPoints="1"/>
              </p:cNvSpPr>
              <p:nvPr/>
            </p:nvSpPr>
            <p:spPr bwMode="auto">
              <a:xfrm>
                <a:off x="12292014" y="609601"/>
                <a:ext cx="188913" cy="750888"/>
              </a:xfrm>
              <a:custGeom>
                <a:avLst/>
                <a:gdLst>
                  <a:gd name="T0" fmla="*/ 116 w 119"/>
                  <a:gd name="T1" fmla="*/ 5 h 473"/>
                  <a:gd name="T2" fmla="*/ 99 w 119"/>
                  <a:gd name="T3" fmla="*/ 1 h 473"/>
                  <a:gd name="T4" fmla="*/ 113 w 119"/>
                  <a:gd name="T5" fmla="*/ 3 h 473"/>
                  <a:gd name="T6" fmla="*/ 117 w 119"/>
                  <a:gd name="T7" fmla="*/ 7 h 473"/>
                  <a:gd name="T8" fmla="*/ 119 w 119"/>
                  <a:gd name="T9" fmla="*/ 3 h 473"/>
                  <a:gd name="T10" fmla="*/ 119 w 119"/>
                  <a:gd name="T11" fmla="*/ 465 h 473"/>
                  <a:gd name="T12" fmla="*/ 105 w 119"/>
                  <a:gd name="T13" fmla="*/ 466 h 473"/>
                  <a:gd name="T14" fmla="*/ 102 w 119"/>
                  <a:gd name="T15" fmla="*/ 462 h 473"/>
                  <a:gd name="T16" fmla="*/ 92 w 119"/>
                  <a:gd name="T17" fmla="*/ 466 h 473"/>
                  <a:gd name="T18" fmla="*/ 81 w 119"/>
                  <a:gd name="T19" fmla="*/ 465 h 473"/>
                  <a:gd name="T20" fmla="*/ 73 w 119"/>
                  <a:gd name="T21" fmla="*/ 462 h 473"/>
                  <a:gd name="T22" fmla="*/ 69 w 119"/>
                  <a:gd name="T23" fmla="*/ 465 h 473"/>
                  <a:gd name="T24" fmla="*/ 67 w 119"/>
                  <a:gd name="T25" fmla="*/ 467 h 473"/>
                  <a:gd name="T26" fmla="*/ 65 w 119"/>
                  <a:gd name="T27" fmla="*/ 467 h 473"/>
                  <a:gd name="T28" fmla="*/ 56 w 119"/>
                  <a:gd name="T29" fmla="*/ 465 h 473"/>
                  <a:gd name="T30" fmla="*/ 54 w 119"/>
                  <a:gd name="T31" fmla="*/ 465 h 473"/>
                  <a:gd name="T32" fmla="*/ 49 w 119"/>
                  <a:gd name="T33" fmla="*/ 466 h 473"/>
                  <a:gd name="T34" fmla="*/ 38 w 119"/>
                  <a:gd name="T35" fmla="*/ 468 h 473"/>
                  <a:gd name="T36" fmla="*/ 35 w 119"/>
                  <a:gd name="T37" fmla="*/ 470 h 473"/>
                  <a:gd name="T38" fmla="*/ 30 w 119"/>
                  <a:gd name="T39" fmla="*/ 470 h 473"/>
                  <a:gd name="T40" fmla="*/ 24 w 119"/>
                  <a:gd name="T41" fmla="*/ 467 h 473"/>
                  <a:gd name="T42" fmla="*/ 21 w 119"/>
                  <a:gd name="T43" fmla="*/ 466 h 473"/>
                  <a:gd name="T44" fmla="*/ 16 w 119"/>
                  <a:gd name="T45" fmla="*/ 463 h 473"/>
                  <a:gd name="T46" fmla="*/ 13 w 119"/>
                  <a:gd name="T47" fmla="*/ 466 h 473"/>
                  <a:gd name="T48" fmla="*/ 8 w 119"/>
                  <a:gd name="T49" fmla="*/ 465 h 473"/>
                  <a:gd name="T50" fmla="*/ 6 w 119"/>
                  <a:gd name="T51" fmla="*/ 461 h 473"/>
                  <a:gd name="T52" fmla="*/ 4 w 119"/>
                  <a:gd name="T53" fmla="*/ 465 h 473"/>
                  <a:gd name="T54" fmla="*/ 3 w 119"/>
                  <a:gd name="T55" fmla="*/ 15 h 473"/>
                  <a:gd name="T56" fmla="*/ 7 w 119"/>
                  <a:gd name="T57" fmla="*/ 15 h 473"/>
                  <a:gd name="T58" fmla="*/ 10 w 119"/>
                  <a:gd name="T59" fmla="*/ 14 h 473"/>
                  <a:gd name="T60" fmla="*/ 13 w 119"/>
                  <a:gd name="T61" fmla="*/ 14 h 473"/>
                  <a:gd name="T62" fmla="*/ 16 w 119"/>
                  <a:gd name="T63" fmla="*/ 15 h 473"/>
                  <a:gd name="T64" fmla="*/ 24 w 119"/>
                  <a:gd name="T65" fmla="*/ 15 h 473"/>
                  <a:gd name="T66" fmla="*/ 28 w 119"/>
                  <a:gd name="T67" fmla="*/ 16 h 473"/>
                  <a:gd name="T68" fmla="*/ 32 w 119"/>
                  <a:gd name="T69" fmla="*/ 16 h 473"/>
                  <a:gd name="T70" fmla="*/ 37 w 119"/>
                  <a:gd name="T71" fmla="*/ 18 h 473"/>
                  <a:gd name="T72" fmla="*/ 38 w 119"/>
                  <a:gd name="T73" fmla="*/ 18 h 473"/>
                  <a:gd name="T74" fmla="*/ 46 w 119"/>
                  <a:gd name="T75" fmla="*/ 20 h 473"/>
                  <a:gd name="T76" fmla="*/ 54 w 119"/>
                  <a:gd name="T77" fmla="*/ 8 h 473"/>
                  <a:gd name="T78" fmla="*/ 61 w 119"/>
                  <a:gd name="T79" fmla="*/ 9 h 473"/>
                  <a:gd name="T80" fmla="*/ 63 w 119"/>
                  <a:gd name="T81" fmla="*/ 9 h 473"/>
                  <a:gd name="T82" fmla="*/ 64 w 119"/>
                  <a:gd name="T83" fmla="*/ 9 h 473"/>
                  <a:gd name="T84" fmla="*/ 72 w 119"/>
                  <a:gd name="T85" fmla="*/ 5 h 473"/>
                  <a:gd name="T86" fmla="*/ 78 w 119"/>
                  <a:gd name="T87" fmla="*/ 5 h 473"/>
                  <a:gd name="T88" fmla="*/ 86 w 119"/>
                  <a:gd name="T89" fmla="*/ 6 h 473"/>
                  <a:gd name="T90" fmla="*/ 89 w 119"/>
                  <a:gd name="T91" fmla="*/ 2 h 473"/>
                  <a:gd name="T92" fmla="*/ 91 w 119"/>
                  <a:gd name="T93" fmla="*/ 6 h 473"/>
                  <a:gd name="T94" fmla="*/ 97 w 119"/>
                  <a:gd name="T95" fmla="*/ 3 h 473"/>
                  <a:gd name="T96" fmla="*/ 102 w 119"/>
                  <a:gd name="T97" fmla="*/ 9 h 473"/>
                  <a:gd name="T98" fmla="*/ 102 w 119"/>
                  <a:gd name="T99" fmla="*/ 3 h 473"/>
                  <a:gd name="T100" fmla="*/ 107 w 119"/>
                  <a:gd name="T101" fmla="*/ 3 h 4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19" h="473">
                    <a:moveTo>
                      <a:pt x="116" y="5"/>
                    </a:moveTo>
                    <a:lnTo>
                      <a:pt x="117" y="5"/>
                    </a:lnTo>
                    <a:lnTo>
                      <a:pt x="117" y="5"/>
                    </a:lnTo>
                    <a:lnTo>
                      <a:pt x="116" y="5"/>
                    </a:lnTo>
                    <a:close/>
                    <a:moveTo>
                      <a:pt x="99" y="1"/>
                    </a:moveTo>
                    <a:lnTo>
                      <a:pt x="97" y="3"/>
                    </a:lnTo>
                    <a:lnTo>
                      <a:pt x="97" y="2"/>
                    </a:lnTo>
                    <a:lnTo>
                      <a:pt x="99" y="1"/>
                    </a:lnTo>
                    <a:close/>
                    <a:moveTo>
                      <a:pt x="109" y="0"/>
                    </a:moveTo>
                    <a:lnTo>
                      <a:pt x="111" y="1"/>
                    </a:lnTo>
                    <a:lnTo>
                      <a:pt x="113" y="5"/>
                    </a:lnTo>
                    <a:lnTo>
                      <a:pt x="113" y="3"/>
                    </a:lnTo>
                    <a:lnTo>
                      <a:pt x="114" y="6"/>
                    </a:lnTo>
                    <a:lnTo>
                      <a:pt x="115" y="2"/>
                    </a:lnTo>
                    <a:lnTo>
                      <a:pt x="116" y="7"/>
                    </a:lnTo>
                    <a:lnTo>
                      <a:pt x="117" y="7"/>
                    </a:lnTo>
                    <a:lnTo>
                      <a:pt x="117" y="5"/>
                    </a:lnTo>
                    <a:lnTo>
                      <a:pt x="119" y="5"/>
                    </a:lnTo>
                    <a:lnTo>
                      <a:pt x="119" y="3"/>
                    </a:lnTo>
                    <a:lnTo>
                      <a:pt x="119" y="3"/>
                    </a:lnTo>
                    <a:lnTo>
                      <a:pt x="119" y="463"/>
                    </a:lnTo>
                    <a:lnTo>
                      <a:pt x="119" y="463"/>
                    </a:lnTo>
                    <a:lnTo>
                      <a:pt x="119" y="465"/>
                    </a:lnTo>
                    <a:lnTo>
                      <a:pt x="119" y="465"/>
                    </a:lnTo>
                    <a:lnTo>
                      <a:pt x="109" y="466"/>
                    </a:lnTo>
                    <a:lnTo>
                      <a:pt x="106" y="465"/>
                    </a:lnTo>
                    <a:lnTo>
                      <a:pt x="104" y="463"/>
                    </a:lnTo>
                    <a:lnTo>
                      <a:pt x="105" y="466"/>
                    </a:lnTo>
                    <a:lnTo>
                      <a:pt x="104" y="465"/>
                    </a:lnTo>
                    <a:lnTo>
                      <a:pt x="104" y="463"/>
                    </a:lnTo>
                    <a:lnTo>
                      <a:pt x="103" y="465"/>
                    </a:lnTo>
                    <a:lnTo>
                      <a:pt x="102" y="462"/>
                    </a:lnTo>
                    <a:lnTo>
                      <a:pt x="100" y="466"/>
                    </a:lnTo>
                    <a:lnTo>
                      <a:pt x="98" y="463"/>
                    </a:lnTo>
                    <a:lnTo>
                      <a:pt x="98" y="467"/>
                    </a:lnTo>
                    <a:lnTo>
                      <a:pt x="92" y="466"/>
                    </a:lnTo>
                    <a:lnTo>
                      <a:pt x="94" y="469"/>
                    </a:lnTo>
                    <a:lnTo>
                      <a:pt x="88" y="468"/>
                    </a:lnTo>
                    <a:lnTo>
                      <a:pt x="82" y="468"/>
                    </a:lnTo>
                    <a:lnTo>
                      <a:pt x="81" y="465"/>
                    </a:lnTo>
                    <a:lnTo>
                      <a:pt x="78" y="462"/>
                    </a:lnTo>
                    <a:lnTo>
                      <a:pt x="75" y="461"/>
                    </a:lnTo>
                    <a:lnTo>
                      <a:pt x="74" y="465"/>
                    </a:lnTo>
                    <a:lnTo>
                      <a:pt x="73" y="462"/>
                    </a:lnTo>
                    <a:lnTo>
                      <a:pt x="69" y="465"/>
                    </a:lnTo>
                    <a:lnTo>
                      <a:pt x="69" y="463"/>
                    </a:lnTo>
                    <a:lnTo>
                      <a:pt x="69" y="465"/>
                    </a:lnTo>
                    <a:lnTo>
                      <a:pt x="69" y="465"/>
                    </a:lnTo>
                    <a:lnTo>
                      <a:pt x="70" y="466"/>
                    </a:lnTo>
                    <a:lnTo>
                      <a:pt x="69" y="466"/>
                    </a:lnTo>
                    <a:lnTo>
                      <a:pt x="69" y="467"/>
                    </a:lnTo>
                    <a:lnTo>
                      <a:pt x="67" y="467"/>
                    </a:lnTo>
                    <a:lnTo>
                      <a:pt x="67" y="465"/>
                    </a:lnTo>
                    <a:lnTo>
                      <a:pt x="66" y="463"/>
                    </a:lnTo>
                    <a:lnTo>
                      <a:pt x="66" y="466"/>
                    </a:lnTo>
                    <a:lnTo>
                      <a:pt x="65" y="467"/>
                    </a:lnTo>
                    <a:lnTo>
                      <a:pt x="63" y="465"/>
                    </a:lnTo>
                    <a:lnTo>
                      <a:pt x="57" y="463"/>
                    </a:lnTo>
                    <a:lnTo>
                      <a:pt x="58" y="465"/>
                    </a:lnTo>
                    <a:lnTo>
                      <a:pt x="56" y="465"/>
                    </a:lnTo>
                    <a:lnTo>
                      <a:pt x="56" y="467"/>
                    </a:lnTo>
                    <a:lnTo>
                      <a:pt x="55" y="465"/>
                    </a:lnTo>
                    <a:lnTo>
                      <a:pt x="55" y="467"/>
                    </a:lnTo>
                    <a:lnTo>
                      <a:pt x="54" y="465"/>
                    </a:lnTo>
                    <a:lnTo>
                      <a:pt x="53" y="466"/>
                    </a:lnTo>
                    <a:lnTo>
                      <a:pt x="53" y="465"/>
                    </a:lnTo>
                    <a:lnTo>
                      <a:pt x="52" y="466"/>
                    </a:lnTo>
                    <a:lnTo>
                      <a:pt x="49" y="466"/>
                    </a:lnTo>
                    <a:lnTo>
                      <a:pt x="48" y="467"/>
                    </a:lnTo>
                    <a:lnTo>
                      <a:pt x="45" y="473"/>
                    </a:lnTo>
                    <a:lnTo>
                      <a:pt x="39" y="471"/>
                    </a:lnTo>
                    <a:lnTo>
                      <a:pt x="38" y="468"/>
                    </a:lnTo>
                    <a:lnTo>
                      <a:pt x="38" y="468"/>
                    </a:lnTo>
                    <a:lnTo>
                      <a:pt x="37" y="469"/>
                    </a:lnTo>
                    <a:lnTo>
                      <a:pt x="37" y="473"/>
                    </a:lnTo>
                    <a:lnTo>
                      <a:pt x="35" y="470"/>
                    </a:lnTo>
                    <a:lnTo>
                      <a:pt x="35" y="473"/>
                    </a:lnTo>
                    <a:lnTo>
                      <a:pt x="31" y="469"/>
                    </a:lnTo>
                    <a:lnTo>
                      <a:pt x="31" y="471"/>
                    </a:lnTo>
                    <a:lnTo>
                      <a:pt x="30" y="470"/>
                    </a:lnTo>
                    <a:lnTo>
                      <a:pt x="30" y="471"/>
                    </a:lnTo>
                    <a:lnTo>
                      <a:pt x="27" y="470"/>
                    </a:lnTo>
                    <a:lnTo>
                      <a:pt x="28" y="473"/>
                    </a:lnTo>
                    <a:lnTo>
                      <a:pt x="24" y="467"/>
                    </a:lnTo>
                    <a:lnTo>
                      <a:pt x="22" y="468"/>
                    </a:lnTo>
                    <a:lnTo>
                      <a:pt x="23" y="465"/>
                    </a:lnTo>
                    <a:lnTo>
                      <a:pt x="22" y="465"/>
                    </a:lnTo>
                    <a:lnTo>
                      <a:pt x="21" y="466"/>
                    </a:lnTo>
                    <a:lnTo>
                      <a:pt x="20" y="465"/>
                    </a:lnTo>
                    <a:lnTo>
                      <a:pt x="19" y="466"/>
                    </a:lnTo>
                    <a:lnTo>
                      <a:pt x="17" y="466"/>
                    </a:lnTo>
                    <a:lnTo>
                      <a:pt x="16" y="463"/>
                    </a:lnTo>
                    <a:lnTo>
                      <a:pt x="17" y="467"/>
                    </a:lnTo>
                    <a:lnTo>
                      <a:pt x="15" y="463"/>
                    </a:lnTo>
                    <a:lnTo>
                      <a:pt x="14" y="463"/>
                    </a:lnTo>
                    <a:lnTo>
                      <a:pt x="13" y="466"/>
                    </a:lnTo>
                    <a:lnTo>
                      <a:pt x="12" y="465"/>
                    </a:lnTo>
                    <a:lnTo>
                      <a:pt x="12" y="467"/>
                    </a:lnTo>
                    <a:lnTo>
                      <a:pt x="8" y="466"/>
                    </a:lnTo>
                    <a:lnTo>
                      <a:pt x="8" y="465"/>
                    </a:lnTo>
                    <a:lnTo>
                      <a:pt x="7" y="463"/>
                    </a:lnTo>
                    <a:lnTo>
                      <a:pt x="5" y="465"/>
                    </a:lnTo>
                    <a:lnTo>
                      <a:pt x="6" y="465"/>
                    </a:lnTo>
                    <a:lnTo>
                      <a:pt x="6" y="461"/>
                    </a:lnTo>
                    <a:lnTo>
                      <a:pt x="5" y="465"/>
                    </a:lnTo>
                    <a:lnTo>
                      <a:pt x="3" y="459"/>
                    </a:lnTo>
                    <a:lnTo>
                      <a:pt x="2" y="460"/>
                    </a:lnTo>
                    <a:lnTo>
                      <a:pt x="4" y="465"/>
                    </a:lnTo>
                    <a:lnTo>
                      <a:pt x="0" y="460"/>
                    </a:lnTo>
                    <a:lnTo>
                      <a:pt x="0" y="14"/>
                    </a:lnTo>
                    <a:lnTo>
                      <a:pt x="2" y="14"/>
                    </a:lnTo>
                    <a:lnTo>
                      <a:pt x="3" y="15"/>
                    </a:lnTo>
                    <a:lnTo>
                      <a:pt x="5" y="15"/>
                    </a:lnTo>
                    <a:lnTo>
                      <a:pt x="5" y="11"/>
                    </a:lnTo>
                    <a:lnTo>
                      <a:pt x="6" y="15"/>
                    </a:lnTo>
                    <a:lnTo>
                      <a:pt x="7" y="15"/>
                    </a:lnTo>
                    <a:lnTo>
                      <a:pt x="6" y="13"/>
                    </a:lnTo>
                    <a:lnTo>
                      <a:pt x="6" y="10"/>
                    </a:lnTo>
                    <a:lnTo>
                      <a:pt x="8" y="14"/>
                    </a:lnTo>
                    <a:lnTo>
                      <a:pt x="10" y="14"/>
                    </a:lnTo>
                    <a:lnTo>
                      <a:pt x="10" y="15"/>
                    </a:lnTo>
                    <a:lnTo>
                      <a:pt x="11" y="17"/>
                    </a:lnTo>
                    <a:lnTo>
                      <a:pt x="13" y="17"/>
                    </a:lnTo>
                    <a:lnTo>
                      <a:pt x="13" y="14"/>
                    </a:lnTo>
                    <a:lnTo>
                      <a:pt x="15" y="15"/>
                    </a:lnTo>
                    <a:lnTo>
                      <a:pt x="15" y="11"/>
                    </a:lnTo>
                    <a:lnTo>
                      <a:pt x="15" y="14"/>
                    </a:lnTo>
                    <a:lnTo>
                      <a:pt x="16" y="15"/>
                    </a:lnTo>
                    <a:lnTo>
                      <a:pt x="21" y="11"/>
                    </a:lnTo>
                    <a:lnTo>
                      <a:pt x="23" y="16"/>
                    </a:lnTo>
                    <a:lnTo>
                      <a:pt x="24" y="13"/>
                    </a:lnTo>
                    <a:lnTo>
                      <a:pt x="24" y="15"/>
                    </a:lnTo>
                    <a:lnTo>
                      <a:pt x="25" y="16"/>
                    </a:lnTo>
                    <a:lnTo>
                      <a:pt x="27" y="14"/>
                    </a:lnTo>
                    <a:lnTo>
                      <a:pt x="29" y="13"/>
                    </a:lnTo>
                    <a:lnTo>
                      <a:pt x="28" y="16"/>
                    </a:lnTo>
                    <a:lnTo>
                      <a:pt x="29" y="14"/>
                    </a:lnTo>
                    <a:lnTo>
                      <a:pt x="30" y="16"/>
                    </a:lnTo>
                    <a:lnTo>
                      <a:pt x="30" y="15"/>
                    </a:lnTo>
                    <a:lnTo>
                      <a:pt x="32" y="16"/>
                    </a:lnTo>
                    <a:lnTo>
                      <a:pt x="30" y="16"/>
                    </a:lnTo>
                    <a:lnTo>
                      <a:pt x="33" y="18"/>
                    </a:lnTo>
                    <a:lnTo>
                      <a:pt x="32" y="17"/>
                    </a:lnTo>
                    <a:lnTo>
                      <a:pt x="37" y="18"/>
                    </a:lnTo>
                    <a:lnTo>
                      <a:pt x="38" y="22"/>
                    </a:lnTo>
                    <a:lnTo>
                      <a:pt x="38" y="19"/>
                    </a:lnTo>
                    <a:lnTo>
                      <a:pt x="38" y="19"/>
                    </a:lnTo>
                    <a:lnTo>
                      <a:pt x="38" y="18"/>
                    </a:lnTo>
                    <a:lnTo>
                      <a:pt x="39" y="20"/>
                    </a:lnTo>
                    <a:lnTo>
                      <a:pt x="40" y="19"/>
                    </a:lnTo>
                    <a:lnTo>
                      <a:pt x="45" y="22"/>
                    </a:lnTo>
                    <a:lnTo>
                      <a:pt x="46" y="20"/>
                    </a:lnTo>
                    <a:lnTo>
                      <a:pt x="47" y="19"/>
                    </a:lnTo>
                    <a:lnTo>
                      <a:pt x="48" y="17"/>
                    </a:lnTo>
                    <a:lnTo>
                      <a:pt x="54" y="7"/>
                    </a:lnTo>
                    <a:lnTo>
                      <a:pt x="54" y="8"/>
                    </a:lnTo>
                    <a:lnTo>
                      <a:pt x="54" y="10"/>
                    </a:lnTo>
                    <a:lnTo>
                      <a:pt x="55" y="7"/>
                    </a:lnTo>
                    <a:lnTo>
                      <a:pt x="58" y="11"/>
                    </a:lnTo>
                    <a:lnTo>
                      <a:pt x="61" y="9"/>
                    </a:lnTo>
                    <a:lnTo>
                      <a:pt x="61" y="10"/>
                    </a:lnTo>
                    <a:lnTo>
                      <a:pt x="62" y="9"/>
                    </a:lnTo>
                    <a:lnTo>
                      <a:pt x="62" y="11"/>
                    </a:lnTo>
                    <a:lnTo>
                      <a:pt x="63" y="9"/>
                    </a:lnTo>
                    <a:lnTo>
                      <a:pt x="62" y="9"/>
                    </a:lnTo>
                    <a:lnTo>
                      <a:pt x="63" y="7"/>
                    </a:lnTo>
                    <a:lnTo>
                      <a:pt x="64" y="10"/>
                    </a:lnTo>
                    <a:lnTo>
                      <a:pt x="64" y="9"/>
                    </a:lnTo>
                    <a:lnTo>
                      <a:pt x="65" y="10"/>
                    </a:lnTo>
                    <a:lnTo>
                      <a:pt x="67" y="8"/>
                    </a:lnTo>
                    <a:lnTo>
                      <a:pt x="73" y="6"/>
                    </a:lnTo>
                    <a:lnTo>
                      <a:pt x="72" y="5"/>
                    </a:lnTo>
                    <a:lnTo>
                      <a:pt x="74" y="3"/>
                    </a:lnTo>
                    <a:lnTo>
                      <a:pt x="75" y="8"/>
                    </a:lnTo>
                    <a:lnTo>
                      <a:pt x="78" y="2"/>
                    </a:lnTo>
                    <a:lnTo>
                      <a:pt x="78" y="5"/>
                    </a:lnTo>
                    <a:lnTo>
                      <a:pt x="79" y="3"/>
                    </a:lnTo>
                    <a:lnTo>
                      <a:pt x="81" y="1"/>
                    </a:lnTo>
                    <a:lnTo>
                      <a:pt x="82" y="5"/>
                    </a:lnTo>
                    <a:lnTo>
                      <a:pt x="86" y="6"/>
                    </a:lnTo>
                    <a:lnTo>
                      <a:pt x="87" y="5"/>
                    </a:lnTo>
                    <a:lnTo>
                      <a:pt x="88" y="7"/>
                    </a:lnTo>
                    <a:lnTo>
                      <a:pt x="89" y="7"/>
                    </a:lnTo>
                    <a:lnTo>
                      <a:pt x="89" y="2"/>
                    </a:lnTo>
                    <a:lnTo>
                      <a:pt x="90" y="6"/>
                    </a:lnTo>
                    <a:lnTo>
                      <a:pt x="91" y="2"/>
                    </a:lnTo>
                    <a:lnTo>
                      <a:pt x="92" y="3"/>
                    </a:lnTo>
                    <a:lnTo>
                      <a:pt x="91" y="6"/>
                    </a:lnTo>
                    <a:lnTo>
                      <a:pt x="94" y="5"/>
                    </a:lnTo>
                    <a:lnTo>
                      <a:pt x="94" y="2"/>
                    </a:lnTo>
                    <a:lnTo>
                      <a:pt x="95" y="5"/>
                    </a:lnTo>
                    <a:lnTo>
                      <a:pt x="97" y="3"/>
                    </a:lnTo>
                    <a:lnTo>
                      <a:pt x="97" y="5"/>
                    </a:lnTo>
                    <a:lnTo>
                      <a:pt x="98" y="6"/>
                    </a:lnTo>
                    <a:lnTo>
                      <a:pt x="99" y="3"/>
                    </a:lnTo>
                    <a:lnTo>
                      <a:pt x="102" y="9"/>
                    </a:lnTo>
                    <a:lnTo>
                      <a:pt x="102" y="8"/>
                    </a:lnTo>
                    <a:lnTo>
                      <a:pt x="99" y="5"/>
                    </a:lnTo>
                    <a:lnTo>
                      <a:pt x="103" y="5"/>
                    </a:lnTo>
                    <a:lnTo>
                      <a:pt x="102" y="3"/>
                    </a:lnTo>
                    <a:lnTo>
                      <a:pt x="105" y="7"/>
                    </a:lnTo>
                    <a:lnTo>
                      <a:pt x="105" y="6"/>
                    </a:lnTo>
                    <a:lnTo>
                      <a:pt x="106" y="7"/>
                    </a:lnTo>
                    <a:lnTo>
                      <a:pt x="107" y="3"/>
                    </a:lnTo>
                    <a:lnTo>
                      <a:pt x="111" y="3"/>
                    </a:lnTo>
                    <a:lnTo>
                      <a:pt x="111" y="3"/>
                    </a:lnTo>
                    <a:lnTo>
                      <a:pt x="109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E20074"/>
                  </a:buClr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0" cap="none" spc="0" normalizeH="0" baseline="0" noProof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08" name="Freeform 148"/>
              <p:cNvSpPr>
                <a:spLocks noEditPoints="1"/>
              </p:cNvSpPr>
              <p:nvPr/>
            </p:nvSpPr>
            <p:spPr bwMode="auto">
              <a:xfrm>
                <a:off x="12480926" y="593726"/>
                <a:ext cx="187325" cy="790575"/>
              </a:xfrm>
              <a:custGeom>
                <a:avLst/>
                <a:gdLst>
                  <a:gd name="T0" fmla="*/ 0 w 118"/>
                  <a:gd name="T1" fmla="*/ 475 h 498"/>
                  <a:gd name="T2" fmla="*/ 68 w 118"/>
                  <a:gd name="T3" fmla="*/ 8 h 498"/>
                  <a:gd name="T4" fmla="*/ 109 w 118"/>
                  <a:gd name="T5" fmla="*/ 4 h 498"/>
                  <a:gd name="T6" fmla="*/ 113 w 118"/>
                  <a:gd name="T7" fmla="*/ 1 h 498"/>
                  <a:gd name="T8" fmla="*/ 117 w 118"/>
                  <a:gd name="T9" fmla="*/ 2 h 498"/>
                  <a:gd name="T10" fmla="*/ 118 w 118"/>
                  <a:gd name="T11" fmla="*/ 497 h 498"/>
                  <a:gd name="T12" fmla="*/ 112 w 118"/>
                  <a:gd name="T13" fmla="*/ 495 h 498"/>
                  <a:gd name="T14" fmla="*/ 109 w 118"/>
                  <a:gd name="T15" fmla="*/ 496 h 498"/>
                  <a:gd name="T16" fmla="*/ 103 w 118"/>
                  <a:gd name="T17" fmla="*/ 487 h 498"/>
                  <a:gd name="T18" fmla="*/ 98 w 118"/>
                  <a:gd name="T19" fmla="*/ 485 h 498"/>
                  <a:gd name="T20" fmla="*/ 96 w 118"/>
                  <a:gd name="T21" fmla="*/ 487 h 498"/>
                  <a:gd name="T22" fmla="*/ 92 w 118"/>
                  <a:gd name="T23" fmla="*/ 484 h 498"/>
                  <a:gd name="T24" fmla="*/ 86 w 118"/>
                  <a:gd name="T25" fmla="*/ 484 h 498"/>
                  <a:gd name="T26" fmla="*/ 81 w 118"/>
                  <a:gd name="T27" fmla="*/ 481 h 498"/>
                  <a:gd name="T28" fmla="*/ 79 w 118"/>
                  <a:gd name="T29" fmla="*/ 483 h 498"/>
                  <a:gd name="T30" fmla="*/ 73 w 118"/>
                  <a:gd name="T31" fmla="*/ 483 h 498"/>
                  <a:gd name="T32" fmla="*/ 57 w 118"/>
                  <a:gd name="T33" fmla="*/ 475 h 498"/>
                  <a:gd name="T34" fmla="*/ 53 w 118"/>
                  <a:gd name="T35" fmla="*/ 473 h 498"/>
                  <a:gd name="T36" fmla="*/ 51 w 118"/>
                  <a:gd name="T37" fmla="*/ 471 h 498"/>
                  <a:gd name="T38" fmla="*/ 46 w 118"/>
                  <a:gd name="T39" fmla="*/ 472 h 498"/>
                  <a:gd name="T40" fmla="*/ 42 w 118"/>
                  <a:gd name="T41" fmla="*/ 468 h 498"/>
                  <a:gd name="T42" fmla="*/ 38 w 118"/>
                  <a:gd name="T43" fmla="*/ 470 h 498"/>
                  <a:gd name="T44" fmla="*/ 31 w 118"/>
                  <a:gd name="T45" fmla="*/ 472 h 498"/>
                  <a:gd name="T46" fmla="*/ 23 w 118"/>
                  <a:gd name="T47" fmla="*/ 476 h 498"/>
                  <a:gd name="T48" fmla="*/ 18 w 118"/>
                  <a:gd name="T49" fmla="*/ 472 h 498"/>
                  <a:gd name="T50" fmla="*/ 11 w 118"/>
                  <a:gd name="T51" fmla="*/ 473 h 498"/>
                  <a:gd name="T52" fmla="*/ 1 w 118"/>
                  <a:gd name="T53" fmla="*/ 473 h 498"/>
                  <a:gd name="T54" fmla="*/ 3 w 118"/>
                  <a:gd name="T55" fmla="*/ 12 h 498"/>
                  <a:gd name="T56" fmla="*/ 10 w 118"/>
                  <a:gd name="T57" fmla="*/ 7 h 498"/>
                  <a:gd name="T58" fmla="*/ 18 w 118"/>
                  <a:gd name="T59" fmla="*/ 16 h 498"/>
                  <a:gd name="T60" fmla="*/ 19 w 118"/>
                  <a:gd name="T61" fmla="*/ 16 h 498"/>
                  <a:gd name="T62" fmla="*/ 25 w 118"/>
                  <a:gd name="T63" fmla="*/ 17 h 498"/>
                  <a:gd name="T64" fmla="*/ 30 w 118"/>
                  <a:gd name="T65" fmla="*/ 13 h 498"/>
                  <a:gd name="T66" fmla="*/ 35 w 118"/>
                  <a:gd name="T67" fmla="*/ 10 h 498"/>
                  <a:gd name="T68" fmla="*/ 39 w 118"/>
                  <a:gd name="T69" fmla="*/ 12 h 498"/>
                  <a:gd name="T70" fmla="*/ 45 w 118"/>
                  <a:gd name="T71" fmla="*/ 13 h 498"/>
                  <a:gd name="T72" fmla="*/ 51 w 118"/>
                  <a:gd name="T73" fmla="*/ 8 h 498"/>
                  <a:gd name="T74" fmla="*/ 55 w 118"/>
                  <a:gd name="T75" fmla="*/ 13 h 498"/>
                  <a:gd name="T76" fmla="*/ 60 w 118"/>
                  <a:gd name="T77" fmla="*/ 9 h 498"/>
                  <a:gd name="T78" fmla="*/ 68 w 118"/>
                  <a:gd name="T79" fmla="*/ 9 h 498"/>
                  <a:gd name="T80" fmla="*/ 72 w 118"/>
                  <a:gd name="T81" fmla="*/ 12 h 498"/>
                  <a:gd name="T82" fmla="*/ 80 w 118"/>
                  <a:gd name="T83" fmla="*/ 16 h 498"/>
                  <a:gd name="T84" fmla="*/ 86 w 118"/>
                  <a:gd name="T85" fmla="*/ 12 h 498"/>
                  <a:gd name="T86" fmla="*/ 90 w 118"/>
                  <a:gd name="T87" fmla="*/ 13 h 498"/>
                  <a:gd name="T88" fmla="*/ 94 w 118"/>
                  <a:gd name="T89" fmla="*/ 9 h 498"/>
                  <a:gd name="T90" fmla="*/ 100 w 118"/>
                  <a:gd name="T91" fmla="*/ 11 h 498"/>
                  <a:gd name="T92" fmla="*/ 107 w 118"/>
                  <a:gd name="T93" fmla="*/ 7 h 498"/>
                  <a:gd name="T94" fmla="*/ 109 w 118"/>
                  <a:gd name="T95" fmla="*/ 0 h 4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18" h="498">
                    <a:moveTo>
                      <a:pt x="0" y="475"/>
                    </a:moveTo>
                    <a:lnTo>
                      <a:pt x="0" y="475"/>
                    </a:lnTo>
                    <a:lnTo>
                      <a:pt x="0" y="475"/>
                    </a:lnTo>
                    <a:lnTo>
                      <a:pt x="0" y="475"/>
                    </a:lnTo>
                    <a:close/>
                    <a:moveTo>
                      <a:pt x="68" y="8"/>
                    </a:moveTo>
                    <a:lnTo>
                      <a:pt x="68" y="10"/>
                    </a:lnTo>
                    <a:lnTo>
                      <a:pt x="68" y="9"/>
                    </a:lnTo>
                    <a:lnTo>
                      <a:pt x="68" y="8"/>
                    </a:lnTo>
                    <a:close/>
                    <a:moveTo>
                      <a:pt x="109" y="0"/>
                    </a:moveTo>
                    <a:lnTo>
                      <a:pt x="109" y="0"/>
                    </a:lnTo>
                    <a:lnTo>
                      <a:pt x="109" y="2"/>
                    </a:lnTo>
                    <a:lnTo>
                      <a:pt x="109" y="4"/>
                    </a:lnTo>
                    <a:lnTo>
                      <a:pt x="110" y="2"/>
                    </a:lnTo>
                    <a:lnTo>
                      <a:pt x="111" y="2"/>
                    </a:lnTo>
                    <a:lnTo>
                      <a:pt x="112" y="2"/>
                    </a:lnTo>
                    <a:lnTo>
                      <a:pt x="113" y="1"/>
                    </a:lnTo>
                    <a:lnTo>
                      <a:pt x="114" y="1"/>
                    </a:lnTo>
                    <a:lnTo>
                      <a:pt x="115" y="4"/>
                    </a:lnTo>
                    <a:lnTo>
                      <a:pt x="115" y="2"/>
                    </a:lnTo>
                    <a:lnTo>
                      <a:pt x="117" y="2"/>
                    </a:lnTo>
                    <a:lnTo>
                      <a:pt x="117" y="0"/>
                    </a:lnTo>
                    <a:lnTo>
                      <a:pt x="118" y="2"/>
                    </a:lnTo>
                    <a:lnTo>
                      <a:pt x="118" y="496"/>
                    </a:lnTo>
                    <a:lnTo>
                      <a:pt x="118" y="497"/>
                    </a:lnTo>
                    <a:lnTo>
                      <a:pt x="118" y="498"/>
                    </a:lnTo>
                    <a:lnTo>
                      <a:pt x="114" y="495"/>
                    </a:lnTo>
                    <a:lnTo>
                      <a:pt x="113" y="493"/>
                    </a:lnTo>
                    <a:lnTo>
                      <a:pt x="112" y="495"/>
                    </a:lnTo>
                    <a:lnTo>
                      <a:pt x="111" y="492"/>
                    </a:lnTo>
                    <a:lnTo>
                      <a:pt x="110" y="494"/>
                    </a:lnTo>
                    <a:lnTo>
                      <a:pt x="109" y="492"/>
                    </a:lnTo>
                    <a:lnTo>
                      <a:pt x="109" y="496"/>
                    </a:lnTo>
                    <a:lnTo>
                      <a:pt x="107" y="490"/>
                    </a:lnTo>
                    <a:lnTo>
                      <a:pt x="106" y="492"/>
                    </a:lnTo>
                    <a:lnTo>
                      <a:pt x="105" y="488"/>
                    </a:lnTo>
                    <a:lnTo>
                      <a:pt x="103" y="487"/>
                    </a:lnTo>
                    <a:lnTo>
                      <a:pt x="104" y="492"/>
                    </a:lnTo>
                    <a:lnTo>
                      <a:pt x="102" y="489"/>
                    </a:lnTo>
                    <a:lnTo>
                      <a:pt x="103" y="490"/>
                    </a:lnTo>
                    <a:lnTo>
                      <a:pt x="98" y="485"/>
                    </a:lnTo>
                    <a:lnTo>
                      <a:pt x="98" y="488"/>
                    </a:lnTo>
                    <a:lnTo>
                      <a:pt x="97" y="492"/>
                    </a:lnTo>
                    <a:lnTo>
                      <a:pt x="96" y="483"/>
                    </a:lnTo>
                    <a:lnTo>
                      <a:pt x="96" y="487"/>
                    </a:lnTo>
                    <a:lnTo>
                      <a:pt x="95" y="484"/>
                    </a:lnTo>
                    <a:lnTo>
                      <a:pt x="94" y="485"/>
                    </a:lnTo>
                    <a:lnTo>
                      <a:pt x="93" y="483"/>
                    </a:lnTo>
                    <a:lnTo>
                      <a:pt x="92" y="484"/>
                    </a:lnTo>
                    <a:lnTo>
                      <a:pt x="93" y="486"/>
                    </a:lnTo>
                    <a:lnTo>
                      <a:pt x="89" y="483"/>
                    </a:lnTo>
                    <a:lnTo>
                      <a:pt x="88" y="483"/>
                    </a:lnTo>
                    <a:lnTo>
                      <a:pt x="86" y="484"/>
                    </a:lnTo>
                    <a:lnTo>
                      <a:pt x="87" y="485"/>
                    </a:lnTo>
                    <a:lnTo>
                      <a:pt x="85" y="485"/>
                    </a:lnTo>
                    <a:lnTo>
                      <a:pt x="85" y="483"/>
                    </a:lnTo>
                    <a:lnTo>
                      <a:pt x="81" y="481"/>
                    </a:lnTo>
                    <a:lnTo>
                      <a:pt x="80" y="484"/>
                    </a:lnTo>
                    <a:lnTo>
                      <a:pt x="80" y="481"/>
                    </a:lnTo>
                    <a:lnTo>
                      <a:pt x="79" y="485"/>
                    </a:lnTo>
                    <a:lnTo>
                      <a:pt x="79" y="483"/>
                    </a:lnTo>
                    <a:lnTo>
                      <a:pt x="78" y="481"/>
                    </a:lnTo>
                    <a:lnTo>
                      <a:pt x="77" y="483"/>
                    </a:lnTo>
                    <a:lnTo>
                      <a:pt x="75" y="481"/>
                    </a:lnTo>
                    <a:lnTo>
                      <a:pt x="73" y="483"/>
                    </a:lnTo>
                    <a:lnTo>
                      <a:pt x="70" y="483"/>
                    </a:lnTo>
                    <a:lnTo>
                      <a:pt x="65" y="476"/>
                    </a:lnTo>
                    <a:lnTo>
                      <a:pt x="64" y="477"/>
                    </a:lnTo>
                    <a:lnTo>
                      <a:pt x="57" y="475"/>
                    </a:lnTo>
                    <a:lnTo>
                      <a:pt x="56" y="477"/>
                    </a:lnTo>
                    <a:lnTo>
                      <a:pt x="54" y="477"/>
                    </a:lnTo>
                    <a:lnTo>
                      <a:pt x="52" y="473"/>
                    </a:lnTo>
                    <a:lnTo>
                      <a:pt x="53" y="473"/>
                    </a:lnTo>
                    <a:lnTo>
                      <a:pt x="53" y="472"/>
                    </a:lnTo>
                    <a:lnTo>
                      <a:pt x="51" y="475"/>
                    </a:lnTo>
                    <a:lnTo>
                      <a:pt x="51" y="472"/>
                    </a:lnTo>
                    <a:lnTo>
                      <a:pt x="51" y="471"/>
                    </a:lnTo>
                    <a:lnTo>
                      <a:pt x="48" y="469"/>
                    </a:lnTo>
                    <a:lnTo>
                      <a:pt x="47" y="477"/>
                    </a:lnTo>
                    <a:lnTo>
                      <a:pt x="47" y="471"/>
                    </a:lnTo>
                    <a:lnTo>
                      <a:pt x="46" y="472"/>
                    </a:lnTo>
                    <a:lnTo>
                      <a:pt x="44" y="469"/>
                    </a:lnTo>
                    <a:lnTo>
                      <a:pt x="43" y="470"/>
                    </a:lnTo>
                    <a:lnTo>
                      <a:pt x="43" y="468"/>
                    </a:lnTo>
                    <a:lnTo>
                      <a:pt x="42" y="468"/>
                    </a:lnTo>
                    <a:lnTo>
                      <a:pt x="42" y="470"/>
                    </a:lnTo>
                    <a:lnTo>
                      <a:pt x="40" y="472"/>
                    </a:lnTo>
                    <a:lnTo>
                      <a:pt x="39" y="470"/>
                    </a:lnTo>
                    <a:lnTo>
                      <a:pt x="38" y="470"/>
                    </a:lnTo>
                    <a:lnTo>
                      <a:pt x="39" y="473"/>
                    </a:lnTo>
                    <a:lnTo>
                      <a:pt x="34" y="469"/>
                    </a:lnTo>
                    <a:lnTo>
                      <a:pt x="34" y="468"/>
                    </a:lnTo>
                    <a:lnTo>
                      <a:pt x="31" y="472"/>
                    </a:lnTo>
                    <a:lnTo>
                      <a:pt x="30" y="470"/>
                    </a:lnTo>
                    <a:lnTo>
                      <a:pt x="29" y="475"/>
                    </a:lnTo>
                    <a:lnTo>
                      <a:pt x="27" y="476"/>
                    </a:lnTo>
                    <a:lnTo>
                      <a:pt x="23" y="476"/>
                    </a:lnTo>
                    <a:lnTo>
                      <a:pt x="20" y="472"/>
                    </a:lnTo>
                    <a:lnTo>
                      <a:pt x="20" y="469"/>
                    </a:lnTo>
                    <a:lnTo>
                      <a:pt x="20" y="471"/>
                    </a:lnTo>
                    <a:lnTo>
                      <a:pt x="18" y="472"/>
                    </a:lnTo>
                    <a:lnTo>
                      <a:pt x="17" y="471"/>
                    </a:lnTo>
                    <a:lnTo>
                      <a:pt x="17" y="472"/>
                    </a:lnTo>
                    <a:lnTo>
                      <a:pt x="14" y="475"/>
                    </a:lnTo>
                    <a:lnTo>
                      <a:pt x="11" y="473"/>
                    </a:lnTo>
                    <a:lnTo>
                      <a:pt x="11" y="475"/>
                    </a:lnTo>
                    <a:lnTo>
                      <a:pt x="11" y="472"/>
                    </a:lnTo>
                    <a:lnTo>
                      <a:pt x="3" y="473"/>
                    </a:lnTo>
                    <a:lnTo>
                      <a:pt x="1" y="473"/>
                    </a:lnTo>
                    <a:lnTo>
                      <a:pt x="2" y="475"/>
                    </a:lnTo>
                    <a:lnTo>
                      <a:pt x="0" y="473"/>
                    </a:lnTo>
                    <a:lnTo>
                      <a:pt x="0" y="13"/>
                    </a:lnTo>
                    <a:lnTo>
                      <a:pt x="3" y="12"/>
                    </a:lnTo>
                    <a:lnTo>
                      <a:pt x="3" y="11"/>
                    </a:lnTo>
                    <a:lnTo>
                      <a:pt x="8" y="9"/>
                    </a:lnTo>
                    <a:lnTo>
                      <a:pt x="9" y="10"/>
                    </a:lnTo>
                    <a:lnTo>
                      <a:pt x="10" y="7"/>
                    </a:lnTo>
                    <a:lnTo>
                      <a:pt x="11" y="10"/>
                    </a:lnTo>
                    <a:lnTo>
                      <a:pt x="12" y="9"/>
                    </a:lnTo>
                    <a:lnTo>
                      <a:pt x="15" y="12"/>
                    </a:lnTo>
                    <a:lnTo>
                      <a:pt x="18" y="16"/>
                    </a:lnTo>
                    <a:lnTo>
                      <a:pt x="17" y="12"/>
                    </a:lnTo>
                    <a:lnTo>
                      <a:pt x="18" y="13"/>
                    </a:lnTo>
                    <a:lnTo>
                      <a:pt x="20" y="13"/>
                    </a:lnTo>
                    <a:lnTo>
                      <a:pt x="19" y="16"/>
                    </a:lnTo>
                    <a:lnTo>
                      <a:pt x="20" y="13"/>
                    </a:lnTo>
                    <a:lnTo>
                      <a:pt x="21" y="16"/>
                    </a:lnTo>
                    <a:lnTo>
                      <a:pt x="22" y="13"/>
                    </a:lnTo>
                    <a:lnTo>
                      <a:pt x="25" y="17"/>
                    </a:lnTo>
                    <a:lnTo>
                      <a:pt x="28" y="17"/>
                    </a:lnTo>
                    <a:lnTo>
                      <a:pt x="28" y="15"/>
                    </a:lnTo>
                    <a:lnTo>
                      <a:pt x="29" y="12"/>
                    </a:lnTo>
                    <a:lnTo>
                      <a:pt x="30" y="13"/>
                    </a:lnTo>
                    <a:lnTo>
                      <a:pt x="31" y="11"/>
                    </a:lnTo>
                    <a:lnTo>
                      <a:pt x="32" y="12"/>
                    </a:lnTo>
                    <a:lnTo>
                      <a:pt x="35" y="12"/>
                    </a:lnTo>
                    <a:lnTo>
                      <a:pt x="35" y="10"/>
                    </a:lnTo>
                    <a:lnTo>
                      <a:pt x="34" y="9"/>
                    </a:lnTo>
                    <a:lnTo>
                      <a:pt x="38" y="13"/>
                    </a:lnTo>
                    <a:lnTo>
                      <a:pt x="38" y="10"/>
                    </a:lnTo>
                    <a:lnTo>
                      <a:pt x="39" y="12"/>
                    </a:lnTo>
                    <a:lnTo>
                      <a:pt x="40" y="11"/>
                    </a:lnTo>
                    <a:lnTo>
                      <a:pt x="43" y="13"/>
                    </a:lnTo>
                    <a:lnTo>
                      <a:pt x="44" y="11"/>
                    </a:lnTo>
                    <a:lnTo>
                      <a:pt x="45" y="13"/>
                    </a:lnTo>
                    <a:lnTo>
                      <a:pt x="47" y="9"/>
                    </a:lnTo>
                    <a:lnTo>
                      <a:pt x="48" y="11"/>
                    </a:lnTo>
                    <a:lnTo>
                      <a:pt x="48" y="8"/>
                    </a:lnTo>
                    <a:lnTo>
                      <a:pt x="51" y="8"/>
                    </a:lnTo>
                    <a:lnTo>
                      <a:pt x="52" y="11"/>
                    </a:lnTo>
                    <a:lnTo>
                      <a:pt x="54" y="11"/>
                    </a:lnTo>
                    <a:lnTo>
                      <a:pt x="54" y="12"/>
                    </a:lnTo>
                    <a:lnTo>
                      <a:pt x="55" y="13"/>
                    </a:lnTo>
                    <a:lnTo>
                      <a:pt x="57" y="10"/>
                    </a:lnTo>
                    <a:lnTo>
                      <a:pt x="57" y="11"/>
                    </a:lnTo>
                    <a:lnTo>
                      <a:pt x="60" y="12"/>
                    </a:lnTo>
                    <a:lnTo>
                      <a:pt x="60" y="9"/>
                    </a:lnTo>
                    <a:lnTo>
                      <a:pt x="61" y="9"/>
                    </a:lnTo>
                    <a:lnTo>
                      <a:pt x="63" y="11"/>
                    </a:lnTo>
                    <a:lnTo>
                      <a:pt x="64" y="8"/>
                    </a:lnTo>
                    <a:lnTo>
                      <a:pt x="68" y="9"/>
                    </a:lnTo>
                    <a:lnTo>
                      <a:pt x="68" y="10"/>
                    </a:lnTo>
                    <a:lnTo>
                      <a:pt x="71" y="12"/>
                    </a:lnTo>
                    <a:lnTo>
                      <a:pt x="71" y="13"/>
                    </a:lnTo>
                    <a:lnTo>
                      <a:pt x="72" y="12"/>
                    </a:lnTo>
                    <a:lnTo>
                      <a:pt x="76" y="15"/>
                    </a:lnTo>
                    <a:lnTo>
                      <a:pt x="76" y="13"/>
                    </a:lnTo>
                    <a:lnTo>
                      <a:pt x="78" y="13"/>
                    </a:lnTo>
                    <a:lnTo>
                      <a:pt x="80" y="16"/>
                    </a:lnTo>
                    <a:lnTo>
                      <a:pt x="82" y="11"/>
                    </a:lnTo>
                    <a:lnTo>
                      <a:pt x="82" y="15"/>
                    </a:lnTo>
                    <a:lnTo>
                      <a:pt x="85" y="15"/>
                    </a:lnTo>
                    <a:lnTo>
                      <a:pt x="86" y="12"/>
                    </a:lnTo>
                    <a:lnTo>
                      <a:pt x="87" y="15"/>
                    </a:lnTo>
                    <a:lnTo>
                      <a:pt x="87" y="13"/>
                    </a:lnTo>
                    <a:lnTo>
                      <a:pt x="90" y="11"/>
                    </a:lnTo>
                    <a:lnTo>
                      <a:pt x="90" y="13"/>
                    </a:lnTo>
                    <a:lnTo>
                      <a:pt x="92" y="13"/>
                    </a:lnTo>
                    <a:lnTo>
                      <a:pt x="93" y="11"/>
                    </a:lnTo>
                    <a:lnTo>
                      <a:pt x="94" y="12"/>
                    </a:lnTo>
                    <a:lnTo>
                      <a:pt x="94" y="9"/>
                    </a:lnTo>
                    <a:lnTo>
                      <a:pt x="97" y="10"/>
                    </a:lnTo>
                    <a:lnTo>
                      <a:pt x="98" y="9"/>
                    </a:lnTo>
                    <a:lnTo>
                      <a:pt x="98" y="9"/>
                    </a:lnTo>
                    <a:lnTo>
                      <a:pt x="100" y="11"/>
                    </a:lnTo>
                    <a:lnTo>
                      <a:pt x="100" y="9"/>
                    </a:lnTo>
                    <a:lnTo>
                      <a:pt x="102" y="7"/>
                    </a:lnTo>
                    <a:lnTo>
                      <a:pt x="103" y="8"/>
                    </a:lnTo>
                    <a:lnTo>
                      <a:pt x="107" y="7"/>
                    </a:lnTo>
                    <a:lnTo>
                      <a:pt x="109" y="4"/>
                    </a:lnTo>
                    <a:lnTo>
                      <a:pt x="109" y="2"/>
                    </a:lnTo>
                    <a:lnTo>
                      <a:pt x="109" y="1"/>
                    </a:lnTo>
                    <a:lnTo>
                      <a:pt x="109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E20074"/>
                  </a:buClr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0" cap="none" spc="0" normalizeH="0" baseline="0" noProof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09" name="Freeform 149"/>
              <p:cNvSpPr>
                <a:spLocks noEditPoints="1"/>
              </p:cNvSpPr>
              <p:nvPr/>
            </p:nvSpPr>
            <p:spPr bwMode="auto">
              <a:xfrm>
                <a:off x="12668251" y="592139"/>
                <a:ext cx="187325" cy="804863"/>
              </a:xfrm>
              <a:custGeom>
                <a:avLst/>
                <a:gdLst>
                  <a:gd name="T0" fmla="*/ 71 w 118"/>
                  <a:gd name="T1" fmla="*/ 2 h 507"/>
                  <a:gd name="T2" fmla="*/ 116 w 118"/>
                  <a:gd name="T3" fmla="*/ 502 h 507"/>
                  <a:gd name="T4" fmla="*/ 112 w 118"/>
                  <a:gd name="T5" fmla="*/ 503 h 507"/>
                  <a:gd name="T6" fmla="*/ 109 w 118"/>
                  <a:gd name="T7" fmla="*/ 503 h 507"/>
                  <a:gd name="T8" fmla="*/ 106 w 118"/>
                  <a:gd name="T9" fmla="*/ 506 h 507"/>
                  <a:gd name="T10" fmla="*/ 101 w 118"/>
                  <a:gd name="T11" fmla="*/ 507 h 507"/>
                  <a:gd name="T12" fmla="*/ 95 w 118"/>
                  <a:gd name="T13" fmla="*/ 504 h 507"/>
                  <a:gd name="T14" fmla="*/ 93 w 118"/>
                  <a:gd name="T15" fmla="*/ 503 h 507"/>
                  <a:gd name="T16" fmla="*/ 85 w 118"/>
                  <a:gd name="T17" fmla="*/ 498 h 507"/>
                  <a:gd name="T18" fmla="*/ 79 w 118"/>
                  <a:gd name="T19" fmla="*/ 503 h 507"/>
                  <a:gd name="T20" fmla="*/ 70 w 118"/>
                  <a:gd name="T21" fmla="*/ 499 h 507"/>
                  <a:gd name="T22" fmla="*/ 67 w 118"/>
                  <a:gd name="T23" fmla="*/ 499 h 507"/>
                  <a:gd name="T24" fmla="*/ 64 w 118"/>
                  <a:gd name="T25" fmla="*/ 498 h 507"/>
                  <a:gd name="T26" fmla="*/ 60 w 118"/>
                  <a:gd name="T27" fmla="*/ 502 h 507"/>
                  <a:gd name="T28" fmla="*/ 54 w 118"/>
                  <a:gd name="T29" fmla="*/ 498 h 507"/>
                  <a:gd name="T30" fmla="*/ 52 w 118"/>
                  <a:gd name="T31" fmla="*/ 499 h 507"/>
                  <a:gd name="T32" fmla="*/ 47 w 118"/>
                  <a:gd name="T33" fmla="*/ 499 h 507"/>
                  <a:gd name="T34" fmla="*/ 42 w 118"/>
                  <a:gd name="T35" fmla="*/ 497 h 507"/>
                  <a:gd name="T36" fmla="*/ 38 w 118"/>
                  <a:gd name="T37" fmla="*/ 495 h 507"/>
                  <a:gd name="T38" fmla="*/ 38 w 118"/>
                  <a:gd name="T39" fmla="*/ 499 h 507"/>
                  <a:gd name="T40" fmla="*/ 37 w 118"/>
                  <a:gd name="T41" fmla="*/ 495 h 507"/>
                  <a:gd name="T42" fmla="*/ 30 w 118"/>
                  <a:gd name="T43" fmla="*/ 486 h 507"/>
                  <a:gd name="T44" fmla="*/ 28 w 118"/>
                  <a:gd name="T45" fmla="*/ 488 h 507"/>
                  <a:gd name="T46" fmla="*/ 25 w 118"/>
                  <a:gd name="T47" fmla="*/ 489 h 507"/>
                  <a:gd name="T48" fmla="*/ 20 w 118"/>
                  <a:gd name="T49" fmla="*/ 485 h 507"/>
                  <a:gd name="T50" fmla="*/ 18 w 118"/>
                  <a:gd name="T51" fmla="*/ 491 h 507"/>
                  <a:gd name="T52" fmla="*/ 16 w 118"/>
                  <a:gd name="T53" fmla="*/ 495 h 507"/>
                  <a:gd name="T54" fmla="*/ 11 w 118"/>
                  <a:gd name="T55" fmla="*/ 496 h 507"/>
                  <a:gd name="T56" fmla="*/ 4 w 118"/>
                  <a:gd name="T57" fmla="*/ 497 h 507"/>
                  <a:gd name="T58" fmla="*/ 0 w 118"/>
                  <a:gd name="T59" fmla="*/ 3 h 507"/>
                  <a:gd name="T60" fmla="*/ 5 w 118"/>
                  <a:gd name="T61" fmla="*/ 9 h 507"/>
                  <a:gd name="T62" fmla="*/ 11 w 118"/>
                  <a:gd name="T63" fmla="*/ 8 h 507"/>
                  <a:gd name="T64" fmla="*/ 14 w 118"/>
                  <a:gd name="T65" fmla="*/ 8 h 507"/>
                  <a:gd name="T66" fmla="*/ 19 w 118"/>
                  <a:gd name="T67" fmla="*/ 9 h 507"/>
                  <a:gd name="T68" fmla="*/ 24 w 118"/>
                  <a:gd name="T69" fmla="*/ 8 h 507"/>
                  <a:gd name="T70" fmla="*/ 31 w 118"/>
                  <a:gd name="T71" fmla="*/ 10 h 507"/>
                  <a:gd name="T72" fmla="*/ 34 w 118"/>
                  <a:gd name="T73" fmla="*/ 8 h 507"/>
                  <a:gd name="T74" fmla="*/ 41 w 118"/>
                  <a:gd name="T75" fmla="*/ 5 h 507"/>
                  <a:gd name="T76" fmla="*/ 45 w 118"/>
                  <a:gd name="T77" fmla="*/ 6 h 507"/>
                  <a:gd name="T78" fmla="*/ 47 w 118"/>
                  <a:gd name="T79" fmla="*/ 3 h 507"/>
                  <a:gd name="T80" fmla="*/ 52 w 118"/>
                  <a:gd name="T81" fmla="*/ 2 h 507"/>
                  <a:gd name="T82" fmla="*/ 54 w 118"/>
                  <a:gd name="T83" fmla="*/ 2 h 507"/>
                  <a:gd name="T84" fmla="*/ 61 w 118"/>
                  <a:gd name="T85" fmla="*/ 1 h 507"/>
                  <a:gd name="T86" fmla="*/ 62 w 118"/>
                  <a:gd name="T87" fmla="*/ 0 h 507"/>
                  <a:gd name="T88" fmla="*/ 69 w 118"/>
                  <a:gd name="T89" fmla="*/ 1 h 507"/>
                  <a:gd name="T90" fmla="*/ 71 w 118"/>
                  <a:gd name="T91" fmla="*/ 5 h 507"/>
                  <a:gd name="T92" fmla="*/ 77 w 118"/>
                  <a:gd name="T93" fmla="*/ 8 h 507"/>
                  <a:gd name="T94" fmla="*/ 77 w 118"/>
                  <a:gd name="T95" fmla="*/ 6 h 507"/>
                  <a:gd name="T96" fmla="*/ 78 w 118"/>
                  <a:gd name="T97" fmla="*/ 10 h 507"/>
                  <a:gd name="T98" fmla="*/ 84 w 118"/>
                  <a:gd name="T99" fmla="*/ 8 h 507"/>
                  <a:gd name="T100" fmla="*/ 97 w 118"/>
                  <a:gd name="T101" fmla="*/ 8 h 507"/>
                  <a:gd name="T102" fmla="*/ 102 w 118"/>
                  <a:gd name="T103" fmla="*/ 4 h 507"/>
                  <a:gd name="T104" fmla="*/ 108 w 118"/>
                  <a:gd name="T105" fmla="*/ 3 h 507"/>
                  <a:gd name="T106" fmla="*/ 111 w 118"/>
                  <a:gd name="T107" fmla="*/ 2 h 507"/>
                  <a:gd name="T108" fmla="*/ 117 w 118"/>
                  <a:gd name="T109" fmla="*/ 1 h 5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18" h="507">
                    <a:moveTo>
                      <a:pt x="71" y="2"/>
                    </a:moveTo>
                    <a:lnTo>
                      <a:pt x="71" y="4"/>
                    </a:lnTo>
                    <a:lnTo>
                      <a:pt x="71" y="4"/>
                    </a:lnTo>
                    <a:lnTo>
                      <a:pt x="71" y="2"/>
                    </a:lnTo>
                    <a:close/>
                    <a:moveTo>
                      <a:pt x="118" y="0"/>
                    </a:moveTo>
                    <a:lnTo>
                      <a:pt x="118" y="499"/>
                    </a:lnTo>
                    <a:lnTo>
                      <a:pt x="117" y="498"/>
                    </a:lnTo>
                    <a:lnTo>
                      <a:pt x="116" y="502"/>
                    </a:lnTo>
                    <a:lnTo>
                      <a:pt x="114" y="501"/>
                    </a:lnTo>
                    <a:lnTo>
                      <a:pt x="114" y="503"/>
                    </a:lnTo>
                    <a:lnTo>
                      <a:pt x="111" y="502"/>
                    </a:lnTo>
                    <a:lnTo>
                      <a:pt x="112" y="503"/>
                    </a:lnTo>
                    <a:lnTo>
                      <a:pt x="110" y="503"/>
                    </a:lnTo>
                    <a:lnTo>
                      <a:pt x="110" y="504"/>
                    </a:lnTo>
                    <a:lnTo>
                      <a:pt x="109" y="506"/>
                    </a:lnTo>
                    <a:lnTo>
                      <a:pt x="109" y="503"/>
                    </a:lnTo>
                    <a:lnTo>
                      <a:pt x="108" y="504"/>
                    </a:lnTo>
                    <a:lnTo>
                      <a:pt x="105" y="504"/>
                    </a:lnTo>
                    <a:lnTo>
                      <a:pt x="108" y="506"/>
                    </a:lnTo>
                    <a:lnTo>
                      <a:pt x="106" y="506"/>
                    </a:lnTo>
                    <a:lnTo>
                      <a:pt x="105" y="505"/>
                    </a:lnTo>
                    <a:lnTo>
                      <a:pt x="104" y="505"/>
                    </a:lnTo>
                    <a:lnTo>
                      <a:pt x="103" y="507"/>
                    </a:lnTo>
                    <a:lnTo>
                      <a:pt x="101" y="507"/>
                    </a:lnTo>
                    <a:lnTo>
                      <a:pt x="95" y="502"/>
                    </a:lnTo>
                    <a:lnTo>
                      <a:pt x="96" y="504"/>
                    </a:lnTo>
                    <a:lnTo>
                      <a:pt x="95" y="503"/>
                    </a:lnTo>
                    <a:lnTo>
                      <a:pt x="95" y="504"/>
                    </a:lnTo>
                    <a:lnTo>
                      <a:pt x="96" y="506"/>
                    </a:lnTo>
                    <a:lnTo>
                      <a:pt x="94" y="506"/>
                    </a:lnTo>
                    <a:lnTo>
                      <a:pt x="94" y="505"/>
                    </a:lnTo>
                    <a:lnTo>
                      <a:pt x="93" y="503"/>
                    </a:lnTo>
                    <a:lnTo>
                      <a:pt x="93" y="505"/>
                    </a:lnTo>
                    <a:lnTo>
                      <a:pt x="86" y="498"/>
                    </a:lnTo>
                    <a:lnTo>
                      <a:pt x="86" y="502"/>
                    </a:lnTo>
                    <a:lnTo>
                      <a:pt x="85" y="498"/>
                    </a:lnTo>
                    <a:lnTo>
                      <a:pt x="84" y="502"/>
                    </a:lnTo>
                    <a:lnTo>
                      <a:pt x="83" y="501"/>
                    </a:lnTo>
                    <a:lnTo>
                      <a:pt x="83" y="504"/>
                    </a:lnTo>
                    <a:lnTo>
                      <a:pt x="79" y="503"/>
                    </a:lnTo>
                    <a:lnTo>
                      <a:pt x="76" y="502"/>
                    </a:lnTo>
                    <a:lnTo>
                      <a:pt x="74" y="506"/>
                    </a:lnTo>
                    <a:lnTo>
                      <a:pt x="69" y="497"/>
                    </a:lnTo>
                    <a:lnTo>
                      <a:pt x="70" y="499"/>
                    </a:lnTo>
                    <a:lnTo>
                      <a:pt x="68" y="498"/>
                    </a:lnTo>
                    <a:lnTo>
                      <a:pt x="67" y="498"/>
                    </a:lnTo>
                    <a:lnTo>
                      <a:pt x="68" y="499"/>
                    </a:lnTo>
                    <a:lnTo>
                      <a:pt x="67" y="499"/>
                    </a:lnTo>
                    <a:lnTo>
                      <a:pt x="67" y="501"/>
                    </a:lnTo>
                    <a:lnTo>
                      <a:pt x="67" y="502"/>
                    </a:lnTo>
                    <a:lnTo>
                      <a:pt x="63" y="502"/>
                    </a:lnTo>
                    <a:lnTo>
                      <a:pt x="64" y="498"/>
                    </a:lnTo>
                    <a:lnTo>
                      <a:pt x="62" y="499"/>
                    </a:lnTo>
                    <a:lnTo>
                      <a:pt x="62" y="503"/>
                    </a:lnTo>
                    <a:lnTo>
                      <a:pt x="59" y="499"/>
                    </a:lnTo>
                    <a:lnTo>
                      <a:pt x="60" y="502"/>
                    </a:lnTo>
                    <a:lnTo>
                      <a:pt x="56" y="497"/>
                    </a:lnTo>
                    <a:lnTo>
                      <a:pt x="56" y="499"/>
                    </a:lnTo>
                    <a:lnTo>
                      <a:pt x="55" y="501"/>
                    </a:lnTo>
                    <a:lnTo>
                      <a:pt x="54" y="498"/>
                    </a:lnTo>
                    <a:lnTo>
                      <a:pt x="56" y="501"/>
                    </a:lnTo>
                    <a:lnTo>
                      <a:pt x="56" y="503"/>
                    </a:lnTo>
                    <a:lnTo>
                      <a:pt x="55" y="502"/>
                    </a:lnTo>
                    <a:lnTo>
                      <a:pt x="52" y="499"/>
                    </a:lnTo>
                    <a:lnTo>
                      <a:pt x="54" y="502"/>
                    </a:lnTo>
                    <a:lnTo>
                      <a:pt x="51" y="501"/>
                    </a:lnTo>
                    <a:lnTo>
                      <a:pt x="52" y="503"/>
                    </a:lnTo>
                    <a:lnTo>
                      <a:pt x="47" y="499"/>
                    </a:lnTo>
                    <a:lnTo>
                      <a:pt x="49" y="501"/>
                    </a:lnTo>
                    <a:lnTo>
                      <a:pt x="47" y="502"/>
                    </a:lnTo>
                    <a:lnTo>
                      <a:pt x="43" y="498"/>
                    </a:lnTo>
                    <a:lnTo>
                      <a:pt x="42" y="497"/>
                    </a:lnTo>
                    <a:lnTo>
                      <a:pt x="43" y="501"/>
                    </a:lnTo>
                    <a:lnTo>
                      <a:pt x="41" y="502"/>
                    </a:lnTo>
                    <a:lnTo>
                      <a:pt x="39" y="498"/>
                    </a:lnTo>
                    <a:lnTo>
                      <a:pt x="38" y="495"/>
                    </a:lnTo>
                    <a:lnTo>
                      <a:pt x="38" y="496"/>
                    </a:lnTo>
                    <a:lnTo>
                      <a:pt x="38" y="497"/>
                    </a:lnTo>
                    <a:lnTo>
                      <a:pt x="38" y="499"/>
                    </a:lnTo>
                    <a:lnTo>
                      <a:pt x="38" y="499"/>
                    </a:lnTo>
                    <a:lnTo>
                      <a:pt x="38" y="501"/>
                    </a:lnTo>
                    <a:lnTo>
                      <a:pt x="38" y="499"/>
                    </a:lnTo>
                    <a:lnTo>
                      <a:pt x="38" y="497"/>
                    </a:lnTo>
                    <a:lnTo>
                      <a:pt x="37" y="495"/>
                    </a:lnTo>
                    <a:lnTo>
                      <a:pt x="34" y="495"/>
                    </a:lnTo>
                    <a:lnTo>
                      <a:pt x="31" y="486"/>
                    </a:lnTo>
                    <a:lnTo>
                      <a:pt x="31" y="487"/>
                    </a:lnTo>
                    <a:lnTo>
                      <a:pt x="30" y="486"/>
                    </a:lnTo>
                    <a:lnTo>
                      <a:pt x="30" y="484"/>
                    </a:lnTo>
                    <a:lnTo>
                      <a:pt x="29" y="484"/>
                    </a:lnTo>
                    <a:lnTo>
                      <a:pt x="28" y="487"/>
                    </a:lnTo>
                    <a:lnTo>
                      <a:pt x="28" y="488"/>
                    </a:lnTo>
                    <a:lnTo>
                      <a:pt x="26" y="486"/>
                    </a:lnTo>
                    <a:lnTo>
                      <a:pt x="26" y="486"/>
                    </a:lnTo>
                    <a:lnTo>
                      <a:pt x="26" y="487"/>
                    </a:lnTo>
                    <a:lnTo>
                      <a:pt x="25" y="489"/>
                    </a:lnTo>
                    <a:lnTo>
                      <a:pt x="24" y="487"/>
                    </a:lnTo>
                    <a:lnTo>
                      <a:pt x="25" y="485"/>
                    </a:lnTo>
                    <a:lnTo>
                      <a:pt x="22" y="485"/>
                    </a:lnTo>
                    <a:lnTo>
                      <a:pt x="20" y="485"/>
                    </a:lnTo>
                    <a:lnTo>
                      <a:pt x="21" y="488"/>
                    </a:lnTo>
                    <a:lnTo>
                      <a:pt x="19" y="488"/>
                    </a:lnTo>
                    <a:lnTo>
                      <a:pt x="19" y="493"/>
                    </a:lnTo>
                    <a:lnTo>
                      <a:pt x="18" y="491"/>
                    </a:lnTo>
                    <a:lnTo>
                      <a:pt x="17" y="493"/>
                    </a:lnTo>
                    <a:lnTo>
                      <a:pt x="17" y="489"/>
                    </a:lnTo>
                    <a:lnTo>
                      <a:pt x="14" y="493"/>
                    </a:lnTo>
                    <a:lnTo>
                      <a:pt x="16" y="495"/>
                    </a:lnTo>
                    <a:lnTo>
                      <a:pt x="12" y="495"/>
                    </a:lnTo>
                    <a:lnTo>
                      <a:pt x="13" y="496"/>
                    </a:lnTo>
                    <a:lnTo>
                      <a:pt x="12" y="495"/>
                    </a:lnTo>
                    <a:lnTo>
                      <a:pt x="11" y="496"/>
                    </a:lnTo>
                    <a:lnTo>
                      <a:pt x="6" y="496"/>
                    </a:lnTo>
                    <a:lnTo>
                      <a:pt x="6" y="497"/>
                    </a:lnTo>
                    <a:lnTo>
                      <a:pt x="5" y="497"/>
                    </a:lnTo>
                    <a:lnTo>
                      <a:pt x="4" y="497"/>
                    </a:lnTo>
                    <a:lnTo>
                      <a:pt x="3" y="499"/>
                    </a:lnTo>
                    <a:lnTo>
                      <a:pt x="2" y="496"/>
                    </a:lnTo>
                    <a:lnTo>
                      <a:pt x="0" y="497"/>
                    </a:lnTo>
                    <a:lnTo>
                      <a:pt x="0" y="3"/>
                    </a:lnTo>
                    <a:lnTo>
                      <a:pt x="2" y="9"/>
                    </a:lnTo>
                    <a:lnTo>
                      <a:pt x="3" y="10"/>
                    </a:lnTo>
                    <a:lnTo>
                      <a:pt x="4" y="11"/>
                    </a:lnTo>
                    <a:lnTo>
                      <a:pt x="5" y="9"/>
                    </a:lnTo>
                    <a:lnTo>
                      <a:pt x="6" y="11"/>
                    </a:lnTo>
                    <a:lnTo>
                      <a:pt x="6" y="9"/>
                    </a:lnTo>
                    <a:lnTo>
                      <a:pt x="9" y="10"/>
                    </a:lnTo>
                    <a:lnTo>
                      <a:pt x="11" y="8"/>
                    </a:lnTo>
                    <a:lnTo>
                      <a:pt x="11" y="10"/>
                    </a:lnTo>
                    <a:lnTo>
                      <a:pt x="12" y="9"/>
                    </a:lnTo>
                    <a:lnTo>
                      <a:pt x="13" y="10"/>
                    </a:lnTo>
                    <a:lnTo>
                      <a:pt x="14" y="8"/>
                    </a:lnTo>
                    <a:lnTo>
                      <a:pt x="14" y="10"/>
                    </a:lnTo>
                    <a:lnTo>
                      <a:pt x="16" y="9"/>
                    </a:lnTo>
                    <a:lnTo>
                      <a:pt x="18" y="10"/>
                    </a:lnTo>
                    <a:lnTo>
                      <a:pt x="19" y="9"/>
                    </a:lnTo>
                    <a:lnTo>
                      <a:pt x="20" y="10"/>
                    </a:lnTo>
                    <a:lnTo>
                      <a:pt x="20" y="9"/>
                    </a:lnTo>
                    <a:lnTo>
                      <a:pt x="21" y="5"/>
                    </a:lnTo>
                    <a:lnTo>
                      <a:pt x="24" y="8"/>
                    </a:lnTo>
                    <a:lnTo>
                      <a:pt x="24" y="4"/>
                    </a:lnTo>
                    <a:lnTo>
                      <a:pt x="26" y="8"/>
                    </a:lnTo>
                    <a:lnTo>
                      <a:pt x="30" y="6"/>
                    </a:lnTo>
                    <a:lnTo>
                      <a:pt x="31" y="10"/>
                    </a:lnTo>
                    <a:lnTo>
                      <a:pt x="34" y="8"/>
                    </a:lnTo>
                    <a:lnTo>
                      <a:pt x="33" y="9"/>
                    </a:lnTo>
                    <a:lnTo>
                      <a:pt x="35" y="9"/>
                    </a:lnTo>
                    <a:lnTo>
                      <a:pt x="34" y="8"/>
                    </a:lnTo>
                    <a:lnTo>
                      <a:pt x="35" y="6"/>
                    </a:lnTo>
                    <a:lnTo>
                      <a:pt x="37" y="8"/>
                    </a:lnTo>
                    <a:lnTo>
                      <a:pt x="39" y="8"/>
                    </a:lnTo>
                    <a:lnTo>
                      <a:pt x="41" y="5"/>
                    </a:lnTo>
                    <a:lnTo>
                      <a:pt x="42" y="8"/>
                    </a:lnTo>
                    <a:lnTo>
                      <a:pt x="44" y="6"/>
                    </a:lnTo>
                    <a:lnTo>
                      <a:pt x="44" y="4"/>
                    </a:lnTo>
                    <a:lnTo>
                      <a:pt x="45" y="6"/>
                    </a:lnTo>
                    <a:lnTo>
                      <a:pt x="46" y="3"/>
                    </a:lnTo>
                    <a:lnTo>
                      <a:pt x="46" y="5"/>
                    </a:lnTo>
                    <a:lnTo>
                      <a:pt x="47" y="4"/>
                    </a:lnTo>
                    <a:lnTo>
                      <a:pt x="47" y="3"/>
                    </a:lnTo>
                    <a:lnTo>
                      <a:pt x="49" y="4"/>
                    </a:lnTo>
                    <a:lnTo>
                      <a:pt x="49" y="2"/>
                    </a:lnTo>
                    <a:lnTo>
                      <a:pt x="50" y="4"/>
                    </a:lnTo>
                    <a:lnTo>
                      <a:pt x="52" y="2"/>
                    </a:lnTo>
                    <a:lnTo>
                      <a:pt x="52" y="2"/>
                    </a:lnTo>
                    <a:lnTo>
                      <a:pt x="53" y="3"/>
                    </a:lnTo>
                    <a:lnTo>
                      <a:pt x="56" y="3"/>
                    </a:lnTo>
                    <a:lnTo>
                      <a:pt x="54" y="2"/>
                    </a:lnTo>
                    <a:lnTo>
                      <a:pt x="59" y="2"/>
                    </a:lnTo>
                    <a:lnTo>
                      <a:pt x="58" y="4"/>
                    </a:lnTo>
                    <a:lnTo>
                      <a:pt x="59" y="5"/>
                    </a:lnTo>
                    <a:lnTo>
                      <a:pt x="61" y="1"/>
                    </a:lnTo>
                    <a:lnTo>
                      <a:pt x="60" y="4"/>
                    </a:lnTo>
                    <a:lnTo>
                      <a:pt x="62" y="2"/>
                    </a:lnTo>
                    <a:lnTo>
                      <a:pt x="61" y="2"/>
                    </a:lnTo>
                    <a:lnTo>
                      <a:pt x="62" y="0"/>
                    </a:lnTo>
                    <a:lnTo>
                      <a:pt x="63" y="3"/>
                    </a:lnTo>
                    <a:lnTo>
                      <a:pt x="64" y="3"/>
                    </a:lnTo>
                    <a:lnTo>
                      <a:pt x="68" y="3"/>
                    </a:lnTo>
                    <a:lnTo>
                      <a:pt x="69" y="1"/>
                    </a:lnTo>
                    <a:lnTo>
                      <a:pt x="70" y="2"/>
                    </a:lnTo>
                    <a:lnTo>
                      <a:pt x="70" y="4"/>
                    </a:lnTo>
                    <a:lnTo>
                      <a:pt x="71" y="4"/>
                    </a:lnTo>
                    <a:lnTo>
                      <a:pt x="71" y="5"/>
                    </a:lnTo>
                    <a:lnTo>
                      <a:pt x="74" y="4"/>
                    </a:lnTo>
                    <a:lnTo>
                      <a:pt x="76" y="10"/>
                    </a:lnTo>
                    <a:lnTo>
                      <a:pt x="76" y="9"/>
                    </a:lnTo>
                    <a:lnTo>
                      <a:pt x="77" y="8"/>
                    </a:lnTo>
                    <a:lnTo>
                      <a:pt x="77" y="6"/>
                    </a:lnTo>
                    <a:lnTo>
                      <a:pt x="77" y="5"/>
                    </a:lnTo>
                    <a:lnTo>
                      <a:pt x="77" y="5"/>
                    </a:lnTo>
                    <a:lnTo>
                      <a:pt x="77" y="6"/>
                    </a:lnTo>
                    <a:lnTo>
                      <a:pt x="77" y="8"/>
                    </a:lnTo>
                    <a:lnTo>
                      <a:pt x="78" y="9"/>
                    </a:lnTo>
                    <a:lnTo>
                      <a:pt x="77" y="9"/>
                    </a:lnTo>
                    <a:lnTo>
                      <a:pt x="78" y="10"/>
                    </a:lnTo>
                    <a:lnTo>
                      <a:pt x="79" y="10"/>
                    </a:lnTo>
                    <a:lnTo>
                      <a:pt x="80" y="9"/>
                    </a:lnTo>
                    <a:lnTo>
                      <a:pt x="81" y="11"/>
                    </a:lnTo>
                    <a:lnTo>
                      <a:pt x="84" y="8"/>
                    </a:lnTo>
                    <a:lnTo>
                      <a:pt x="86" y="9"/>
                    </a:lnTo>
                    <a:lnTo>
                      <a:pt x="96" y="8"/>
                    </a:lnTo>
                    <a:lnTo>
                      <a:pt x="96" y="6"/>
                    </a:lnTo>
                    <a:lnTo>
                      <a:pt x="97" y="8"/>
                    </a:lnTo>
                    <a:lnTo>
                      <a:pt x="101" y="8"/>
                    </a:lnTo>
                    <a:lnTo>
                      <a:pt x="101" y="4"/>
                    </a:lnTo>
                    <a:lnTo>
                      <a:pt x="102" y="6"/>
                    </a:lnTo>
                    <a:lnTo>
                      <a:pt x="102" y="4"/>
                    </a:lnTo>
                    <a:lnTo>
                      <a:pt x="103" y="5"/>
                    </a:lnTo>
                    <a:lnTo>
                      <a:pt x="103" y="4"/>
                    </a:lnTo>
                    <a:lnTo>
                      <a:pt x="108" y="5"/>
                    </a:lnTo>
                    <a:lnTo>
                      <a:pt x="108" y="3"/>
                    </a:lnTo>
                    <a:lnTo>
                      <a:pt x="110" y="3"/>
                    </a:lnTo>
                    <a:lnTo>
                      <a:pt x="109" y="1"/>
                    </a:lnTo>
                    <a:lnTo>
                      <a:pt x="111" y="3"/>
                    </a:lnTo>
                    <a:lnTo>
                      <a:pt x="111" y="2"/>
                    </a:lnTo>
                    <a:lnTo>
                      <a:pt x="111" y="1"/>
                    </a:lnTo>
                    <a:lnTo>
                      <a:pt x="112" y="1"/>
                    </a:lnTo>
                    <a:lnTo>
                      <a:pt x="114" y="3"/>
                    </a:lnTo>
                    <a:lnTo>
                      <a:pt x="117" y="1"/>
                    </a:lnTo>
                    <a:lnTo>
                      <a:pt x="118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E20074"/>
                  </a:buClr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0" cap="none" spc="0" normalizeH="0" baseline="0" noProof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10" name="Freeform 150"/>
              <p:cNvSpPr>
                <a:spLocks noEditPoints="1"/>
              </p:cNvSpPr>
              <p:nvPr/>
            </p:nvSpPr>
            <p:spPr bwMode="auto">
              <a:xfrm>
                <a:off x="12855576" y="560389"/>
                <a:ext cx="187325" cy="849313"/>
              </a:xfrm>
              <a:custGeom>
                <a:avLst/>
                <a:gdLst>
                  <a:gd name="T0" fmla="*/ 45 w 118"/>
                  <a:gd name="T1" fmla="*/ 521 h 535"/>
                  <a:gd name="T2" fmla="*/ 118 w 118"/>
                  <a:gd name="T3" fmla="*/ 517 h 535"/>
                  <a:gd name="T4" fmla="*/ 115 w 118"/>
                  <a:gd name="T5" fmla="*/ 522 h 535"/>
                  <a:gd name="T6" fmla="*/ 110 w 118"/>
                  <a:gd name="T7" fmla="*/ 523 h 535"/>
                  <a:gd name="T8" fmla="*/ 107 w 118"/>
                  <a:gd name="T9" fmla="*/ 531 h 535"/>
                  <a:gd name="T10" fmla="*/ 100 w 118"/>
                  <a:gd name="T11" fmla="*/ 528 h 535"/>
                  <a:gd name="T12" fmla="*/ 94 w 118"/>
                  <a:gd name="T13" fmla="*/ 533 h 535"/>
                  <a:gd name="T14" fmla="*/ 91 w 118"/>
                  <a:gd name="T15" fmla="*/ 528 h 535"/>
                  <a:gd name="T16" fmla="*/ 86 w 118"/>
                  <a:gd name="T17" fmla="*/ 526 h 535"/>
                  <a:gd name="T18" fmla="*/ 84 w 118"/>
                  <a:gd name="T19" fmla="*/ 528 h 535"/>
                  <a:gd name="T20" fmla="*/ 83 w 118"/>
                  <a:gd name="T21" fmla="*/ 532 h 535"/>
                  <a:gd name="T22" fmla="*/ 76 w 118"/>
                  <a:gd name="T23" fmla="*/ 533 h 535"/>
                  <a:gd name="T24" fmla="*/ 71 w 118"/>
                  <a:gd name="T25" fmla="*/ 530 h 535"/>
                  <a:gd name="T26" fmla="*/ 67 w 118"/>
                  <a:gd name="T27" fmla="*/ 524 h 535"/>
                  <a:gd name="T28" fmla="*/ 62 w 118"/>
                  <a:gd name="T29" fmla="*/ 526 h 535"/>
                  <a:gd name="T30" fmla="*/ 57 w 118"/>
                  <a:gd name="T31" fmla="*/ 528 h 535"/>
                  <a:gd name="T32" fmla="*/ 53 w 118"/>
                  <a:gd name="T33" fmla="*/ 527 h 535"/>
                  <a:gd name="T34" fmla="*/ 49 w 118"/>
                  <a:gd name="T35" fmla="*/ 524 h 535"/>
                  <a:gd name="T36" fmla="*/ 48 w 118"/>
                  <a:gd name="T37" fmla="*/ 526 h 535"/>
                  <a:gd name="T38" fmla="*/ 49 w 118"/>
                  <a:gd name="T39" fmla="*/ 521 h 535"/>
                  <a:gd name="T40" fmla="*/ 43 w 118"/>
                  <a:gd name="T41" fmla="*/ 518 h 535"/>
                  <a:gd name="T42" fmla="*/ 41 w 118"/>
                  <a:gd name="T43" fmla="*/ 522 h 535"/>
                  <a:gd name="T44" fmla="*/ 34 w 118"/>
                  <a:gd name="T45" fmla="*/ 517 h 535"/>
                  <a:gd name="T46" fmla="*/ 30 w 118"/>
                  <a:gd name="T47" fmla="*/ 517 h 535"/>
                  <a:gd name="T48" fmla="*/ 30 w 118"/>
                  <a:gd name="T49" fmla="*/ 526 h 535"/>
                  <a:gd name="T50" fmla="*/ 27 w 118"/>
                  <a:gd name="T51" fmla="*/ 526 h 535"/>
                  <a:gd name="T52" fmla="*/ 26 w 118"/>
                  <a:gd name="T53" fmla="*/ 525 h 535"/>
                  <a:gd name="T54" fmla="*/ 23 w 118"/>
                  <a:gd name="T55" fmla="*/ 526 h 535"/>
                  <a:gd name="T56" fmla="*/ 12 w 118"/>
                  <a:gd name="T57" fmla="*/ 522 h 535"/>
                  <a:gd name="T58" fmla="*/ 12 w 118"/>
                  <a:gd name="T59" fmla="*/ 525 h 535"/>
                  <a:gd name="T60" fmla="*/ 5 w 118"/>
                  <a:gd name="T61" fmla="*/ 522 h 535"/>
                  <a:gd name="T62" fmla="*/ 1 w 118"/>
                  <a:gd name="T63" fmla="*/ 515 h 535"/>
                  <a:gd name="T64" fmla="*/ 1 w 118"/>
                  <a:gd name="T65" fmla="*/ 19 h 535"/>
                  <a:gd name="T66" fmla="*/ 5 w 118"/>
                  <a:gd name="T67" fmla="*/ 19 h 535"/>
                  <a:gd name="T68" fmla="*/ 9 w 118"/>
                  <a:gd name="T69" fmla="*/ 15 h 535"/>
                  <a:gd name="T70" fmla="*/ 11 w 118"/>
                  <a:gd name="T71" fmla="*/ 14 h 535"/>
                  <a:gd name="T72" fmla="*/ 20 w 118"/>
                  <a:gd name="T73" fmla="*/ 14 h 535"/>
                  <a:gd name="T74" fmla="*/ 29 w 118"/>
                  <a:gd name="T75" fmla="*/ 12 h 535"/>
                  <a:gd name="T76" fmla="*/ 34 w 118"/>
                  <a:gd name="T77" fmla="*/ 13 h 535"/>
                  <a:gd name="T78" fmla="*/ 38 w 118"/>
                  <a:gd name="T79" fmla="*/ 13 h 535"/>
                  <a:gd name="T80" fmla="*/ 38 w 118"/>
                  <a:gd name="T81" fmla="*/ 13 h 535"/>
                  <a:gd name="T82" fmla="*/ 46 w 118"/>
                  <a:gd name="T83" fmla="*/ 14 h 535"/>
                  <a:gd name="T84" fmla="*/ 48 w 118"/>
                  <a:gd name="T85" fmla="*/ 15 h 535"/>
                  <a:gd name="T86" fmla="*/ 49 w 118"/>
                  <a:gd name="T87" fmla="*/ 15 h 535"/>
                  <a:gd name="T88" fmla="*/ 52 w 118"/>
                  <a:gd name="T89" fmla="*/ 12 h 535"/>
                  <a:gd name="T90" fmla="*/ 54 w 118"/>
                  <a:gd name="T91" fmla="*/ 12 h 535"/>
                  <a:gd name="T92" fmla="*/ 60 w 118"/>
                  <a:gd name="T93" fmla="*/ 11 h 535"/>
                  <a:gd name="T94" fmla="*/ 70 w 118"/>
                  <a:gd name="T95" fmla="*/ 11 h 535"/>
                  <a:gd name="T96" fmla="*/ 75 w 118"/>
                  <a:gd name="T97" fmla="*/ 14 h 535"/>
                  <a:gd name="T98" fmla="*/ 79 w 118"/>
                  <a:gd name="T99" fmla="*/ 12 h 535"/>
                  <a:gd name="T100" fmla="*/ 90 w 118"/>
                  <a:gd name="T101" fmla="*/ 9 h 535"/>
                  <a:gd name="T102" fmla="*/ 97 w 118"/>
                  <a:gd name="T103" fmla="*/ 6 h 535"/>
                  <a:gd name="T104" fmla="*/ 105 w 118"/>
                  <a:gd name="T105" fmla="*/ 8 h 535"/>
                  <a:gd name="T106" fmla="*/ 109 w 118"/>
                  <a:gd name="T107" fmla="*/ 9 h 5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18" h="535">
                    <a:moveTo>
                      <a:pt x="45" y="521"/>
                    </a:moveTo>
                    <a:lnTo>
                      <a:pt x="46" y="522"/>
                    </a:lnTo>
                    <a:lnTo>
                      <a:pt x="44" y="521"/>
                    </a:lnTo>
                    <a:lnTo>
                      <a:pt x="45" y="521"/>
                    </a:lnTo>
                    <a:close/>
                    <a:moveTo>
                      <a:pt x="116" y="0"/>
                    </a:moveTo>
                    <a:lnTo>
                      <a:pt x="118" y="1"/>
                    </a:lnTo>
                    <a:lnTo>
                      <a:pt x="118" y="518"/>
                    </a:lnTo>
                    <a:lnTo>
                      <a:pt x="118" y="517"/>
                    </a:lnTo>
                    <a:lnTo>
                      <a:pt x="117" y="518"/>
                    </a:lnTo>
                    <a:lnTo>
                      <a:pt x="116" y="518"/>
                    </a:lnTo>
                    <a:lnTo>
                      <a:pt x="117" y="522"/>
                    </a:lnTo>
                    <a:lnTo>
                      <a:pt x="115" y="522"/>
                    </a:lnTo>
                    <a:lnTo>
                      <a:pt x="115" y="519"/>
                    </a:lnTo>
                    <a:lnTo>
                      <a:pt x="112" y="519"/>
                    </a:lnTo>
                    <a:lnTo>
                      <a:pt x="111" y="522"/>
                    </a:lnTo>
                    <a:lnTo>
                      <a:pt x="110" y="523"/>
                    </a:lnTo>
                    <a:lnTo>
                      <a:pt x="109" y="532"/>
                    </a:lnTo>
                    <a:lnTo>
                      <a:pt x="109" y="531"/>
                    </a:lnTo>
                    <a:lnTo>
                      <a:pt x="109" y="535"/>
                    </a:lnTo>
                    <a:lnTo>
                      <a:pt x="107" y="531"/>
                    </a:lnTo>
                    <a:lnTo>
                      <a:pt x="102" y="530"/>
                    </a:lnTo>
                    <a:lnTo>
                      <a:pt x="102" y="533"/>
                    </a:lnTo>
                    <a:lnTo>
                      <a:pt x="101" y="532"/>
                    </a:lnTo>
                    <a:lnTo>
                      <a:pt x="100" y="528"/>
                    </a:lnTo>
                    <a:lnTo>
                      <a:pt x="99" y="528"/>
                    </a:lnTo>
                    <a:lnTo>
                      <a:pt x="97" y="530"/>
                    </a:lnTo>
                    <a:lnTo>
                      <a:pt x="95" y="528"/>
                    </a:lnTo>
                    <a:lnTo>
                      <a:pt x="94" y="533"/>
                    </a:lnTo>
                    <a:lnTo>
                      <a:pt x="94" y="528"/>
                    </a:lnTo>
                    <a:lnTo>
                      <a:pt x="92" y="527"/>
                    </a:lnTo>
                    <a:lnTo>
                      <a:pt x="91" y="526"/>
                    </a:lnTo>
                    <a:lnTo>
                      <a:pt x="91" y="528"/>
                    </a:lnTo>
                    <a:lnTo>
                      <a:pt x="91" y="526"/>
                    </a:lnTo>
                    <a:lnTo>
                      <a:pt x="88" y="525"/>
                    </a:lnTo>
                    <a:lnTo>
                      <a:pt x="86" y="527"/>
                    </a:lnTo>
                    <a:lnTo>
                      <a:pt x="86" y="526"/>
                    </a:lnTo>
                    <a:lnTo>
                      <a:pt x="86" y="527"/>
                    </a:lnTo>
                    <a:lnTo>
                      <a:pt x="85" y="526"/>
                    </a:lnTo>
                    <a:lnTo>
                      <a:pt x="86" y="531"/>
                    </a:lnTo>
                    <a:lnTo>
                      <a:pt x="84" y="528"/>
                    </a:lnTo>
                    <a:lnTo>
                      <a:pt x="84" y="528"/>
                    </a:lnTo>
                    <a:lnTo>
                      <a:pt x="83" y="528"/>
                    </a:lnTo>
                    <a:lnTo>
                      <a:pt x="84" y="528"/>
                    </a:lnTo>
                    <a:lnTo>
                      <a:pt x="83" y="532"/>
                    </a:lnTo>
                    <a:lnTo>
                      <a:pt x="79" y="528"/>
                    </a:lnTo>
                    <a:lnTo>
                      <a:pt x="78" y="533"/>
                    </a:lnTo>
                    <a:lnTo>
                      <a:pt x="78" y="530"/>
                    </a:lnTo>
                    <a:lnTo>
                      <a:pt x="76" y="533"/>
                    </a:lnTo>
                    <a:lnTo>
                      <a:pt x="74" y="532"/>
                    </a:lnTo>
                    <a:lnTo>
                      <a:pt x="74" y="532"/>
                    </a:lnTo>
                    <a:lnTo>
                      <a:pt x="75" y="527"/>
                    </a:lnTo>
                    <a:lnTo>
                      <a:pt x="71" y="530"/>
                    </a:lnTo>
                    <a:lnTo>
                      <a:pt x="72" y="527"/>
                    </a:lnTo>
                    <a:lnTo>
                      <a:pt x="71" y="528"/>
                    </a:lnTo>
                    <a:lnTo>
                      <a:pt x="69" y="526"/>
                    </a:lnTo>
                    <a:lnTo>
                      <a:pt x="67" y="524"/>
                    </a:lnTo>
                    <a:lnTo>
                      <a:pt x="67" y="526"/>
                    </a:lnTo>
                    <a:lnTo>
                      <a:pt x="65" y="524"/>
                    </a:lnTo>
                    <a:lnTo>
                      <a:pt x="65" y="526"/>
                    </a:lnTo>
                    <a:lnTo>
                      <a:pt x="62" y="526"/>
                    </a:lnTo>
                    <a:lnTo>
                      <a:pt x="60" y="524"/>
                    </a:lnTo>
                    <a:lnTo>
                      <a:pt x="59" y="527"/>
                    </a:lnTo>
                    <a:lnTo>
                      <a:pt x="59" y="528"/>
                    </a:lnTo>
                    <a:lnTo>
                      <a:pt x="57" y="528"/>
                    </a:lnTo>
                    <a:lnTo>
                      <a:pt x="55" y="524"/>
                    </a:lnTo>
                    <a:lnTo>
                      <a:pt x="55" y="526"/>
                    </a:lnTo>
                    <a:lnTo>
                      <a:pt x="55" y="523"/>
                    </a:lnTo>
                    <a:lnTo>
                      <a:pt x="53" y="527"/>
                    </a:lnTo>
                    <a:lnTo>
                      <a:pt x="53" y="523"/>
                    </a:lnTo>
                    <a:lnTo>
                      <a:pt x="51" y="522"/>
                    </a:lnTo>
                    <a:lnTo>
                      <a:pt x="50" y="521"/>
                    </a:lnTo>
                    <a:lnTo>
                      <a:pt x="49" y="524"/>
                    </a:lnTo>
                    <a:lnTo>
                      <a:pt x="49" y="523"/>
                    </a:lnTo>
                    <a:lnTo>
                      <a:pt x="49" y="524"/>
                    </a:lnTo>
                    <a:lnTo>
                      <a:pt x="48" y="525"/>
                    </a:lnTo>
                    <a:lnTo>
                      <a:pt x="48" y="526"/>
                    </a:lnTo>
                    <a:lnTo>
                      <a:pt x="48" y="525"/>
                    </a:lnTo>
                    <a:lnTo>
                      <a:pt x="48" y="524"/>
                    </a:lnTo>
                    <a:lnTo>
                      <a:pt x="49" y="522"/>
                    </a:lnTo>
                    <a:lnTo>
                      <a:pt x="49" y="521"/>
                    </a:lnTo>
                    <a:lnTo>
                      <a:pt x="49" y="518"/>
                    </a:lnTo>
                    <a:lnTo>
                      <a:pt x="49" y="521"/>
                    </a:lnTo>
                    <a:lnTo>
                      <a:pt x="45" y="521"/>
                    </a:lnTo>
                    <a:lnTo>
                      <a:pt x="43" y="518"/>
                    </a:lnTo>
                    <a:lnTo>
                      <a:pt x="41" y="518"/>
                    </a:lnTo>
                    <a:lnTo>
                      <a:pt x="42" y="522"/>
                    </a:lnTo>
                    <a:lnTo>
                      <a:pt x="41" y="519"/>
                    </a:lnTo>
                    <a:lnTo>
                      <a:pt x="41" y="522"/>
                    </a:lnTo>
                    <a:lnTo>
                      <a:pt x="37" y="519"/>
                    </a:lnTo>
                    <a:lnTo>
                      <a:pt x="37" y="521"/>
                    </a:lnTo>
                    <a:lnTo>
                      <a:pt x="35" y="521"/>
                    </a:lnTo>
                    <a:lnTo>
                      <a:pt x="34" y="517"/>
                    </a:lnTo>
                    <a:lnTo>
                      <a:pt x="33" y="519"/>
                    </a:lnTo>
                    <a:lnTo>
                      <a:pt x="33" y="517"/>
                    </a:lnTo>
                    <a:lnTo>
                      <a:pt x="32" y="519"/>
                    </a:lnTo>
                    <a:lnTo>
                      <a:pt x="30" y="517"/>
                    </a:lnTo>
                    <a:lnTo>
                      <a:pt x="32" y="523"/>
                    </a:lnTo>
                    <a:lnTo>
                      <a:pt x="32" y="525"/>
                    </a:lnTo>
                    <a:lnTo>
                      <a:pt x="29" y="523"/>
                    </a:lnTo>
                    <a:lnTo>
                      <a:pt x="30" y="526"/>
                    </a:lnTo>
                    <a:lnTo>
                      <a:pt x="28" y="523"/>
                    </a:lnTo>
                    <a:lnTo>
                      <a:pt x="28" y="525"/>
                    </a:lnTo>
                    <a:lnTo>
                      <a:pt x="26" y="523"/>
                    </a:lnTo>
                    <a:lnTo>
                      <a:pt x="27" y="526"/>
                    </a:lnTo>
                    <a:lnTo>
                      <a:pt x="28" y="527"/>
                    </a:lnTo>
                    <a:lnTo>
                      <a:pt x="26" y="526"/>
                    </a:lnTo>
                    <a:lnTo>
                      <a:pt x="25" y="522"/>
                    </a:lnTo>
                    <a:lnTo>
                      <a:pt x="26" y="525"/>
                    </a:lnTo>
                    <a:lnTo>
                      <a:pt x="24" y="525"/>
                    </a:lnTo>
                    <a:lnTo>
                      <a:pt x="24" y="528"/>
                    </a:lnTo>
                    <a:lnTo>
                      <a:pt x="23" y="526"/>
                    </a:lnTo>
                    <a:lnTo>
                      <a:pt x="23" y="526"/>
                    </a:lnTo>
                    <a:lnTo>
                      <a:pt x="21" y="530"/>
                    </a:lnTo>
                    <a:lnTo>
                      <a:pt x="16" y="521"/>
                    </a:lnTo>
                    <a:lnTo>
                      <a:pt x="15" y="523"/>
                    </a:lnTo>
                    <a:lnTo>
                      <a:pt x="12" y="522"/>
                    </a:lnTo>
                    <a:lnTo>
                      <a:pt x="12" y="524"/>
                    </a:lnTo>
                    <a:lnTo>
                      <a:pt x="12" y="523"/>
                    </a:lnTo>
                    <a:lnTo>
                      <a:pt x="11" y="523"/>
                    </a:lnTo>
                    <a:lnTo>
                      <a:pt x="12" y="525"/>
                    </a:lnTo>
                    <a:lnTo>
                      <a:pt x="9" y="523"/>
                    </a:lnTo>
                    <a:lnTo>
                      <a:pt x="9" y="526"/>
                    </a:lnTo>
                    <a:lnTo>
                      <a:pt x="5" y="521"/>
                    </a:lnTo>
                    <a:lnTo>
                      <a:pt x="5" y="522"/>
                    </a:lnTo>
                    <a:lnTo>
                      <a:pt x="3" y="517"/>
                    </a:lnTo>
                    <a:lnTo>
                      <a:pt x="2" y="518"/>
                    </a:lnTo>
                    <a:lnTo>
                      <a:pt x="2" y="517"/>
                    </a:lnTo>
                    <a:lnTo>
                      <a:pt x="1" y="515"/>
                    </a:lnTo>
                    <a:lnTo>
                      <a:pt x="0" y="519"/>
                    </a:lnTo>
                    <a:lnTo>
                      <a:pt x="0" y="519"/>
                    </a:lnTo>
                    <a:lnTo>
                      <a:pt x="0" y="20"/>
                    </a:lnTo>
                    <a:lnTo>
                      <a:pt x="1" y="19"/>
                    </a:lnTo>
                    <a:lnTo>
                      <a:pt x="3" y="20"/>
                    </a:lnTo>
                    <a:lnTo>
                      <a:pt x="4" y="17"/>
                    </a:lnTo>
                    <a:lnTo>
                      <a:pt x="5" y="19"/>
                    </a:lnTo>
                    <a:lnTo>
                      <a:pt x="5" y="19"/>
                    </a:lnTo>
                    <a:lnTo>
                      <a:pt x="8" y="17"/>
                    </a:lnTo>
                    <a:lnTo>
                      <a:pt x="7" y="15"/>
                    </a:lnTo>
                    <a:lnTo>
                      <a:pt x="9" y="11"/>
                    </a:lnTo>
                    <a:lnTo>
                      <a:pt x="9" y="15"/>
                    </a:lnTo>
                    <a:lnTo>
                      <a:pt x="13" y="12"/>
                    </a:lnTo>
                    <a:lnTo>
                      <a:pt x="10" y="15"/>
                    </a:lnTo>
                    <a:lnTo>
                      <a:pt x="11" y="16"/>
                    </a:lnTo>
                    <a:lnTo>
                      <a:pt x="11" y="14"/>
                    </a:lnTo>
                    <a:lnTo>
                      <a:pt x="18" y="12"/>
                    </a:lnTo>
                    <a:lnTo>
                      <a:pt x="19" y="13"/>
                    </a:lnTo>
                    <a:lnTo>
                      <a:pt x="19" y="12"/>
                    </a:lnTo>
                    <a:lnTo>
                      <a:pt x="20" y="14"/>
                    </a:lnTo>
                    <a:lnTo>
                      <a:pt x="25" y="11"/>
                    </a:lnTo>
                    <a:lnTo>
                      <a:pt x="27" y="11"/>
                    </a:lnTo>
                    <a:lnTo>
                      <a:pt x="27" y="13"/>
                    </a:lnTo>
                    <a:lnTo>
                      <a:pt x="29" y="12"/>
                    </a:lnTo>
                    <a:lnTo>
                      <a:pt x="28" y="13"/>
                    </a:lnTo>
                    <a:lnTo>
                      <a:pt x="29" y="14"/>
                    </a:lnTo>
                    <a:lnTo>
                      <a:pt x="30" y="12"/>
                    </a:lnTo>
                    <a:lnTo>
                      <a:pt x="34" y="13"/>
                    </a:lnTo>
                    <a:lnTo>
                      <a:pt x="34" y="12"/>
                    </a:lnTo>
                    <a:lnTo>
                      <a:pt x="35" y="12"/>
                    </a:lnTo>
                    <a:lnTo>
                      <a:pt x="36" y="14"/>
                    </a:lnTo>
                    <a:lnTo>
                      <a:pt x="38" y="13"/>
                    </a:lnTo>
                    <a:lnTo>
                      <a:pt x="38" y="15"/>
                    </a:lnTo>
                    <a:lnTo>
                      <a:pt x="40" y="14"/>
                    </a:lnTo>
                    <a:lnTo>
                      <a:pt x="41" y="14"/>
                    </a:lnTo>
                    <a:lnTo>
                      <a:pt x="38" y="13"/>
                    </a:lnTo>
                    <a:lnTo>
                      <a:pt x="43" y="13"/>
                    </a:lnTo>
                    <a:lnTo>
                      <a:pt x="44" y="12"/>
                    </a:lnTo>
                    <a:lnTo>
                      <a:pt x="46" y="12"/>
                    </a:lnTo>
                    <a:lnTo>
                      <a:pt x="46" y="14"/>
                    </a:lnTo>
                    <a:lnTo>
                      <a:pt x="48" y="13"/>
                    </a:lnTo>
                    <a:lnTo>
                      <a:pt x="49" y="12"/>
                    </a:lnTo>
                    <a:lnTo>
                      <a:pt x="49" y="14"/>
                    </a:lnTo>
                    <a:lnTo>
                      <a:pt x="48" y="15"/>
                    </a:lnTo>
                    <a:lnTo>
                      <a:pt x="48" y="14"/>
                    </a:lnTo>
                    <a:lnTo>
                      <a:pt x="48" y="15"/>
                    </a:lnTo>
                    <a:lnTo>
                      <a:pt x="48" y="15"/>
                    </a:lnTo>
                    <a:lnTo>
                      <a:pt x="49" y="15"/>
                    </a:lnTo>
                    <a:lnTo>
                      <a:pt x="49" y="14"/>
                    </a:lnTo>
                    <a:lnTo>
                      <a:pt x="49" y="14"/>
                    </a:lnTo>
                    <a:lnTo>
                      <a:pt x="51" y="16"/>
                    </a:lnTo>
                    <a:lnTo>
                      <a:pt x="52" y="12"/>
                    </a:lnTo>
                    <a:lnTo>
                      <a:pt x="52" y="16"/>
                    </a:lnTo>
                    <a:lnTo>
                      <a:pt x="52" y="16"/>
                    </a:lnTo>
                    <a:lnTo>
                      <a:pt x="54" y="16"/>
                    </a:lnTo>
                    <a:lnTo>
                      <a:pt x="54" y="12"/>
                    </a:lnTo>
                    <a:lnTo>
                      <a:pt x="55" y="15"/>
                    </a:lnTo>
                    <a:lnTo>
                      <a:pt x="59" y="12"/>
                    </a:lnTo>
                    <a:lnTo>
                      <a:pt x="61" y="13"/>
                    </a:lnTo>
                    <a:lnTo>
                      <a:pt x="60" y="11"/>
                    </a:lnTo>
                    <a:lnTo>
                      <a:pt x="63" y="11"/>
                    </a:lnTo>
                    <a:lnTo>
                      <a:pt x="65" y="12"/>
                    </a:lnTo>
                    <a:lnTo>
                      <a:pt x="66" y="11"/>
                    </a:lnTo>
                    <a:lnTo>
                      <a:pt x="70" y="11"/>
                    </a:lnTo>
                    <a:lnTo>
                      <a:pt x="69" y="12"/>
                    </a:lnTo>
                    <a:lnTo>
                      <a:pt x="72" y="15"/>
                    </a:lnTo>
                    <a:lnTo>
                      <a:pt x="74" y="13"/>
                    </a:lnTo>
                    <a:lnTo>
                      <a:pt x="75" y="14"/>
                    </a:lnTo>
                    <a:lnTo>
                      <a:pt x="77" y="14"/>
                    </a:lnTo>
                    <a:lnTo>
                      <a:pt x="77" y="13"/>
                    </a:lnTo>
                    <a:lnTo>
                      <a:pt x="72" y="13"/>
                    </a:lnTo>
                    <a:lnTo>
                      <a:pt x="79" y="12"/>
                    </a:lnTo>
                    <a:lnTo>
                      <a:pt x="86" y="6"/>
                    </a:lnTo>
                    <a:lnTo>
                      <a:pt x="87" y="11"/>
                    </a:lnTo>
                    <a:lnTo>
                      <a:pt x="90" y="11"/>
                    </a:lnTo>
                    <a:lnTo>
                      <a:pt x="90" y="9"/>
                    </a:lnTo>
                    <a:lnTo>
                      <a:pt x="92" y="12"/>
                    </a:lnTo>
                    <a:lnTo>
                      <a:pt x="94" y="8"/>
                    </a:lnTo>
                    <a:lnTo>
                      <a:pt x="93" y="13"/>
                    </a:lnTo>
                    <a:lnTo>
                      <a:pt x="97" y="6"/>
                    </a:lnTo>
                    <a:lnTo>
                      <a:pt x="99" y="7"/>
                    </a:lnTo>
                    <a:lnTo>
                      <a:pt x="103" y="6"/>
                    </a:lnTo>
                    <a:lnTo>
                      <a:pt x="102" y="9"/>
                    </a:lnTo>
                    <a:lnTo>
                      <a:pt x="105" y="8"/>
                    </a:lnTo>
                    <a:lnTo>
                      <a:pt x="104" y="7"/>
                    </a:lnTo>
                    <a:lnTo>
                      <a:pt x="107" y="6"/>
                    </a:lnTo>
                    <a:lnTo>
                      <a:pt x="107" y="9"/>
                    </a:lnTo>
                    <a:lnTo>
                      <a:pt x="109" y="9"/>
                    </a:lnTo>
                    <a:lnTo>
                      <a:pt x="112" y="4"/>
                    </a:lnTo>
                    <a:lnTo>
                      <a:pt x="113" y="6"/>
                    </a:lnTo>
                    <a:lnTo>
                      <a:pt x="116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E20074"/>
                  </a:buClr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0" cap="none" spc="0" normalizeH="0" baseline="0" noProof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11" name="Freeform 151"/>
              <p:cNvSpPr>
                <a:spLocks/>
              </p:cNvSpPr>
              <p:nvPr/>
            </p:nvSpPr>
            <p:spPr bwMode="auto">
              <a:xfrm>
                <a:off x="13042901" y="511176"/>
                <a:ext cx="185738" cy="892175"/>
              </a:xfrm>
              <a:custGeom>
                <a:avLst/>
                <a:gdLst>
                  <a:gd name="T0" fmla="*/ 104 w 117"/>
                  <a:gd name="T1" fmla="*/ 4 h 562"/>
                  <a:gd name="T2" fmla="*/ 117 w 117"/>
                  <a:gd name="T3" fmla="*/ 6 h 562"/>
                  <a:gd name="T4" fmla="*/ 113 w 117"/>
                  <a:gd name="T5" fmla="*/ 549 h 562"/>
                  <a:gd name="T6" fmla="*/ 110 w 117"/>
                  <a:gd name="T7" fmla="*/ 553 h 562"/>
                  <a:gd name="T8" fmla="*/ 106 w 117"/>
                  <a:gd name="T9" fmla="*/ 553 h 562"/>
                  <a:gd name="T10" fmla="*/ 103 w 117"/>
                  <a:gd name="T11" fmla="*/ 558 h 562"/>
                  <a:gd name="T12" fmla="*/ 98 w 117"/>
                  <a:gd name="T13" fmla="*/ 556 h 562"/>
                  <a:gd name="T14" fmla="*/ 94 w 117"/>
                  <a:gd name="T15" fmla="*/ 556 h 562"/>
                  <a:gd name="T16" fmla="*/ 91 w 117"/>
                  <a:gd name="T17" fmla="*/ 557 h 562"/>
                  <a:gd name="T18" fmla="*/ 90 w 117"/>
                  <a:gd name="T19" fmla="*/ 559 h 562"/>
                  <a:gd name="T20" fmla="*/ 84 w 117"/>
                  <a:gd name="T21" fmla="*/ 561 h 562"/>
                  <a:gd name="T22" fmla="*/ 77 w 117"/>
                  <a:gd name="T23" fmla="*/ 556 h 562"/>
                  <a:gd name="T24" fmla="*/ 73 w 117"/>
                  <a:gd name="T25" fmla="*/ 555 h 562"/>
                  <a:gd name="T26" fmla="*/ 66 w 117"/>
                  <a:gd name="T27" fmla="*/ 553 h 562"/>
                  <a:gd name="T28" fmla="*/ 59 w 117"/>
                  <a:gd name="T29" fmla="*/ 547 h 562"/>
                  <a:gd name="T30" fmla="*/ 58 w 117"/>
                  <a:gd name="T31" fmla="*/ 553 h 562"/>
                  <a:gd name="T32" fmla="*/ 50 w 117"/>
                  <a:gd name="T33" fmla="*/ 546 h 562"/>
                  <a:gd name="T34" fmla="*/ 48 w 117"/>
                  <a:gd name="T35" fmla="*/ 547 h 562"/>
                  <a:gd name="T36" fmla="*/ 44 w 117"/>
                  <a:gd name="T37" fmla="*/ 549 h 562"/>
                  <a:gd name="T38" fmla="*/ 39 w 117"/>
                  <a:gd name="T39" fmla="*/ 555 h 562"/>
                  <a:gd name="T40" fmla="*/ 32 w 117"/>
                  <a:gd name="T41" fmla="*/ 554 h 562"/>
                  <a:gd name="T42" fmla="*/ 28 w 117"/>
                  <a:gd name="T43" fmla="*/ 555 h 562"/>
                  <a:gd name="T44" fmla="*/ 25 w 117"/>
                  <a:gd name="T45" fmla="*/ 554 h 562"/>
                  <a:gd name="T46" fmla="*/ 23 w 117"/>
                  <a:gd name="T47" fmla="*/ 559 h 562"/>
                  <a:gd name="T48" fmla="*/ 20 w 117"/>
                  <a:gd name="T49" fmla="*/ 562 h 562"/>
                  <a:gd name="T50" fmla="*/ 18 w 117"/>
                  <a:gd name="T51" fmla="*/ 559 h 562"/>
                  <a:gd name="T52" fmla="*/ 15 w 117"/>
                  <a:gd name="T53" fmla="*/ 556 h 562"/>
                  <a:gd name="T54" fmla="*/ 10 w 117"/>
                  <a:gd name="T55" fmla="*/ 556 h 562"/>
                  <a:gd name="T56" fmla="*/ 6 w 117"/>
                  <a:gd name="T57" fmla="*/ 553 h 562"/>
                  <a:gd name="T58" fmla="*/ 1 w 117"/>
                  <a:gd name="T59" fmla="*/ 553 h 562"/>
                  <a:gd name="T60" fmla="*/ 0 w 117"/>
                  <a:gd name="T61" fmla="*/ 32 h 562"/>
                  <a:gd name="T62" fmla="*/ 3 w 117"/>
                  <a:gd name="T63" fmla="*/ 36 h 562"/>
                  <a:gd name="T64" fmla="*/ 6 w 117"/>
                  <a:gd name="T65" fmla="*/ 37 h 562"/>
                  <a:gd name="T66" fmla="*/ 9 w 117"/>
                  <a:gd name="T67" fmla="*/ 35 h 562"/>
                  <a:gd name="T68" fmla="*/ 19 w 117"/>
                  <a:gd name="T69" fmla="*/ 32 h 562"/>
                  <a:gd name="T70" fmla="*/ 19 w 117"/>
                  <a:gd name="T71" fmla="*/ 28 h 562"/>
                  <a:gd name="T72" fmla="*/ 24 w 117"/>
                  <a:gd name="T73" fmla="*/ 32 h 562"/>
                  <a:gd name="T74" fmla="*/ 28 w 117"/>
                  <a:gd name="T75" fmla="*/ 35 h 562"/>
                  <a:gd name="T76" fmla="*/ 33 w 117"/>
                  <a:gd name="T77" fmla="*/ 31 h 562"/>
                  <a:gd name="T78" fmla="*/ 45 w 117"/>
                  <a:gd name="T79" fmla="*/ 25 h 562"/>
                  <a:gd name="T80" fmla="*/ 52 w 117"/>
                  <a:gd name="T81" fmla="*/ 27 h 562"/>
                  <a:gd name="T82" fmla="*/ 56 w 117"/>
                  <a:gd name="T83" fmla="*/ 23 h 562"/>
                  <a:gd name="T84" fmla="*/ 58 w 117"/>
                  <a:gd name="T85" fmla="*/ 25 h 562"/>
                  <a:gd name="T86" fmla="*/ 65 w 117"/>
                  <a:gd name="T87" fmla="*/ 25 h 562"/>
                  <a:gd name="T88" fmla="*/ 67 w 117"/>
                  <a:gd name="T89" fmla="*/ 23 h 562"/>
                  <a:gd name="T90" fmla="*/ 76 w 117"/>
                  <a:gd name="T91" fmla="*/ 22 h 562"/>
                  <a:gd name="T92" fmla="*/ 83 w 117"/>
                  <a:gd name="T93" fmla="*/ 17 h 562"/>
                  <a:gd name="T94" fmla="*/ 87 w 117"/>
                  <a:gd name="T95" fmla="*/ 11 h 562"/>
                  <a:gd name="T96" fmla="*/ 89 w 117"/>
                  <a:gd name="T97" fmla="*/ 9 h 562"/>
                  <a:gd name="T98" fmla="*/ 91 w 117"/>
                  <a:gd name="T99" fmla="*/ 8 h 562"/>
                  <a:gd name="T100" fmla="*/ 92 w 117"/>
                  <a:gd name="T101" fmla="*/ 2 h 5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17" h="562">
                    <a:moveTo>
                      <a:pt x="100" y="0"/>
                    </a:moveTo>
                    <a:lnTo>
                      <a:pt x="101" y="2"/>
                    </a:lnTo>
                    <a:lnTo>
                      <a:pt x="101" y="1"/>
                    </a:lnTo>
                    <a:lnTo>
                      <a:pt x="104" y="4"/>
                    </a:lnTo>
                    <a:lnTo>
                      <a:pt x="108" y="4"/>
                    </a:lnTo>
                    <a:lnTo>
                      <a:pt x="112" y="2"/>
                    </a:lnTo>
                    <a:lnTo>
                      <a:pt x="112" y="4"/>
                    </a:lnTo>
                    <a:lnTo>
                      <a:pt x="117" y="6"/>
                    </a:lnTo>
                    <a:lnTo>
                      <a:pt x="117" y="6"/>
                    </a:lnTo>
                    <a:lnTo>
                      <a:pt x="117" y="548"/>
                    </a:lnTo>
                    <a:lnTo>
                      <a:pt x="113" y="545"/>
                    </a:lnTo>
                    <a:lnTo>
                      <a:pt x="113" y="549"/>
                    </a:lnTo>
                    <a:lnTo>
                      <a:pt x="112" y="550"/>
                    </a:lnTo>
                    <a:lnTo>
                      <a:pt x="112" y="549"/>
                    </a:lnTo>
                    <a:lnTo>
                      <a:pt x="112" y="552"/>
                    </a:lnTo>
                    <a:lnTo>
                      <a:pt x="110" y="553"/>
                    </a:lnTo>
                    <a:lnTo>
                      <a:pt x="110" y="552"/>
                    </a:lnTo>
                    <a:lnTo>
                      <a:pt x="107" y="550"/>
                    </a:lnTo>
                    <a:lnTo>
                      <a:pt x="107" y="553"/>
                    </a:lnTo>
                    <a:lnTo>
                      <a:pt x="106" y="553"/>
                    </a:lnTo>
                    <a:lnTo>
                      <a:pt x="107" y="555"/>
                    </a:lnTo>
                    <a:lnTo>
                      <a:pt x="104" y="555"/>
                    </a:lnTo>
                    <a:lnTo>
                      <a:pt x="103" y="556"/>
                    </a:lnTo>
                    <a:lnTo>
                      <a:pt x="103" y="558"/>
                    </a:lnTo>
                    <a:lnTo>
                      <a:pt x="100" y="552"/>
                    </a:lnTo>
                    <a:lnTo>
                      <a:pt x="100" y="557"/>
                    </a:lnTo>
                    <a:lnTo>
                      <a:pt x="98" y="555"/>
                    </a:lnTo>
                    <a:lnTo>
                      <a:pt x="98" y="556"/>
                    </a:lnTo>
                    <a:lnTo>
                      <a:pt x="95" y="553"/>
                    </a:lnTo>
                    <a:lnTo>
                      <a:pt x="94" y="553"/>
                    </a:lnTo>
                    <a:lnTo>
                      <a:pt x="95" y="557"/>
                    </a:lnTo>
                    <a:lnTo>
                      <a:pt x="94" y="556"/>
                    </a:lnTo>
                    <a:lnTo>
                      <a:pt x="94" y="559"/>
                    </a:lnTo>
                    <a:lnTo>
                      <a:pt x="92" y="558"/>
                    </a:lnTo>
                    <a:lnTo>
                      <a:pt x="91" y="555"/>
                    </a:lnTo>
                    <a:lnTo>
                      <a:pt x="91" y="557"/>
                    </a:lnTo>
                    <a:lnTo>
                      <a:pt x="90" y="558"/>
                    </a:lnTo>
                    <a:lnTo>
                      <a:pt x="87" y="555"/>
                    </a:lnTo>
                    <a:lnTo>
                      <a:pt x="87" y="557"/>
                    </a:lnTo>
                    <a:lnTo>
                      <a:pt x="90" y="559"/>
                    </a:lnTo>
                    <a:lnTo>
                      <a:pt x="85" y="558"/>
                    </a:lnTo>
                    <a:lnTo>
                      <a:pt x="84" y="559"/>
                    </a:lnTo>
                    <a:lnTo>
                      <a:pt x="84" y="558"/>
                    </a:lnTo>
                    <a:lnTo>
                      <a:pt x="84" y="561"/>
                    </a:lnTo>
                    <a:lnTo>
                      <a:pt x="83" y="561"/>
                    </a:lnTo>
                    <a:lnTo>
                      <a:pt x="83" y="559"/>
                    </a:lnTo>
                    <a:lnTo>
                      <a:pt x="82" y="562"/>
                    </a:lnTo>
                    <a:lnTo>
                      <a:pt x="77" y="556"/>
                    </a:lnTo>
                    <a:lnTo>
                      <a:pt x="74" y="556"/>
                    </a:lnTo>
                    <a:lnTo>
                      <a:pt x="75" y="555"/>
                    </a:lnTo>
                    <a:lnTo>
                      <a:pt x="74" y="555"/>
                    </a:lnTo>
                    <a:lnTo>
                      <a:pt x="73" y="555"/>
                    </a:lnTo>
                    <a:lnTo>
                      <a:pt x="73" y="557"/>
                    </a:lnTo>
                    <a:lnTo>
                      <a:pt x="71" y="555"/>
                    </a:lnTo>
                    <a:lnTo>
                      <a:pt x="70" y="557"/>
                    </a:lnTo>
                    <a:lnTo>
                      <a:pt x="66" y="553"/>
                    </a:lnTo>
                    <a:lnTo>
                      <a:pt x="66" y="556"/>
                    </a:lnTo>
                    <a:lnTo>
                      <a:pt x="64" y="549"/>
                    </a:lnTo>
                    <a:lnTo>
                      <a:pt x="64" y="550"/>
                    </a:lnTo>
                    <a:lnTo>
                      <a:pt x="59" y="547"/>
                    </a:lnTo>
                    <a:lnTo>
                      <a:pt x="60" y="553"/>
                    </a:lnTo>
                    <a:lnTo>
                      <a:pt x="59" y="552"/>
                    </a:lnTo>
                    <a:lnTo>
                      <a:pt x="59" y="554"/>
                    </a:lnTo>
                    <a:lnTo>
                      <a:pt x="58" y="553"/>
                    </a:lnTo>
                    <a:lnTo>
                      <a:pt x="56" y="554"/>
                    </a:lnTo>
                    <a:lnTo>
                      <a:pt x="54" y="548"/>
                    </a:lnTo>
                    <a:lnTo>
                      <a:pt x="53" y="552"/>
                    </a:lnTo>
                    <a:lnTo>
                      <a:pt x="50" y="546"/>
                    </a:lnTo>
                    <a:lnTo>
                      <a:pt x="50" y="548"/>
                    </a:lnTo>
                    <a:lnTo>
                      <a:pt x="49" y="547"/>
                    </a:lnTo>
                    <a:lnTo>
                      <a:pt x="49" y="548"/>
                    </a:lnTo>
                    <a:lnTo>
                      <a:pt x="48" y="547"/>
                    </a:lnTo>
                    <a:lnTo>
                      <a:pt x="46" y="547"/>
                    </a:lnTo>
                    <a:lnTo>
                      <a:pt x="48" y="549"/>
                    </a:lnTo>
                    <a:lnTo>
                      <a:pt x="44" y="546"/>
                    </a:lnTo>
                    <a:lnTo>
                      <a:pt x="44" y="549"/>
                    </a:lnTo>
                    <a:lnTo>
                      <a:pt x="42" y="549"/>
                    </a:lnTo>
                    <a:lnTo>
                      <a:pt x="42" y="548"/>
                    </a:lnTo>
                    <a:lnTo>
                      <a:pt x="40" y="549"/>
                    </a:lnTo>
                    <a:lnTo>
                      <a:pt x="39" y="555"/>
                    </a:lnTo>
                    <a:lnTo>
                      <a:pt x="37" y="553"/>
                    </a:lnTo>
                    <a:lnTo>
                      <a:pt x="35" y="553"/>
                    </a:lnTo>
                    <a:lnTo>
                      <a:pt x="34" y="555"/>
                    </a:lnTo>
                    <a:lnTo>
                      <a:pt x="32" y="554"/>
                    </a:lnTo>
                    <a:lnTo>
                      <a:pt x="31" y="558"/>
                    </a:lnTo>
                    <a:lnTo>
                      <a:pt x="31" y="555"/>
                    </a:lnTo>
                    <a:lnTo>
                      <a:pt x="28" y="557"/>
                    </a:lnTo>
                    <a:lnTo>
                      <a:pt x="28" y="555"/>
                    </a:lnTo>
                    <a:lnTo>
                      <a:pt x="26" y="559"/>
                    </a:lnTo>
                    <a:lnTo>
                      <a:pt x="27" y="554"/>
                    </a:lnTo>
                    <a:lnTo>
                      <a:pt x="25" y="556"/>
                    </a:lnTo>
                    <a:lnTo>
                      <a:pt x="25" y="554"/>
                    </a:lnTo>
                    <a:lnTo>
                      <a:pt x="25" y="554"/>
                    </a:lnTo>
                    <a:lnTo>
                      <a:pt x="24" y="555"/>
                    </a:lnTo>
                    <a:lnTo>
                      <a:pt x="23" y="555"/>
                    </a:lnTo>
                    <a:lnTo>
                      <a:pt x="23" y="559"/>
                    </a:lnTo>
                    <a:lnTo>
                      <a:pt x="21" y="557"/>
                    </a:lnTo>
                    <a:lnTo>
                      <a:pt x="21" y="559"/>
                    </a:lnTo>
                    <a:lnTo>
                      <a:pt x="20" y="559"/>
                    </a:lnTo>
                    <a:lnTo>
                      <a:pt x="20" y="562"/>
                    </a:lnTo>
                    <a:lnTo>
                      <a:pt x="19" y="561"/>
                    </a:lnTo>
                    <a:lnTo>
                      <a:pt x="19" y="562"/>
                    </a:lnTo>
                    <a:lnTo>
                      <a:pt x="18" y="559"/>
                    </a:lnTo>
                    <a:lnTo>
                      <a:pt x="18" y="559"/>
                    </a:lnTo>
                    <a:lnTo>
                      <a:pt x="17" y="561"/>
                    </a:lnTo>
                    <a:lnTo>
                      <a:pt x="16" y="557"/>
                    </a:lnTo>
                    <a:lnTo>
                      <a:pt x="15" y="558"/>
                    </a:lnTo>
                    <a:lnTo>
                      <a:pt x="15" y="556"/>
                    </a:lnTo>
                    <a:lnTo>
                      <a:pt x="14" y="559"/>
                    </a:lnTo>
                    <a:lnTo>
                      <a:pt x="12" y="558"/>
                    </a:lnTo>
                    <a:lnTo>
                      <a:pt x="11" y="561"/>
                    </a:lnTo>
                    <a:lnTo>
                      <a:pt x="10" y="556"/>
                    </a:lnTo>
                    <a:lnTo>
                      <a:pt x="10" y="558"/>
                    </a:lnTo>
                    <a:lnTo>
                      <a:pt x="8" y="556"/>
                    </a:lnTo>
                    <a:lnTo>
                      <a:pt x="8" y="554"/>
                    </a:lnTo>
                    <a:lnTo>
                      <a:pt x="6" y="553"/>
                    </a:lnTo>
                    <a:lnTo>
                      <a:pt x="1" y="554"/>
                    </a:lnTo>
                    <a:lnTo>
                      <a:pt x="3" y="552"/>
                    </a:lnTo>
                    <a:lnTo>
                      <a:pt x="2" y="550"/>
                    </a:lnTo>
                    <a:lnTo>
                      <a:pt x="1" y="553"/>
                    </a:lnTo>
                    <a:lnTo>
                      <a:pt x="1" y="550"/>
                    </a:lnTo>
                    <a:lnTo>
                      <a:pt x="0" y="553"/>
                    </a:lnTo>
                    <a:lnTo>
                      <a:pt x="0" y="549"/>
                    </a:lnTo>
                    <a:lnTo>
                      <a:pt x="0" y="32"/>
                    </a:lnTo>
                    <a:lnTo>
                      <a:pt x="1" y="36"/>
                    </a:lnTo>
                    <a:lnTo>
                      <a:pt x="2" y="34"/>
                    </a:lnTo>
                    <a:lnTo>
                      <a:pt x="2" y="36"/>
                    </a:lnTo>
                    <a:lnTo>
                      <a:pt x="3" y="36"/>
                    </a:lnTo>
                    <a:lnTo>
                      <a:pt x="3" y="34"/>
                    </a:lnTo>
                    <a:lnTo>
                      <a:pt x="4" y="36"/>
                    </a:lnTo>
                    <a:lnTo>
                      <a:pt x="6" y="35"/>
                    </a:lnTo>
                    <a:lnTo>
                      <a:pt x="6" y="37"/>
                    </a:lnTo>
                    <a:lnTo>
                      <a:pt x="6" y="37"/>
                    </a:lnTo>
                    <a:lnTo>
                      <a:pt x="8" y="36"/>
                    </a:lnTo>
                    <a:lnTo>
                      <a:pt x="8" y="30"/>
                    </a:lnTo>
                    <a:lnTo>
                      <a:pt x="9" y="35"/>
                    </a:lnTo>
                    <a:lnTo>
                      <a:pt x="14" y="32"/>
                    </a:lnTo>
                    <a:lnTo>
                      <a:pt x="15" y="31"/>
                    </a:lnTo>
                    <a:lnTo>
                      <a:pt x="15" y="34"/>
                    </a:lnTo>
                    <a:lnTo>
                      <a:pt x="19" y="32"/>
                    </a:lnTo>
                    <a:lnTo>
                      <a:pt x="19" y="35"/>
                    </a:lnTo>
                    <a:lnTo>
                      <a:pt x="20" y="31"/>
                    </a:lnTo>
                    <a:lnTo>
                      <a:pt x="18" y="30"/>
                    </a:lnTo>
                    <a:lnTo>
                      <a:pt x="19" y="28"/>
                    </a:lnTo>
                    <a:lnTo>
                      <a:pt x="21" y="29"/>
                    </a:lnTo>
                    <a:lnTo>
                      <a:pt x="20" y="31"/>
                    </a:lnTo>
                    <a:lnTo>
                      <a:pt x="21" y="29"/>
                    </a:lnTo>
                    <a:lnTo>
                      <a:pt x="24" y="32"/>
                    </a:lnTo>
                    <a:lnTo>
                      <a:pt x="27" y="35"/>
                    </a:lnTo>
                    <a:lnTo>
                      <a:pt x="28" y="34"/>
                    </a:lnTo>
                    <a:lnTo>
                      <a:pt x="27" y="32"/>
                    </a:lnTo>
                    <a:lnTo>
                      <a:pt x="28" y="35"/>
                    </a:lnTo>
                    <a:lnTo>
                      <a:pt x="29" y="35"/>
                    </a:lnTo>
                    <a:lnTo>
                      <a:pt x="32" y="31"/>
                    </a:lnTo>
                    <a:lnTo>
                      <a:pt x="32" y="34"/>
                    </a:lnTo>
                    <a:lnTo>
                      <a:pt x="33" y="31"/>
                    </a:lnTo>
                    <a:lnTo>
                      <a:pt x="34" y="31"/>
                    </a:lnTo>
                    <a:lnTo>
                      <a:pt x="37" y="28"/>
                    </a:lnTo>
                    <a:lnTo>
                      <a:pt x="42" y="28"/>
                    </a:lnTo>
                    <a:lnTo>
                      <a:pt x="45" y="25"/>
                    </a:lnTo>
                    <a:lnTo>
                      <a:pt x="44" y="27"/>
                    </a:lnTo>
                    <a:lnTo>
                      <a:pt x="48" y="23"/>
                    </a:lnTo>
                    <a:lnTo>
                      <a:pt x="51" y="25"/>
                    </a:lnTo>
                    <a:lnTo>
                      <a:pt x="52" y="27"/>
                    </a:lnTo>
                    <a:lnTo>
                      <a:pt x="52" y="27"/>
                    </a:lnTo>
                    <a:lnTo>
                      <a:pt x="53" y="27"/>
                    </a:lnTo>
                    <a:lnTo>
                      <a:pt x="54" y="25"/>
                    </a:lnTo>
                    <a:lnTo>
                      <a:pt x="56" y="23"/>
                    </a:lnTo>
                    <a:lnTo>
                      <a:pt x="56" y="25"/>
                    </a:lnTo>
                    <a:lnTo>
                      <a:pt x="57" y="22"/>
                    </a:lnTo>
                    <a:lnTo>
                      <a:pt x="59" y="22"/>
                    </a:lnTo>
                    <a:lnTo>
                      <a:pt x="58" y="25"/>
                    </a:lnTo>
                    <a:lnTo>
                      <a:pt x="61" y="25"/>
                    </a:lnTo>
                    <a:lnTo>
                      <a:pt x="60" y="23"/>
                    </a:lnTo>
                    <a:lnTo>
                      <a:pt x="62" y="25"/>
                    </a:lnTo>
                    <a:lnTo>
                      <a:pt x="65" y="25"/>
                    </a:lnTo>
                    <a:lnTo>
                      <a:pt x="67" y="25"/>
                    </a:lnTo>
                    <a:lnTo>
                      <a:pt x="65" y="23"/>
                    </a:lnTo>
                    <a:lnTo>
                      <a:pt x="66" y="21"/>
                    </a:lnTo>
                    <a:lnTo>
                      <a:pt x="67" y="23"/>
                    </a:lnTo>
                    <a:lnTo>
                      <a:pt x="69" y="20"/>
                    </a:lnTo>
                    <a:lnTo>
                      <a:pt x="76" y="22"/>
                    </a:lnTo>
                    <a:lnTo>
                      <a:pt x="76" y="20"/>
                    </a:lnTo>
                    <a:lnTo>
                      <a:pt x="76" y="22"/>
                    </a:lnTo>
                    <a:lnTo>
                      <a:pt x="78" y="20"/>
                    </a:lnTo>
                    <a:lnTo>
                      <a:pt x="78" y="18"/>
                    </a:lnTo>
                    <a:lnTo>
                      <a:pt x="82" y="17"/>
                    </a:lnTo>
                    <a:lnTo>
                      <a:pt x="83" y="17"/>
                    </a:lnTo>
                    <a:lnTo>
                      <a:pt x="83" y="14"/>
                    </a:lnTo>
                    <a:lnTo>
                      <a:pt x="86" y="12"/>
                    </a:lnTo>
                    <a:lnTo>
                      <a:pt x="86" y="9"/>
                    </a:lnTo>
                    <a:lnTo>
                      <a:pt x="87" y="11"/>
                    </a:lnTo>
                    <a:lnTo>
                      <a:pt x="87" y="9"/>
                    </a:lnTo>
                    <a:lnTo>
                      <a:pt x="86" y="9"/>
                    </a:lnTo>
                    <a:lnTo>
                      <a:pt x="86" y="8"/>
                    </a:lnTo>
                    <a:lnTo>
                      <a:pt x="89" y="9"/>
                    </a:lnTo>
                    <a:lnTo>
                      <a:pt x="87" y="6"/>
                    </a:lnTo>
                    <a:lnTo>
                      <a:pt x="90" y="5"/>
                    </a:lnTo>
                    <a:lnTo>
                      <a:pt x="91" y="8"/>
                    </a:lnTo>
                    <a:lnTo>
                      <a:pt x="91" y="8"/>
                    </a:lnTo>
                    <a:lnTo>
                      <a:pt x="93" y="4"/>
                    </a:lnTo>
                    <a:lnTo>
                      <a:pt x="93" y="3"/>
                    </a:lnTo>
                    <a:lnTo>
                      <a:pt x="92" y="5"/>
                    </a:lnTo>
                    <a:lnTo>
                      <a:pt x="92" y="2"/>
                    </a:lnTo>
                    <a:lnTo>
                      <a:pt x="94" y="2"/>
                    </a:lnTo>
                    <a:lnTo>
                      <a:pt x="99" y="3"/>
                    </a:lnTo>
                    <a:lnTo>
                      <a:pt x="100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E20074"/>
                  </a:buClr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0" cap="none" spc="0" normalizeH="0" baseline="0" noProof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12" name="Freeform 152"/>
              <p:cNvSpPr>
                <a:spLocks noEditPoints="1"/>
              </p:cNvSpPr>
              <p:nvPr/>
            </p:nvSpPr>
            <p:spPr bwMode="auto">
              <a:xfrm>
                <a:off x="13228639" y="481014"/>
                <a:ext cx="187325" cy="903288"/>
              </a:xfrm>
              <a:custGeom>
                <a:avLst/>
                <a:gdLst>
                  <a:gd name="T0" fmla="*/ 53 w 118"/>
                  <a:gd name="T1" fmla="*/ 561 h 569"/>
                  <a:gd name="T2" fmla="*/ 29 w 118"/>
                  <a:gd name="T3" fmla="*/ 16 h 569"/>
                  <a:gd name="T4" fmla="*/ 28 w 118"/>
                  <a:gd name="T5" fmla="*/ 16 h 569"/>
                  <a:gd name="T6" fmla="*/ 118 w 118"/>
                  <a:gd name="T7" fmla="*/ 4 h 569"/>
                  <a:gd name="T8" fmla="*/ 116 w 118"/>
                  <a:gd name="T9" fmla="*/ 90 h 569"/>
                  <a:gd name="T10" fmla="*/ 116 w 118"/>
                  <a:gd name="T11" fmla="*/ 103 h 569"/>
                  <a:gd name="T12" fmla="*/ 115 w 118"/>
                  <a:gd name="T13" fmla="*/ 149 h 569"/>
                  <a:gd name="T14" fmla="*/ 109 w 118"/>
                  <a:gd name="T15" fmla="*/ 404 h 569"/>
                  <a:gd name="T16" fmla="*/ 103 w 118"/>
                  <a:gd name="T17" fmla="*/ 542 h 569"/>
                  <a:gd name="T18" fmla="*/ 102 w 118"/>
                  <a:gd name="T19" fmla="*/ 546 h 569"/>
                  <a:gd name="T20" fmla="*/ 95 w 118"/>
                  <a:gd name="T21" fmla="*/ 550 h 569"/>
                  <a:gd name="T22" fmla="*/ 93 w 118"/>
                  <a:gd name="T23" fmla="*/ 549 h 569"/>
                  <a:gd name="T24" fmla="*/ 92 w 118"/>
                  <a:gd name="T25" fmla="*/ 554 h 569"/>
                  <a:gd name="T26" fmla="*/ 83 w 118"/>
                  <a:gd name="T27" fmla="*/ 555 h 569"/>
                  <a:gd name="T28" fmla="*/ 75 w 118"/>
                  <a:gd name="T29" fmla="*/ 556 h 569"/>
                  <a:gd name="T30" fmla="*/ 70 w 118"/>
                  <a:gd name="T31" fmla="*/ 560 h 569"/>
                  <a:gd name="T32" fmla="*/ 59 w 118"/>
                  <a:gd name="T33" fmla="*/ 557 h 569"/>
                  <a:gd name="T34" fmla="*/ 54 w 118"/>
                  <a:gd name="T35" fmla="*/ 561 h 569"/>
                  <a:gd name="T36" fmla="*/ 50 w 118"/>
                  <a:gd name="T37" fmla="*/ 559 h 569"/>
                  <a:gd name="T38" fmla="*/ 42 w 118"/>
                  <a:gd name="T39" fmla="*/ 554 h 569"/>
                  <a:gd name="T40" fmla="*/ 37 w 118"/>
                  <a:gd name="T41" fmla="*/ 558 h 569"/>
                  <a:gd name="T42" fmla="*/ 33 w 118"/>
                  <a:gd name="T43" fmla="*/ 559 h 569"/>
                  <a:gd name="T44" fmla="*/ 28 w 118"/>
                  <a:gd name="T45" fmla="*/ 557 h 569"/>
                  <a:gd name="T46" fmla="*/ 25 w 118"/>
                  <a:gd name="T47" fmla="*/ 563 h 569"/>
                  <a:gd name="T48" fmla="*/ 20 w 118"/>
                  <a:gd name="T49" fmla="*/ 561 h 569"/>
                  <a:gd name="T50" fmla="*/ 16 w 118"/>
                  <a:gd name="T51" fmla="*/ 564 h 569"/>
                  <a:gd name="T52" fmla="*/ 16 w 118"/>
                  <a:gd name="T53" fmla="*/ 566 h 569"/>
                  <a:gd name="T54" fmla="*/ 7 w 118"/>
                  <a:gd name="T55" fmla="*/ 569 h 569"/>
                  <a:gd name="T56" fmla="*/ 3 w 118"/>
                  <a:gd name="T57" fmla="*/ 567 h 569"/>
                  <a:gd name="T58" fmla="*/ 1 w 118"/>
                  <a:gd name="T59" fmla="*/ 25 h 569"/>
                  <a:gd name="T60" fmla="*/ 4 w 118"/>
                  <a:gd name="T61" fmla="*/ 25 h 569"/>
                  <a:gd name="T62" fmla="*/ 8 w 118"/>
                  <a:gd name="T63" fmla="*/ 24 h 569"/>
                  <a:gd name="T64" fmla="*/ 14 w 118"/>
                  <a:gd name="T65" fmla="*/ 17 h 569"/>
                  <a:gd name="T66" fmla="*/ 15 w 118"/>
                  <a:gd name="T67" fmla="*/ 19 h 569"/>
                  <a:gd name="T68" fmla="*/ 21 w 118"/>
                  <a:gd name="T69" fmla="*/ 21 h 569"/>
                  <a:gd name="T70" fmla="*/ 27 w 118"/>
                  <a:gd name="T71" fmla="*/ 17 h 569"/>
                  <a:gd name="T72" fmla="*/ 32 w 118"/>
                  <a:gd name="T73" fmla="*/ 19 h 569"/>
                  <a:gd name="T74" fmla="*/ 37 w 118"/>
                  <a:gd name="T75" fmla="*/ 16 h 569"/>
                  <a:gd name="T76" fmla="*/ 40 w 118"/>
                  <a:gd name="T77" fmla="*/ 16 h 569"/>
                  <a:gd name="T78" fmla="*/ 43 w 118"/>
                  <a:gd name="T79" fmla="*/ 13 h 569"/>
                  <a:gd name="T80" fmla="*/ 42 w 118"/>
                  <a:gd name="T81" fmla="*/ 15 h 569"/>
                  <a:gd name="T82" fmla="*/ 42 w 118"/>
                  <a:gd name="T83" fmla="*/ 15 h 569"/>
                  <a:gd name="T84" fmla="*/ 48 w 118"/>
                  <a:gd name="T85" fmla="*/ 13 h 569"/>
                  <a:gd name="T86" fmla="*/ 57 w 118"/>
                  <a:gd name="T87" fmla="*/ 15 h 569"/>
                  <a:gd name="T88" fmla="*/ 61 w 118"/>
                  <a:gd name="T89" fmla="*/ 15 h 569"/>
                  <a:gd name="T90" fmla="*/ 61 w 118"/>
                  <a:gd name="T91" fmla="*/ 15 h 569"/>
                  <a:gd name="T92" fmla="*/ 62 w 118"/>
                  <a:gd name="T93" fmla="*/ 15 h 569"/>
                  <a:gd name="T94" fmla="*/ 65 w 118"/>
                  <a:gd name="T95" fmla="*/ 11 h 569"/>
                  <a:gd name="T96" fmla="*/ 73 w 118"/>
                  <a:gd name="T97" fmla="*/ 8 h 569"/>
                  <a:gd name="T98" fmla="*/ 79 w 118"/>
                  <a:gd name="T99" fmla="*/ 8 h 569"/>
                  <a:gd name="T100" fmla="*/ 85 w 118"/>
                  <a:gd name="T101" fmla="*/ 4 h 569"/>
                  <a:gd name="T102" fmla="*/ 90 w 118"/>
                  <a:gd name="T103" fmla="*/ 5 h 569"/>
                  <a:gd name="T104" fmla="*/ 92 w 118"/>
                  <a:gd name="T105" fmla="*/ 5 h 569"/>
                  <a:gd name="T106" fmla="*/ 101 w 118"/>
                  <a:gd name="T107" fmla="*/ 5 h 569"/>
                  <a:gd name="T108" fmla="*/ 103 w 118"/>
                  <a:gd name="T109" fmla="*/ 5 h 569"/>
                  <a:gd name="T110" fmla="*/ 106 w 118"/>
                  <a:gd name="T111" fmla="*/ 6 h 569"/>
                  <a:gd name="T112" fmla="*/ 110 w 118"/>
                  <a:gd name="T113" fmla="*/ 6 h 5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18" h="569">
                    <a:moveTo>
                      <a:pt x="53" y="561"/>
                    </a:moveTo>
                    <a:lnTo>
                      <a:pt x="53" y="561"/>
                    </a:lnTo>
                    <a:lnTo>
                      <a:pt x="53" y="561"/>
                    </a:lnTo>
                    <a:lnTo>
                      <a:pt x="53" y="561"/>
                    </a:lnTo>
                    <a:close/>
                    <a:moveTo>
                      <a:pt x="29" y="16"/>
                    </a:moveTo>
                    <a:lnTo>
                      <a:pt x="29" y="16"/>
                    </a:lnTo>
                    <a:lnTo>
                      <a:pt x="29" y="16"/>
                    </a:lnTo>
                    <a:lnTo>
                      <a:pt x="29" y="16"/>
                    </a:lnTo>
                    <a:close/>
                    <a:moveTo>
                      <a:pt x="28" y="16"/>
                    </a:moveTo>
                    <a:lnTo>
                      <a:pt x="29" y="16"/>
                    </a:lnTo>
                    <a:lnTo>
                      <a:pt x="29" y="17"/>
                    </a:lnTo>
                    <a:lnTo>
                      <a:pt x="28" y="16"/>
                    </a:lnTo>
                    <a:close/>
                    <a:moveTo>
                      <a:pt x="115" y="0"/>
                    </a:moveTo>
                    <a:lnTo>
                      <a:pt x="117" y="3"/>
                    </a:lnTo>
                    <a:lnTo>
                      <a:pt x="116" y="4"/>
                    </a:lnTo>
                    <a:lnTo>
                      <a:pt x="118" y="4"/>
                    </a:lnTo>
                    <a:lnTo>
                      <a:pt x="118" y="4"/>
                    </a:lnTo>
                    <a:lnTo>
                      <a:pt x="118" y="44"/>
                    </a:lnTo>
                    <a:lnTo>
                      <a:pt x="117" y="83"/>
                    </a:lnTo>
                    <a:lnTo>
                      <a:pt x="116" y="90"/>
                    </a:lnTo>
                    <a:lnTo>
                      <a:pt x="116" y="96"/>
                    </a:lnTo>
                    <a:lnTo>
                      <a:pt x="116" y="101"/>
                    </a:lnTo>
                    <a:lnTo>
                      <a:pt x="117" y="103"/>
                    </a:lnTo>
                    <a:lnTo>
                      <a:pt x="116" y="103"/>
                    </a:lnTo>
                    <a:lnTo>
                      <a:pt x="115" y="124"/>
                    </a:lnTo>
                    <a:lnTo>
                      <a:pt x="116" y="145"/>
                    </a:lnTo>
                    <a:lnTo>
                      <a:pt x="115" y="145"/>
                    </a:lnTo>
                    <a:lnTo>
                      <a:pt x="115" y="149"/>
                    </a:lnTo>
                    <a:lnTo>
                      <a:pt x="113" y="216"/>
                    </a:lnTo>
                    <a:lnTo>
                      <a:pt x="111" y="287"/>
                    </a:lnTo>
                    <a:lnTo>
                      <a:pt x="110" y="355"/>
                    </a:lnTo>
                    <a:lnTo>
                      <a:pt x="109" y="404"/>
                    </a:lnTo>
                    <a:lnTo>
                      <a:pt x="107" y="455"/>
                    </a:lnTo>
                    <a:lnTo>
                      <a:pt x="106" y="506"/>
                    </a:lnTo>
                    <a:lnTo>
                      <a:pt x="104" y="524"/>
                    </a:lnTo>
                    <a:lnTo>
                      <a:pt x="103" y="542"/>
                    </a:lnTo>
                    <a:lnTo>
                      <a:pt x="102" y="542"/>
                    </a:lnTo>
                    <a:lnTo>
                      <a:pt x="102" y="547"/>
                    </a:lnTo>
                    <a:lnTo>
                      <a:pt x="102" y="546"/>
                    </a:lnTo>
                    <a:lnTo>
                      <a:pt x="102" y="546"/>
                    </a:lnTo>
                    <a:lnTo>
                      <a:pt x="102" y="544"/>
                    </a:lnTo>
                    <a:lnTo>
                      <a:pt x="101" y="543"/>
                    </a:lnTo>
                    <a:lnTo>
                      <a:pt x="98" y="550"/>
                    </a:lnTo>
                    <a:lnTo>
                      <a:pt x="95" y="550"/>
                    </a:lnTo>
                    <a:lnTo>
                      <a:pt x="95" y="550"/>
                    </a:lnTo>
                    <a:lnTo>
                      <a:pt x="94" y="548"/>
                    </a:lnTo>
                    <a:lnTo>
                      <a:pt x="94" y="550"/>
                    </a:lnTo>
                    <a:lnTo>
                      <a:pt x="93" y="549"/>
                    </a:lnTo>
                    <a:lnTo>
                      <a:pt x="92" y="551"/>
                    </a:lnTo>
                    <a:lnTo>
                      <a:pt x="92" y="550"/>
                    </a:lnTo>
                    <a:lnTo>
                      <a:pt x="91" y="551"/>
                    </a:lnTo>
                    <a:lnTo>
                      <a:pt x="92" y="554"/>
                    </a:lnTo>
                    <a:lnTo>
                      <a:pt x="90" y="551"/>
                    </a:lnTo>
                    <a:lnTo>
                      <a:pt x="88" y="555"/>
                    </a:lnTo>
                    <a:lnTo>
                      <a:pt x="86" y="554"/>
                    </a:lnTo>
                    <a:lnTo>
                      <a:pt x="83" y="555"/>
                    </a:lnTo>
                    <a:lnTo>
                      <a:pt x="78" y="557"/>
                    </a:lnTo>
                    <a:lnTo>
                      <a:pt x="79" y="554"/>
                    </a:lnTo>
                    <a:lnTo>
                      <a:pt x="78" y="558"/>
                    </a:lnTo>
                    <a:lnTo>
                      <a:pt x="75" y="556"/>
                    </a:lnTo>
                    <a:lnTo>
                      <a:pt x="74" y="557"/>
                    </a:lnTo>
                    <a:lnTo>
                      <a:pt x="69" y="556"/>
                    </a:lnTo>
                    <a:lnTo>
                      <a:pt x="67" y="557"/>
                    </a:lnTo>
                    <a:lnTo>
                      <a:pt x="70" y="560"/>
                    </a:lnTo>
                    <a:lnTo>
                      <a:pt x="64" y="552"/>
                    </a:lnTo>
                    <a:lnTo>
                      <a:pt x="64" y="556"/>
                    </a:lnTo>
                    <a:lnTo>
                      <a:pt x="61" y="555"/>
                    </a:lnTo>
                    <a:lnTo>
                      <a:pt x="59" y="557"/>
                    </a:lnTo>
                    <a:lnTo>
                      <a:pt x="58" y="555"/>
                    </a:lnTo>
                    <a:lnTo>
                      <a:pt x="57" y="558"/>
                    </a:lnTo>
                    <a:lnTo>
                      <a:pt x="54" y="559"/>
                    </a:lnTo>
                    <a:lnTo>
                      <a:pt x="54" y="561"/>
                    </a:lnTo>
                    <a:lnTo>
                      <a:pt x="53" y="561"/>
                    </a:lnTo>
                    <a:lnTo>
                      <a:pt x="52" y="558"/>
                    </a:lnTo>
                    <a:lnTo>
                      <a:pt x="52" y="561"/>
                    </a:lnTo>
                    <a:lnTo>
                      <a:pt x="50" y="559"/>
                    </a:lnTo>
                    <a:lnTo>
                      <a:pt x="48" y="559"/>
                    </a:lnTo>
                    <a:lnTo>
                      <a:pt x="46" y="556"/>
                    </a:lnTo>
                    <a:lnTo>
                      <a:pt x="45" y="557"/>
                    </a:lnTo>
                    <a:lnTo>
                      <a:pt x="42" y="554"/>
                    </a:lnTo>
                    <a:lnTo>
                      <a:pt x="43" y="559"/>
                    </a:lnTo>
                    <a:lnTo>
                      <a:pt x="41" y="557"/>
                    </a:lnTo>
                    <a:lnTo>
                      <a:pt x="40" y="560"/>
                    </a:lnTo>
                    <a:lnTo>
                      <a:pt x="37" y="558"/>
                    </a:lnTo>
                    <a:lnTo>
                      <a:pt x="36" y="557"/>
                    </a:lnTo>
                    <a:lnTo>
                      <a:pt x="35" y="559"/>
                    </a:lnTo>
                    <a:lnTo>
                      <a:pt x="34" y="556"/>
                    </a:lnTo>
                    <a:lnTo>
                      <a:pt x="33" y="559"/>
                    </a:lnTo>
                    <a:lnTo>
                      <a:pt x="33" y="558"/>
                    </a:lnTo>
                    <a:lnTo>
                      <a:pt x="31" y="558"/>
                    </a:lnTo>
                    <a:lnTo>
                      <a:pt x="33" y="560"/>
                    </a:lnTo>
                    <a:lnTo>
                      <a:pt x="28" y="557"/>
                    </a:lnTo>
                    <a:lnTo>
                      <a:pt x="27" y="560"/>
                    </a:lnTo>
                    <a:lnTo>
                      <a:pt x="27" y="558"/>
                    </a:lnTo>
                    <a:lnTo>
                      <a:pt x="25" y="560"/>
                    </a:lnTo>
                    <a:lnTo>
                      <a:pt x="25" y="563"/>
                    </a:lnTo>
                    <a:lnTo>
                      <a:pt x="24" y="564"/>
                    </a:lnTo>
                    <a:lnTo>
                      <a:pt x="25" y="560"/>
                    </a:lnTo>
                    <a:lnTo>
                      <a:pt x="23" y="563"/>
                    </a:lnTo>
                    <a:lnTo>
                      <a:pt x="20" y="561"/>
                    </a:lnTo>
                    <a:lnTo>
                      <a:pt x="18" y="561"/>
                    </a:lnTo>
                    <a:lnTo>
                      <a:pt x="17" y="566"/>
                    </a:lnTo>
                    <a:lnTo>
                      <a:pt x="17" y="563"/>
                    </a:lnTo>
                    <a:lnTo>
                      <a:pt x="16" y="564"/>
                    </a:lnTo>
                    <a:lnTo>
                      <a:pt x="16" y="563"/>
                    </a:lnTo>
                    <a:lnTo>
                      <a:pt x="15" y="563"/>
                    </a:lnTo>
                    <a:lnTo>
                      <a:pt x="15" y="564"/>
                    </a:lnTo>
                    <a:lnTo>
                      <a:pt x="16" y="566"/>
                    </a:lnTo>
                    <a:lnTo>
                      <a:pt x="15" y="567"/>
                    </a:lnTo>
                    <a:lnTo>
                      <a:pt x="9" y="568"/>
                    </a:lnTo>
                    <a:lnTo>
                      <a:pt x="8" y="567"/>
                    </a:lnTo>
                    <a:lnTo>
                      <a:pt x="7" y="569"/>
                    </a:lnTo>
                    <a:lnTo>
                      <a:pt x="7" y="569"/>
                    </a:lnTo>
                    <a:lnTo>
                      <a:pt x="6" y="567"/>
                    </a:lnTo>
                    <a:lnTo>
                      <a:pt x="3" y="566"/>
                    </a:lnTo>
                    <a:lnTo>
                      <a:pt x="3" y="567"/>
                    </a:lnTo>
                    <a:lnTo>
                      <a:pt x="1" y="567"/>
                    </a:lnTo>
                    <a:lnTo>
                      <a:pt x="0" y="567"/>
                    </a:lnTo>
                    <a:lnTo>
                      <a:pt x="0" y="25"/>
                    </a:lnTo>
                    <a:lnTo>
                      <a:pt x="1" y="25"/>
                    </a:lnTo>
                    <a:lnTo>
                      <a:pt x="0" y="23"/>
                    </a:lnTo>
                    <a:lnTo>
                      <a:pt x="2" y="25"/>
                    </a:lnTo>
                    <a:lnTo>
                      <a:pt x="3" y="24"/>
                    </a:lnTo>
                    <a:lnTo>
                      <a:pt x="4" y="25"/>
                    </a:lnTo>
                    <a:lnTo>
                      <a:pt x="4" y="22"/>
                    </a:lnTo>
                    <a:lnTo>
                      <a:pt x="8" y="27"/>
                    </a:lnTo>
                    <a:lnTo>
                      <a:pt x="9" y="25"/>
                    </a:lnTo>
                    <a:lnTo>
                      <a:pt x="8" y="24"/>
                    </a:lnTo>
                    <a:lnTo>
                      <a:pt x="10" y="24"/>
                    </a:lnTo>
                    <a:lnTo>
                      <a:pt x="9" y="20"/>
                    </a:lnTo>
                    <a:lnTo>
                      <a:pt x="10" y="21"/>
                    </a:lnTo>
                    <a:lnTo>
                      <a:pt x="14" y="17"/>
                    </a:lnTo>
                    <a:lnTo>
                      <a:pt x="14" y="21"/>
                    </a:lnTo>
                    <a:lnTo>
                      <a:pt x="15" y="20"/>
                    </a:lnTo>
                    <a:lnTo>
                      <a:pt x="16" y="21"/>
                    </a:lnTo>
                    <a:lnTo>
                      <a:pt x="15" y="19"/>
                    </a:lnTo>
                    <a:lnTo>
                      <a:pt x="17" y="22"/>
                    </a:lnTo>
                    <a:lnTo>
                      <a:pt x="18" y="20"/>
                    </a:lnTo>
                    <a:lnTo>
                      <a:pt x="20" y="20"/>
                    </a:lnTo>
                    <a:lnTo>
                      <a:pt x="21" y="21"/>
                    </a:lnTo>
                    <a:lnTo>
                      <a:pt x="26" y="19"/>
                    </a:lnTo>
                    <a:lnTo>
                      <a:pt x="21" y="17"/>
                    </a:lnTo>
                    <a:lnTo>
                      <a:pt x="25" y="17"/>
                    </a:lnTo>
                    <a:lnTo>
                      <a:pt x="27" y="17"/>
                    </a:lnTo>
                    <a:lnTo>
                      <a:pt x="26" y="15"/>
                    </a:lnTo>
                    <a:lnTo>
                      <a:pt x="29" y="19"/>
                    </a:lnTo>
                    <a:lnTo>
                      <a:pt x="29" y="17"/>
                    </a:lnTo>
                    <a:lnTo>
                      <a:pt x="32" y="19"/>
                    </a:lnTo>
                    <a:lnTo>
                      <a:pt x="29" y="16"/>
                    </a:lnTo>
                    <a:lnTo>
                      <a:pt x="33" y="19"/>
                    </a:lnTo>
                    <a:lnTo>
                      <a:pt x="36" y="20"/>
                    </a:lnTo>
                    <a:lnTo>
                      <a:pt x="37" y="16"/>
                    </a:lnTo>
                    <a:lnTo>
                      <a:pt x="37" y="17"/>
                    </a:lnTo>
                    <a:lnTo>
                      <a:pt x="39" y="15"/>
                    </a:lnTo>
                    <a:lnTo>
                      <a:pt x="40" y="17"/>
                    </a:lnTo>
                    <a:lnTo>
                      <a:pt x="40" y="16"/>
                    </a:lnTo>
                    <a:lnTo>
                      <a:pt x="41" y="14"/>
                    </a:lnTo>
                    <a:lnTo>
                      <a:pt x="42" y="14"/>
                    </a:lnTo>
                    <a:lnTo>
                      <a:pt x="43" y="13"/>
                    </a:lnTo>
                    <a:lnTo>
                      <a:pt x="43" y="13"/>
                    </a:lnTo>
                    <a:lnTo>
                      <a:pt x="42" y="14"/>
                    </a:lnTo>
                    <a:lnTo>
                      <a:pt x="42" y="15"/>
                    </a:lnTo>
                    <a:lnTo>
                      <a:pt x="42" y="15"/>
                    </a:lnTo>
                    <a:lnTo>
                      <a:pt x="42" y="15"/>
                    </a:lnTo>
                    <a:lnTo>
                      <a:pt x="41" y="16"/>
                    </a:lnTo>
                    <a:lnTo>
                      <a:pt x="40" y="17"/>
                    </a:lnTo>
                    <a:lnTo>
                      <a:pt x="42" y="17"/>
                    </a:lnTo>
                    <a:lnTo>
                      <a:pt x="42" y="15"/>
                    </a:lnTo>
                    <a:lnTo>
                      <a:pt x="42" y="15"/>
                    </a:lnTo>
                    <a:lnTo>
                      <a:pt x="44" y="15"/>
                    </a:lnTo>
                    <a:lnTo>
                      <a:pt x="44" y="16"/>
                    </a:lnTo>
                    <a:lnTo>
                      <a:pt x="48" y="13"/>
                    </a:lnTo>
                    <a:lnTo>
                      <a:pt x="49" y="16"/>
                    </a:lnTo>
                    <a:lnTo>
                      <a:pt x="53" y="13"/>
                    </a:lnTo>
                    <a:lnTo>
                      <a:pt x="53" y="16"/>
                    </a:lnTo>
                    <a:lnTo>
                      <a:pt x="57" y="15"/>
                    </a:lnTo>
                    <a:lnTo>
                      <a:pt x="59" y="15"/>
                    </a:lnTo>
                    <a:lnTo>
                      <a:pt x="60" y="14"/>
                    </a:lnTo>
                    <a:lnTo>
                      <a:pt x="61" y="15"/>
                    </a:lnTo>
                    <a:lnTo>
                      <a:pt x="61" y="15"/>
                    </a:lnTo>
                    <a:lnTo>
                      <a:pt x="60" y="15"/>
                    </a:lnTo>
                    <a:lnTo>
                      <a:pt x="60" y="16"/>
                    </a:lnTo>
                    <a:lnTo>
                      <a:pt x="61" y="15"/>
                    </a:lnTo>
                    <a:lnTo>
                      <a:pt x="61" y="15"/>
                    </a:lnTo>
                    <a:lnTo>
                      <a:pt x="61" y="15"/>
                    </a:lnTo>
                    <a:lnTo>
                      <a:pt x="61" y="14"/>
                    </a:lnTo>
                    <a:lnTo>
                      <a:pt x="62" y="16"/>
                    </a:lnTo>
                    <a:lnTo>
                      <a:pt x="62" y="15"/>
                    </a:lnTo>
                    <a:lnTo>
                      <a:pt x="62" y="14"/>
                    </a:lnTo>
                    <a:lnTo>
                      <a:pt x="64" y="12"/>
                    </a:lnTo>
                    <a:lnTo>
                      <a:pt x="65" y="14"/>
                    </a:lnTo>
                    <a:lnTo>
                      <a:pt x="65" y="11"/>
                    </a:lnTo>
                    <a:lnTo>
                      <a:pt x="67" y="14"/>
                    </a:lnTo>
                    <a:lnTo>
                      <a:pt x="70" y="12"/>
                    </a:lnTo>
                    <a:lnTo>
                      <a:pt x="69" y="9"/>
                    </a:lnTo>
                    <a:lnTo>
                      <a:pt x="73" y="8"/>
                    </a:lnTo>
                    <a:lnTo>
                      <a:pt x="74" y="9"/>
                    </a:lnTo>
                    <a:lnTo>
                      <a:pt x="76" y="9"/>
                    </a:lnTo>
                    <a:lnTo>
                      <a:pt x="78" y="7"/>
                    </a:lnTo>
                    <a:lnTo>
                      <a:pt x="79" y="8"/>
                    </a:lnTo>
                    <a:lnTo>
                      <a:pt x="81" y="9"/>
                    </a:lnTo>
                    <a:lnTo>
                      <a:pt x="82" y="8"/>
                    </a:lnTo>
                    <a:lnTo>
                      <a:pt x="81" y="7"/>
                    </a:lnTo>
                    <a:lnTo>
                      <a:pt x="85" y="4"/>
                    </a:lnTo>
                    <a:lnTo>
                      <a:pt x="83" y="6"/>
                    </a:lnTo>
                    <a:lnTo>
                      <a:pt x="87" y="3"/>
                    </a:lnTo>
                    <a:lnTo>
                      <a:pt x="87" y="5"/>
                    </a:lnTo>
                    <a:lnTo>
                      <a:pt x="90" y="5"/>
                    </a:lnTo>
                    <a:lnTo>
                      <a:pt x="90" y="5"/>
                    </a:lnTo>
                    <a:lnTo>
                      <a:pt x="92" y="5"/>
                    </a:lnTo>
                    <a:lnTo>
                      <a:pt x="92" y="6"/>
                    </a:lnTo>
                    <a:lnTo>
                      <a:pt x="92" y="5"/>
                    </a:lnTo>
                    <a:lnTo>
                      <a:pt x="92" y="5"/>
                    </a:lnTo>
                    <a:lnTo>
                      <a:pt x="92" y="5"/>
                    </a:lnTo>
                    <a:lnTo>
                      <a:pt x="100" y="4"/>
                    </a:lnTo>
                    <a:lnTo>
                      <a:pt x="101" y="5"/>
                    </a:lnTo>
                    <a:lnTo>
                      <a:pt x="101" y="6"/>
                    </a:lnTo>
                    <a:lnTo>
                      <a:pt x="101" y="6"/>
                    </a:lnTo>
                    <a:lnTo>
                      <a:pt x="102" y="6"/>
                    </a:lnTo>
                    <a:lnTo>
                      <a:pt x="103" y="5"/>
                    </a:lnTo>
                    <a:lnTo>
                      <a:pt x="101" y="6"/>
                    </a:lnTo>
                    <a:lnTo>
                      <a:pt x="101" y="5"/>
                    </a:lnTo>
                    <a:lnTo>
                      <a:pt x="103" y="3"/>
                    </a:lnTo>
                    <a:lnTo>
                      <a:pt x="106" y="6"/>
                    </a:lnTo>
                    <a:lnTo>
                      <a:pt x="103" y="7"/>
                    </a:lnTo>
                    <a:lnTo>
                      <a:pt x="107" y="6"/>
                    </a:lnTo>
                    <a:lnTo>
                      <a:pt x="108" y="8"/>
                    </a:lnTo>
                    <a:lnTo>
                      <a:pt x="110" y="6"/>
                    </a:lnTo>
                    <a:lnTo>
                      <a:pt x="113" y="7"/>
                    </a:lnTo>
                    <a:lnTo>
                      <a:pt x="115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E20074"/>
                  </a:buClr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0" cap="none" spc="0" normalizeH="0" baseline="0" noProof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4" name="Gruppieren 120"/>
            <p:cNvGrpSpPr/>
            <p:nvPr/>
          </p:nvGrpSpPr>
          <p:grpSpPr>
            <a:xfrm rot="5400000" flipH="1">
              <a:off x="1517801" y="990823"/>
              <a:ext cx="419315" cy="3195353"/>
              <a:chOff x="11171239" y="481014"/>
              <a:chExt cx="2244726" cy="928688"/>
            </a:xfrm>
            <a:grpFill/>
            <a:effectLst/>
          </p:grpSpPr>
          <p:sp>
            <p:nvSpPr>
              <p:cNvPr id="155" name="Freeform 123"/>
              <p:cNvSpPr>
                <a:spLocks noEditPoints="1"/>
              </p:cNvSpPr>
              <p:nvPr/>
            </p:nvSpPr>
            <p:spPr bwMode="auto">
              <a:xfrm>
                <a:off x="12192001" y="625476"/>
                <a:ext cx="203200" cy="735013"/>
              </a:xfrm>
              <a:custGeom>
                <a:avLst/>
                <a:gdLst>
                  <a:gd name="T0" fmla="*/ 7 w 128"/>
                  <a:gd name="T1" fmla="*/ 451 h 463"/>
                  <a:gd name="T2" fmla="*/ 2 w 128"/>
                  <a:gd name="T3" fmla="*/ 450 h 463"/>
                  <a:gd name="T4" fmla="*/ 1 w 128"/>
                  <a:gd name="T5" fmla="*/ 451 h 463"/>
                  <a:gd name="T6" fmla="*/ 0 w 128"/>
                  <a:gd name="T7" fmla="*/ 13 h 463"/>
                  <a:gd name="T8" fmla="*/ 59 w 128"/>
                  <a:gd name="T9" fmla="*/ 7 h 463"/>
                  <a:gd name="T10" fmla="*/ 127 w 128"/>
                  <a:gd name="T11" fmla="*/ 5 h 463"/>
                  <a:gd name="T12" fmla="*/ 127 w 128"/>
                  <a:gd name="T13" fmla="*/ 457 h 463"/>
                  <a:gd name="T14" fmla="*/ 119 w 128"/>
                  <a:gd name="T15" fmla="*/ 455 h 463"/>
                  <a:gd name="T16" fmla="*/ 117 w 128"/>
                  <a:gd name="T17" fmla="*/ 455 h 463"/>
                  <a:gd name="T18" fmla="*/ 111 w 128"/>
                  <a:gd name="T19" fmla="*/ 456 h 463"/>
                  <a:gd name="T20" fmla="*/ 101 w 128"/>
                  <a:gd name="T21" fmla="*/ 458 h 463"/>
                  <a:gd name="T22" fmla="*/ 98 w 128"/>
                  <a:gd name="T23" fmla="*/ 460 h 463"/>
                  <a:gd name="T24" fmla="*/ 93 w 128"/>
                  <a:gd name="T25" fmla="*/ 460 h 463"/>
                  <a:gd name="T26" fmla="*/ 87 w 128"/>
                  <a:gd name="T27" fmla="*/ 456 h 463"/>
                  <a:gd name="T28" fmla="*/ 84 w 128"/>
                  <a:gd name="T29" fmla="*/ 455 h 463"/>
                  <a:gd name="T30" fmla="*/ 79 w 128"/>
                  <a:gd name="T31" fmla="*/ 453 h 463"/>
                  <a:gd name="T32" fmla="*/ 76 w 128"/>
                  <a:gd name="T33" fmla="*/ 456 h 463"/>
                  <a:gd name="T34" fmla="*/ 71 w 128"/>
                  <a:gd name="T35" fmla="*/ 453 h 463"/>
                  <a:gd name="T36" fmla="*/ 69 w 128"/>
                  <a:gd name="T37" fmla="*/ 450 h 463"/>
                  <a:gd name="T38" fmla="*/ 67 w 128"/>
                  <a:gd name="T39" fmla="*/ 453 h 463"/>
                  <a:gd name="T40" fmla="*/ 62 w 128"/>
                  <a:gd name="T41" fmla="*/ 453 h 463"/>
                  <a:gd name="T42" fmla="*/ 61 w 128"/>
                  <a:gd name="T43" fmla="*/ 453 h 463"/>
                  <a:gd name="T44" fmla="*/ 57 w 128"/>
                  <a:gd name="T45" fmla="*/ 451 h 463"/>
                  <a:gd name="T46" fmla="*/ 52 w 128"/>
                  <a:gd name="T47" fmla="*/ 452 h 463"/>
                  <a:gd name="T48" fmla="*/ 50 w 128"/>
                  <a:gd name="T49" fmla="*/ 453 h 463"/>
                  <a:gd name="T50" fmla="*/ 45 w 128"/>
                  <a:gd name="T51" fmla="*/ 450 h 463"/>
                  <a:gd name="T52" fmla="*/ 43 w 128"/>
                  <a:gd name="T53" fmla="*/ 447 h 463"/>
                  <a:gd name="T54" fmla="*/ 41 w 128"/>
                  <a:gd name="T55" fmla="*/ 445 h 463"/>
                  <a:gd name="T56" fmla="*/ 36 w 128"/>
                  <a:gd name="T57" fmla="*/ 444 h 463"/>
                  <a:gd name="T58" fmla="*/ 36 w 128"/>
                  <a:gd name="T59" fmla="*/ 448 h 463"/>
                  <a:gd name="T60" fmla="*/ 32 w 128"/>
                  <a:gd name="T61" fmla="*/ 448 h 463"/>
                  <a:gd name="T62" fmla="*/ 24 w 128"/>
                  <a:gd name="T63" fmla="*/ 449 h 463"/>
                  <a:gd name="T64" fmla="*/ 19 w 128"/>
                  <a:gd name="T65" fmla="*/ 451 h 463"/>
                  <a:gd name="T66" fmla="*/ 9 w 128"/>
                  <a:gd name="T67" fmla="*/ 451 h 463"/>
                  <a:gd name="T68" fmla="*/ 6 w 128"/>
                  <a:gd name="T69" fmla="*/ 451 h 463"/>
                  <a:gd name="T70" fmla="*/ 3 w 128"/>
                  <a:gd name="T71" fmla="*/ 450 h 463"/>
                  <a:gd name="T72" fmla="*/ 2 w 128"/>
                  <a:gd name="T73" fmla="*/ 14 h 463"/>
                  <a:gd name="T74" fmla="*/ 9 w 128"/>
                  <a:gd name="T75" fmla="*/ 16 h 463"/>
                  <a:gd name="T76" fmla="*/ 17 w 128"/>
                  <a:gd name="T77" fmla="*/ 17 h 463"/>
                  <a:gd name="T78" fmla="*/ 21 w 128"/>
                  <a:gd name="T79" fmla="*/ 15 h 463"/>
                  <a:gd name="T80" fmla="*/ 29 w 128"/>
                  <a:gd name="T81" fmla="*/ 15 h 463"/>
                  <a:gd name="T82" fmla="*/ 34 w 128"/>
                  <a:gd name="T83" fmla="*/ 12 h 463"/>
                  <a:gd name="T84" fmla="*/ 42 w 128"/>
                  <a:gd name="T85" fmla="*/ 9 h 463"/>
                  <a:gd name="T86" fmla="*/ 44 w 128"/>
                  <a:gd name="T87" fmla="*/ 10 h 463"/>
                  <a:gd name="T88" fmla="*/ 48 w 128"/>
                  <a:gd name="T89" fmla="*/ 6 h 463"/>
                  <a:gd name="T90" fmla="*/ 53 w 128"/>
                  <a:gd name="T91" fmla="*/ 9 h 463"/>
                  <a:gd name="T92" fmla="*/ 61 w 128"/>
                  <a:gd name="T93" fmla="*/ 7 h 463"/>
                  <a:gd name="T94" fmla="*/ 66 w 128"/>
                  <a:gd name="T95" fmla="*/ 8 h 463"/>
                  <a:gd name="T96" fmla="*/ 70 w 128"/>
                  <a:gd name="T97" fmla="*/ 8 h 463"/>
                  <a:gd name="T98" fmla="*/ 73 w 128"/>
                  <a:gd name="T99" fmla="*/ 7 h 463"/>
                  <a:gd name="T100" fmla="*/ 76 w 128"/>
                  <a:gd name="T101" fmla="*/ 7 h 463"/>
                  <a:gd name="T102" fmla="*/ 79 w 128"/>
                  <a:gd name="T103" fmla="*/ 7 h 463"/>
                  <a:gd name="T104" fmla="*/ 87 w 128"/>
                  <a:gd name="T105" fmla="*/ 8 h 463"/>
                  <a:gd name="T106" fmla="*/ 91 w 128"/>
                  <a:gd name="T107" fmla="*/ 9 h 463"/>
                  <a:gd name="T108" fmla="*/ 95 w 128"/>
                  <a:gd name="T109" fmla="*/ 9 h 463"/>
                  <a:gd name="T110" fmla="*/ 99 w 128"/>
                  <a:gd name="T111" fmla="*/ 12 h 463"/>
                  <a:gd name="T112" fmla="*/ 101 w 128"/>
                  <a:gd name="T113" fmla="*/ 12 h 463"/>
                  <a:gd name="T114" fmla="*/ 108 w 128"/>
                  <a:gd name="T115" fmla="*/ 13 h 463"/>
                  <a:gd name="T116" fmla="*/ 117 w 128"/>
                  <a:gd name="T117" fmla="*/ 1 h 463"/>
                  <a:gd name="T118" fmla="*/ 124 w 128"/>
                  <a:gd name="T119" fmla="*/ 4 h 463"/>
                  <a:gd name="T120" fmla="*/ 125 w 128"/>
                  <a:gd name="T121" fmla="*/ 4 h 4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28" h="463">
                    <a:moveTo>
                      <a:pt x="7" y="451"/>
                    </a:moveTo>
                    <a:lnTo>
                      <a:pt x="8" y="452"/>
                    </a:lnTo>
                    <a:lnTo>
                      <a:pt x="7" y="452"/>
                    </a:lnTo>
                    <a:lnTo>
                      <a:pt x="7" y="451"/>
                    </a:lnTo>
                    <a:close/>
                    <a:moveTo>
                      <a:pt x="2" y="450"/>
                    </a:moveTo>
                    <a:lnTo>
                      <a:pt x="3" y="450"/>
                    </a:lnTo>
                    <a:lnTo>
                      <a:pt x="4" y="450"/>
                    </a:lnTo>
                    <a:lnTo>
                      <a:pt x="2" y="450"/>
                    </a:lnTo>
                    <a:close/>
                    <a:moveTo>
                      <a:pt x="0" y="449"/>
                    </a:moveTo>
                    <a:lnTo>
                      <a:pt x="2" y="450"/>
                    </a:lnTo>
                    <a:lnTo>
                      <a:pt x="1" y="450"/>
                    </a:lnTo>
                    <a:lnTo>
                      <a:pt x="1" y="451"/>
                    </a:lnTo>
                    <a:lnTo>
                      <a:pt x="0" y="449"/>
                    </a:lnTo>
                    <a:lnTo>
                      <a:pt x="0" y="449"/>
                    </a:lnTo>
                    <a:close/>
                    <a:moveTo>
                      <a:pt x="1" y="13"/>
                    </a:moveTo>
                    <a:lnTo>
                      <a:pt x="0" y="13"/>
                    </a:lnTo>
                    <a:lnTo>
                      <a:pt x="0" y="13"/>
                    </a:lnTo>
                    <a:lnTo>
                      <a:pt x="1" y="13"/>
                    </a:lnTo>
                    <a:close/>
                    <a:moveTo>
                      <a:pt x="59" y="6"/>
                    </a:moveTo>
                    <a:lnTo>
                      <a:pt x="59" y="7"/>
                    </a:lnTo>
                    <a:lnTo>
                      <a:pt x="59" y="7"/>
                    </a:lnTo>
                    <a:lnTo>
                      <a:pt x="59" y="6"/>
                    </a:lnTo>
                    <a:close/>
                    <a:moveTo>
                      <a:pt x="125" y="0"/>
                    </a:moveTo>
                    <a:lnTo>
                      <a:pt x="127" y="5"/>
                    </a:lnTo>
                    <a:lnTo>
                      <a:pt x="127" y="3"/>
                    </a:lnTo>
                    <a:lnTo>
                      <a:pt x="128" y="4"/>
                    </a:lnTo>
                    <a:lnTo>
                      <a:pt x="128" y="457"/>
                    </a:lnTo>
                    <a:lnTo>
                      <a:pt x="127" y="457"/>
                    </a:lnTo>
                    <a:lnTo>
                      <a:pt x="126" y="455"/>
                    </a:lnTo>
                    <a:lnTo>
                      <a:pt x="120" y="453"/>
                    </a:lnTo>
                    <a:lnTo>
                      <a:pt x="121" y="455"/>
                    </a:lnTo>
                    <a:lnTo>
                      <a:pt x="119" y="455"/>
                    </a:lnTo>
                    <a:lnTo>
                      <a:pt x="119" y="457"/>
                    </a:lnTo>
                    <a:lnTo>
                      <a:pt x="117" y="455"/>
                    </a:lnTo>
                    <a:lnTo>
                      <a:pt x="117" y="456"/>
                    </a:lnTo>
                    <a:lnTo>
                      <a:pt x="117" y="455"/>
                    </a:lnTo>
                    <a:lnTo>
                      <a:pt x="115" y="456"/>
                    </a:lnTo>
                    <a:lnTo>
                      <a:pt x="115" y="453"/>
                    </a:lnTo>
                    <a:lnTo>
                      <a:pt x="113" y="456"/>
                    </a:lnTo>
                    <a:lnTo>
                      <a:pt x="111" y="456"/>
                    </a:lnTo>
                    <a:lnTo>
                      <a:pt x="111" y="457"/>
                    </a:lnTo>
                    <a:lnTo>
                      <a:pt x="107" y="463"/>
                    </a:lnTo>
                    <a:lnTo>
                      <a:pt x="102" y="461"/>
                    </a:lnTo>
                    <a:lnTo>
                      <a:pt x="101" y="458"/>
                    </a:lnTo>
                    <a:lnTo>
                      <a:pt x="101" y="458"/>
                    </a:lnTo>
                    <a:lnTo>
                      <a:pt x="99" y="458"/>
                    </a:lnTo>
                    <a:lnTo>
                      <a:pt x="100" y="463"/>
                    </a:lnTo>
                    <a:lnTo>
                      <a:pt x="98" y="460"/>
                    </a:lnTo>
                    <a:lnTo>
                      <a:pt x="98" y="463"/>
                    </a:lnTo>
                    <a:lnTo>
                      <a:pt x="94" y="459"/>
                    </a:lnTo>
                    <a:lnTo>
                      <a:pt x="94" y="461"/>
                    </a:lnTo>
                    <a:lnTo>
                      <a:pt x="93" y="460"/>
                    </a:lnTo>
                    <a:lnTo>
                      <a:pt x="93" y="461"/>
                    </a:lnTo>
                    <a:lnTo>
                      <a:pt x="90" y="460"/>
                    </a:lnTo>
                    <a:lnTo>
                      <a:pt x="91" y="461"/>
                    </a:lnTo>
                    <a:lnTo>
                      <a:pt x="87" y="456"/>
                    </a:lnTo>
                    <a:lnTo>
                      <a:pt x="85" y="458"/>
                    </a:lnTo>
                    <a:lnTo>
                      <a:pt x="86" y="455"/>
                    </a:lnTo>
                    <a:lnTo>
                      <a:pt x="84" y="453"/>
                    </a:lnTo>
                    <a:lnTo>
                      <a:pt x="84" y="455"/>
                    </a:lnTo>
                    <a:lnTo>
                      <a:pt x="83" y="453"/>
                    </a:lnTo>
                    <a:lnTo>
                      <a:pt x="82" y="455"/>
                    </a:lnTo>
                    <a:lnTo>
                      <a:pt x="80" y="456"/>
                    </a:lnTo>
                    <a:lnTo>
                      <a:pt x="79" y="453"/>
                    </a:lnTo>
                    <a:lnTo>
                      <a:pt x="80" y="457"/>
                    </a:lnTo>
                    <a:lnTo>
                      <a:pt x="78" y="453"/>
                    </a:lnTo>
                    <a:lnTo>
                      <a:pt x="77" y="453"/>
                    </a:lnTo>
                    <a:lnTo>
                      <a:pt x="76" y="456"/>
                    </a:lnTo>
                    <a:lnTo>
                      <a:pt x="75" y="455"/>
                    </a:lnTo>
                    <a:lnTo>
                      <a:pt x="75" y="456"/>
                    </a:lnTo>
                    <a:lnTo>
                      <a:pt x="71" y="456"/>
                    </a:lnTo>
                    <a:lnTo>
                      <a:pt x="71" y="453"/>
                    </a:lnTo>
                    <a:lnTo>
                      <a:pt x="70" y="452"/>
                    </a:lnTo>
                    <a:lnTo>
                      <a:pt x="68" y="453"/>
                    </a:lnTo>
                    <a:lnTo>
                      <a:pt x="69" y="453"/>
                    </a:lnTo>
                    <a:lnTo>
                      <a:pt x="69" y="450"/>
                    </a:lnTo>
                    <a:lnTo>
                      <a:pt x="68" y="453"/>
                    </a:lnTo>
                    <a:lnTo>
                      <a:pt x="66" y="449"/>
                    </a:lnTo>
                    <a:lnTo>
                      <a:pt x="65" y="449"/>
                    </a:lnTo>
                    <a:lnTo>
                      <a:pt x="67" y="453"/>
                    </a:lnTo>
                    <a:lnTo>
                      <a:pt x="63" y="449"/>
                    </a:lnTo>
                    <a:lnTo>
                      <a:pt x="63" y="452"/>
                    </a:lnTo>
                    <a:lnTo>
                      <a:pt x="62" y="450"/>
                    </a:lnTo>
                    <a:lnTo>
                      <a:pt x="62" y="453"/>
                    </a:lnTo>
                    <a:lnTo>
                      <a:pt x="61" y="452"/>
                    </a:lnTo>
                    <a:lnTo>
                      <a:pt x="60" y="452"/>
                    </a:lnTo>
                    <a:lnTo>
                      <a:pt x="61" y="453"/>
                    </a:lnTo>
                    <a:lnTo>
                      <a:pt x="61" y="453"/>
                    </a:lnTo>
                    <a:lnTo>
                      <a:pt x="61" y="453"/>
                    </a:lnTo>
                    <a:lnTo>
                      <a:pt x="57" y="455"/>
                    </a:lnTo>
                    <a:lnTo>
                      <a:pt x="59" y="453"/>
                    </a:lnTo>
                    <a:lnTo>
                      <a:pt x="57" y="451"/>
                    </a:lnTo>
                    <a:lnTo>
                      <a:pt x="57" y="452"/>
                    </a:lnTo>
                    <a:lnTo>
                      <a:pt x="54" y="455"/>
                    </a:lnTo>
                    <a:lnTo>
                      <a:pt x="53" y="451"/>
                    </a:lnTo>
                    <a:lnTo>
                      <a:pt x="52" y="452"/>
                    </a:lnTo>
                    <a:lnTo>
                      <a:pt x="53" y="455"/>
                    </a:lnTo>
                    <a:lnTo>
                      <a:pt x="52" y="453"/>
                    </a:lnTo>
                    <a:lnTo>
                      <a:pt x="51" y="455"/>
                    </a:lnTo>
                    <a:lnTo>
                      <a:pt x="50" y="453"/>
                    </a:lnTo>
                    <a:lnTo>
                      <a:pt x="50" y="450"/>
                    </a:lnTo>
                    <a:lnTo>
                      <a:pt x="48" y="452"/>
                    </a:lnTo>
                    <a:lnTo>
                      <a:pt x="48" y="450"/>
                    </a:lnTo>
                    <a:lnTo>
                      <a:pt x="45" y="450"/>
                    </a:lnTo>
                    <a:lnTo>
                      <a:pt x="46" y="448"/>
                    </a:lnTo>
                    <a:lnTo>
                      <a:pt x="46" y="448"/>
                    </a:lnTo>
                    <a:lnTo>
                      <a:pt x="45" y="449"/>
                    </a:lnTo>
                    <a:lnTo>
                      <a:pt x="43" y="447"/>
                    </a:lnTo>
                    <a:lnTo>
                      <a:pt x="42" y="447"/>
                    </a:lnTo>
                    <a:lnTo>
                      <a:pt x="44" y="450"/>
                    </a:lnTo>
                    <a:lnTo>
                      <a:pt x="42" y="449"/>
                    </a:lnTo>
                    <a:lnTo>
                      <a:pt x="41" y="445"/>
                    </a:lnTo>
                    <a:lnTo>
                      <a:pt x="40" y="448"/>
                    </a:lnTo>
                    <a:lnTo>
                      <a:pt x="40" y="445"/>
                    </a:lnTo>
                    <a:lnTo>
                      <a:pt x="38" y="447"/>
                    </a:lnTo>
                    <a:lnTo>
                      <a:pt x="36" y="444"/>
                    </a:lnTo>
                    <a:lnTo>
                      <a:pt x="38" y="449"/>
                    </a:lnTo>
                    <a:lnTo>
                      <a:pt x="41" y="448"/>
                    </a:lnTo>
                    <a:lnTo>
                      <a:pt x="40" y="450"/>
                    </a:lnTo>
                    <a:lnTo>
                      <a:pt x="36" y="448"/>
                    </a:lnTo>
                    <a:lnTo>
                      <a:pt x="36" y="449"/>
                    </a:lnTo>
                    <a:lnTo>
                      <a:pt x="33" y="447"/>
                    </a:lnTo>
                    <a:lnTo>
                      <a:pt x="33" y="449"/>
                    </a:lnTo>
                    <a:lnTo>
                      <a:pt x="32" y="448"/>
                    </a:lnTo>
                    <a:lnTo>
                      <a:pt x="31" y="452"/>
                    </a:lnTo>
                    <a:lnTo>
                      <a:pt x="27" y="449"/>
                    </a:lnTo>
                    <a:lnTo>
                      <a:pt x="25" y="451"/>
                    </a:lnTo>
                    <a:lnTo>
                      <a:pt x="24" y="449"/>
                    </a:lnTo>
                    <a:lnTo>
                      <a:pt x="21" y="451"/>
                    </a:lnTo>
                    <a:lnTo>
                      <a:pt x="19" y="448"/>
                    </a:lnTo>
                    <a:lnTo>
                      <a:pt x="18" y="448"/>
                    </a:lnTo>
                    <a:lnTo>
                      <a:pt x="19" y="451"/>
                    </a:lnTo>
                    <a:lnTo>
                      <a:pt x="16" y="448"/>
                    </a:lnTo>
                    <a:lnTo>
                      <a:pt x="16" y="450"/>
                    </a:lnTo>
                    <a:lnTo>
                      <a:pt x="9" y="449"/>
                    </a:lnTo>
                    <a:lnTo>
                      <a:pt x="9" y="451"/>
                    </a:lnTo>
                    <a:lnTo>
                      <a:pt x="8" y="449"/>
                    </a:lnTo>
                    <a:lnTo>
                      <a:pt x="8" y="450"/>
                    </a:lnTo>
                    <a:lnTo>
                      <a:pt x="7" y="448"/>
                    </a:lnTo>
                    <a:lnTo>
                      <a:pt x="6" y="451"/>
                    </a:lnTo>
                    <a:lnTo>
                      <a:pt x="7" y="452"/>
                    </a:lnTo>
                    <a:lnTo>
                      <a:pt x="7" y="452"/>
                    </a:lnTo>
                    <a:lnTo>
                      <a:pt x="4" y="451"/>
                    </a:lnTo>
                    <a:lnTo>
                      <a:pt x="3" y="450"/>
                    </a:lnTo>
                    <a:lnTo>
                      <a:pt x="1" y="447"/>
                    </a:lnTo>
                    <a:lnTo>
                      <a:pt x="0" y="448"/>
                    </a:lnTo>
                    <a:lnTo>
                      <a:pt x="0" y="14"/>
                    </a:lnTo>
                    <a:lnTo>
                      <a:pt x="2" y="14"/>
                    </a:lnTo>
                    <a:lnTo>
                      <a:pt x="2" y="16"/>
                    </a:lnTo>
                    <a:lnTo>
                      <a:pt x="7" y="14"/>
                    </a:lnTo>
                    <a:lnTo>
                      <a:pt x="8" y="13"/>
                    </a:lnTo>
                    <a:lnTo>
                      <a:pt x="9" y="16"/>
                    </a:lnTo>
                    <a:lnTo>
                      <a:pt x="11" y="15"/>
                    </a:lnTo>
                    <a:lnTo>
                      <a:pt x="12" y="17"/>
                    </a:lnTo>
                    <a:lnTo>
                      <a:pt x="13" y="14"/>
                    </a:lnTo>
                    <a:lnTo>
                      <a:pt x="17" y="17"/>
                    </a:lnTo>
                    <a:lnTo>
                      <a:pt x="19" y="16"/>
                    </a:lnTo>
                    <a:lnTo>
                      <a:pt x="20" y="13"/>
                    </a:lnTo>
                    <a:lnTo>
                      <a:pt x="21" y="12"/>
                    </a:lnTo>
                    <a:lnTo>
                      <a:pt x="21" y="15"/>
                    </a:lnTo>
                    <a:lnTo>
                      <a:pt x="26" y="15"/>
                    </a:lnTo>
                    <a:lnTo>
                      <a:pt x="26" y="13"/>
                    </a:lnTo>
                    <a:lnTo>
                      <a:pt x="27" y="15"/>
                    </a:lnTo>
                    <a:lnTo>
                      <a:pt x="29" y="15"/>
                    </a:lnTo>
                    <a:lnTo>
                      <a:pt x="28" y="14"/>
                    </a:lnTo>
                    <a:lnTo>
                      <a:pt x="33" y="15"/>
                    </a:lnTo>
                    <a:lnTo>
                      <a:pt x="34" y="14"/>
                    </a:lnTo>
                    <a:lnTo>
                      <a:pt x="34" y="12"/>
                    </a:lnTo>
                    <a:lnTo>
                      <a:pt x="36" y="9"/>
                    </a:lnTo>
                    <a:lnTo>
                      <a:pt x="37" y="8"/>
                    </a:lnTo>
                    <a:lnTo>
                      <a:pt x="42" y="13"/>
                    </a:lnTo>
                    <a:lnTo>
                      <a:pt x="42" y="9"/>
                    </a:lnTo>
                    <a:lnTo>
                      <a:pt x="42" y="9"/>
                    </a:lnTo>
                    <a:lnTo>
                      <a:pt x="44" y="13"/>
                    </a:lnTo>
                    <a:lnTo>
                      <a:pt x="44" y="10"/>
                    </a:lnTo>
                    <a:lnTo>
                      <a:pt x="44" y="10"/>
                    </a:lnTo>
                    <a:lnTo>
                      <a:pt x="45" y="12"/>
                    </a:lnTo>
                    <a:lnTo>
                      <a:pt x="44" y="9"/>
                    </a:lnTo>
                    <a:lnTo>
                      <a:pt x="46" y="10"/>
                    </a:lnTo>
                    <a:lnTo>
                      <a:pt x="48" y="6"/>
                    </a:lnTo>
                    <a:lnTo>
                      <a:pt x="50" y="6"/>
                    </a:lnTo>
                    <a:lnTo>
                      <a:pt x="50" y="8"/>
                    </a:lnTo>
                    <a:lnTo>
                      <a:pt x="52" y="8"/>
                    </a:lnTo>
                    <a:lnTo>
                      <a:pt x="53" y="9"/>
                    </a:lnTo>
                    <a:lnTo>
                      <a:pt x="58" y="8"/>
                    </a:lnTo>
                    <a:lnTo>
                      <a:pt x="59" y="7"/>
                    </a:lnTo>
                    <a:lnTo>
                      <a:pt x="61" y="7"/>
                    </a:lnTo>
                    <a:lnTo>
                      <a:pt x="61" y="7"/>
                    </a:lnTo>
                    <a:lnTo>
                      <a:pt x="61" y="7"/>
                    </a:lnTo>
                    <a:lnTo>
                      <a:pt x="62" y="8"/>
                    </a:lnTo>
                    <a:lnTo>
                      <a:pt x="65" y="6"/>
                    </a:lnTo>
                    <a:lnTo>
                      <a:pt x="66" y="8"/>
                    </a:lnTo>
                    <a:lnTo>
                      <a:pt x="68" y="8"/>
                    </a:lnTo>
                    <a:lnTo>
                      <a:pt x="68" y="5"/>
                    </a:lnTo>
                    <a:lnTo>
                      <a:pt x="69" y="8"/>
                    </a:lnTo>
                    <a:lnTo>
                      <a:pt x="70" y="8"/>
                    </a:lnTo>
                    <a:lnTo>
                      <a:pt x="69" y="6"/>
                    </a:lnTo>
                    <a:lnTo>
                      <a:pt x="69" y="4"/>
                    </a:lnTo>
                    <a:lnTo>
                      <a:pt x="71" y="7"/>
                    </a:lnTo>
                    <a:lnTo>
                      <a:pt x="73" y="7"/>
                    </a:lnTo>
                    <a:lnTo>
                      <a:pt x="73" y="8"/>
                    </a:lnTo>
                    <a:lnTo>
                      <a:pt x="74" y="9"/>
                    </a:lnTo>
                    <a:lnTo>
                      <a:pt x="76" y="10"/>
                    </a:lnTo>
                    <a:lnTo>
                      <a:pt x="76" y="7"/>
                    </a:lnTo>
                    <a:lnTo>
                      <a:pt x="78" y="8"/>
                    </a:lnTo>
                    <a:lnTo>
                      <a:pt x="77" y="5"/>
                    </a:lnTo>
                    <a:lnTo>
                      <a:pt x="78" y="6"/>
                    </a:lnTo>
                    <a:lnTo>
                      <a:pt x="79" y="7"/>
                    </a:lnTo>
                    <a:lnTo>
                      <a:pt x="84" y="5"/>
                    </a:lnTo>
                    <a:lnTo>
                      <a:pt x="86" y="8"/>
                    </a:lnTo>
                    <a:lnTo>
                      <a:pt x="87" y="6"/>
                    </a:lnTo>
                    <a:lnTo>
                      <a:pt x="87" y="8"/>
                    </a:lnTo>
                    <a:lnTo>
                      <a:pt x="88" y="9"/>
                    </a:lnTo>
                    <a:lnTo>
                      <a:pt x="90" y="7"/>
                    </a:lnTo>
                    <a:lnTo>
                      <a:pt x="92" y="6"/>
                    </a:lnTo>
                    <a:lnTo>
                      <a:pt x="91" y="9"/>
                    </a:lnTo>
                    <a:lnTo>
                      <a:pt x="91" y="7"/>
                    </a:lnTo>
                    <a:lnTo>
                      <a:pt x="92" y="8"/>
                    </a:lnTo>
                    <a:lnTo>
                      <a:pt x="93" y="7"/>
                    </a:lnTo>
                    <a:lnTo>
                      <a:pt x="95" y="9"/>
                    </a:lnTo>
                    <a:lnTo>
                      <a:pt x="93" y="9"/>
                    </a:lnTo>
                    <a:lnTo>
                      <a:pt x="95" y="12"/>
                    </a:lnTo>
                    <a:lnTo>
                      <a:pt x="95" y="10"/>
                    </a:lnTo>
                    <a:lnTo>
                      <a:pt x="99" y="12"/>
                    </a:lnTo>
                    <a:lnTo>
                      <a:pt x="101" y="15"/>
                    </a:lnTo>
                    <a:lnTo>
                      <a:pt x="100" y="13"/>
                    </a:lnTo>
                    <a:lnTo>
                      <a:pt x="101" y="13"/>
                    </a:lnTo>
                    <a:lnTo>
                      <a:pt x="101" y="12"/>
                    </a:lnTo>
                    <a:lnTo>
                      <a:pt x="101" y="14"/>
                    </a:lnTo>
                    <a:lnTo>
                      <a:pt x="103" y="13"/>
                    </a:lnTo>
                    <a:lnTo>
                      <a:pt x="108" y="15"/>
                    </a:lnTo>
                    <a:lnTo>
                      <a:pt x="108" y="13"/>
                    </a:lnTo>
                    <a:lnTo>
                      <a:pt x="110" y="13"/>
                    </a:lnTo>
                    <a:lnTo>
                      <a:pt x="110" y="9"/>
                    </a:lnTo>
                    <a:lnTo>
                      <a:pt x="116" y="0"/>
                    </a:lnTo>
                    <a:lnTo>
                      <a:pt x="117" y="1"/>
                    </a:lnTo>
                    <a:lnTo>
                      <a:pt x="116" y="4"/>
                    </a:lnTo>
                    <a:lnTo>
                      <a:pt x="118" y="1"/>
                    </a:lnTo>
                    <a:lnTo>
                      <a:pt x="121" y="5"/>
                    </a:lnTo>
                    <a:lnTo>
                      <a:pt x="124" y="4"/>
                    </a:lnTo>
                    <a:lnTo>
                      <a:pt x="123" y="5"/>
                    </a:lnTo>
                    <a:lnTo>
                      <a:pt x="125" y="4"/>
                    </a:lnTo>
                    <a:lnTo>
                      <a:pt x="125" y="5"/>
                    </a:lnTo>
                    <a:lnTo>
                      <a:pt x="125" y="4"/>
                    </a:lnTo>
                    <a:lnTo>
                      <a:pt x="125" y="4"/>
                    </a:lnTo>
                    <a:lnTo>
                      <a:pt x="125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E20074"/>
                  </a:buClr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0" cap="none" spc="0" normalizeH="0" baseline="0" noProof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6" name="Freeform 129"/>
              <p:cNvSpPr>
                <a:spLocks noEditPoints="1"/>
              </p:cNvSpPr>
              <p:nvPr/>
            </p:nvSpPr>
            <p:spPr bwMode="auto">
              <a:xfrm>
                <a:off x="11171239" y="493714"/>
                <a:ext cx="187325" cy="833438"/>
              </a:xfrm>
              <a:custGeom>
                <a:avLst/>
                <a:gdLst>
                  <a:gd name="T0" fmla="*/ 2 w 118"/>
                  <a:gd name="T1" fmla="*/ 414 h 525"/>
                  <a:gd name="T2" fmla="*/ 45 w 118"/>
                  <a:gd name="T3" fmla="*/ 92 h 525"/>
                  <a:gd name="T4" fmla="*/ 45 w 118"/>
                  <a:gd name="T5" fmla="*/ 90 h 525"/>
                  <a:gd name="T6" fmla="*/ 112 w 118"/>
                  <a:gd name="T7" fmla="*/ 6 h 525"/>
                  <a:gd name="T8" fmla="*/ 114 w 118"/>
                  <a:gd name="T9" fmla="*/ 523 h 525"/>
                  <a:gd name="T10" fmla="*/ 104 w 118"/>
                  <a:gd name="T11" fmla="*/ 522 h 525"/>
                  <a:gd name="T12" fmla="*/ 95 w 118"/>
                  <a:gd name="T13" fmla="*/ 519 h 525"/>
                  <a:gd name="T14" fmla="*/ 89 w 118"/>
                  <a:gd name="T15" fmla="*/ 516 h 525"/>
                  <a:gd name="T16" fmla="*/ 82 w 118"/>
                  <a:gd name="T17" fmla="*/ 514 h 525"/>
                  <a:gd name="T18" fmla="*/ 70 w 118"/>
                  <a:gd name="T19" fmla="*/ 509 h 525"/>
                  <a:gd name="T20" fmla="*/ 59 w 118"/>
                  <a:gd name="T21" fmla="*/ 510 h 525"/>
                  <a:gd name="T22" fmla="*/ 52 w 118"/>
                  <a:gd name="T23" fmla="*/ 509 h 525"/>
                  <a:gd name="T24" fmla="*/ 42 w 118"/>
                  <a:gd name="T25" fmla="*/ 511 h 525"/>
                  <a:gd name="T26" fmla="*/ 35 w 118"/>
                  <a:gd name="T27" fmla="*/ 513 h 525"/>
                  <a:gd name="T28" fmla="*/ 27 w 118"/>
                  <a:gd name="T29" fmla="*/ 508 h 525"/>
                  <a:gd name="T30" fmla="*/ 20 w 118"/>
                  <a:gd name="T31" fmla="*/ 509 h 525"/>
                  <a:gd name="T32" fmla="*/ 12 w 118"/>
                  <a:gd name="T33" fmla="*/ 510 h 525"/>
                  <a:gd name="T34" fmla="*/ 7 w 118"/>
                  <a:gd name="T35" fmla="*/ 517 h 525"/>
                  <a:gd name="T36" fmla="*/ 6 w 118"/>
                  <a:gd name="T37" fmla="*/ 499 h 525"/>
                  <a:gd name="T38" fmla="*/ 7 w 118"/>
                  <a:gd name="T39" fmla="*/ 490 h 525"/>
                  <a:gd name="T40" fmla="*/ 5 w 118"/>
                  <a:gd name="T41" fmla="*/ 476 h 525"/>
                  <a:gd name="T42" fmla="*/ 5 w 118"/>
                  <a:gd name="T43" fmla="*/ 460 h 525"/>
                  <a:gd name="T44" fmla="*/ 7 w 118"/>
                  <a:gd name="T45" fmla="*/ 444 h 525"/>
                  <a:gd name="T46" fmla="*/ 6 w 118"/>
                  <a:gd name="T47" fmla="*/ 436 h 525"/>
                  <a:gd name="T48" fmla="*/ 5 w 118"/>
                  <a:gd name="T49" fmla="*/ 422 h 525"/>
                  <a:gd name="T50" fmla="*/ 3 w 118"/>
                  <a:gd name="T51" fmla="*/ 402 h 525"/>
                  <a:gd name="T52" fmla="*/ 8 w 118"/>
                  <a:gd name="T53" fmla="*/ 396 h 525"/>
                  <a:gd name="T54" fmla="*/ 7 w 118"/>
                  <a:gd name="T55" fmla="*/ 386 h 525"/>
                  <a:gd name="T56" fmla="*/ 8 w 118"/>
                  <a:gd name="T57" fmla="*/ 364 h 525"/>
                  <a:gd name="T58" fmla="*/ 7 w 118"/>
                  <a:gd name="T59" fmla="*/ 359 h 525"/>
                  <a:gd name="T60" fmla="*/ 5 w 118"/>
                  <a:gd name="T61" fmla="*/ 340 h 525"/>
                  <a:gd name="T62" fmla="*/ 9 w 118"/>
                  <a:gd name="T63" fmla="*/ 329 h 525"/>
                  <a:gd name="T64" fmla="*/ 12 w 118"/>
                  <a:gd name="T65" fmla="*/ 316 h 525"/>
                  <a:gd name="T66" fmla="*/ 17 w 118"/>
                  <a:gd name="T67" fmla="*/ 302 h 525"/>
                  <a:gd name="T68" fmla="*/ 19 w 118"/>
                  <a:gd name="T69" fmla="*/ 291 h 525"/>
                  <a:gd name="T70" fmla="*/ 19 w 118"/>
                  <a:gd name="T71" fmla="*/ 283 h 525"/>
                  <a:gd name="T72" fmla="*/ 19 w 118"/>
                  <a:gd name="T73" fmla="*/ 257 h 525"/>
                  <a:gd name="T74" fmla="*/ 24 w 118"/>
                  <a:gd name="T75" fmla="*/ 231 h 525"/>
                  <a:gd name="T76" fmla="*/ 24 w 118"/>
                  <a:gd name="T77" fmla="*/ 225 h 525"/>
                  <a:gd name="T78" fmla="*/ 25 w 118"/>
                  <a:gd name="T79" fmla="*/ 217 h 525"/>
                  <a:gd name="T80" fmla="*/ 27 w 118"/>
                  <a:gd name="T81" fmla="*/ 213 h 525"/>
                  <a:gd name="T82" fmla="*/ 28 w 118"/>
                  <a:gd name="T83" fmla="*/ 201 h 525"/>
                  <a:gd name="T84" fmla="*/ 34 w 118"/>
                  <a:gd name="T85" fmla="*/ 188 h 525"/>
                  <a:gd name="T86" fmla="*/ 37 w 118"/>
                  <a:gd name="T87" fmla="*/ 181 h 525"/>
                  <a:gd name="T88" fmla="*/ 40 w 118"/>
                  <a:gd name="T89" fmla="*/ 168 h 525"/>
                  <a:gd name="T90" fmla="*/ 41 w 118"/>
                  <a:gd name="T91" fmla="*/ 154 h 525"/>
                  <a:gd name="T92" fmla="*/ 42 w 118"/>
                  <a:gd name="T93" fmla="*/ 141 h 525"/>
                  <a:gd name="T94" fmla="*/ 43 w 118"/>
                  <a:gd name="T95" fmla="*/ 121 h 525"/>
                  <a:gd name="T96" fmla="*/ 47 w 118"/>
                  <a:gd name="T97" fmla="*/ 109 h 525"/>
                  <a:gd name="T98" fmla="*/ 48 w 118"/>
                  <a:gd name="T99" fmla="*/ 100 h 525"/>
                  <a:gd name="T100" fmla="*/ 47 w 118"/>
                  <a:gd name="T101" fmla="*/ 88 h 525"/>
                  <a:gd name="T102" fmla="*/ 51 w 118"/>
                  <a:gd name="T103" fmla="*/ 82 h 525"/>
                  <a:gd name="T104" fmla="*/ 50 w 118"/>
                  <a:gd name="T105" fmla="*/ 64 h 525"/>
                  <a:gd name="T106" fmla="*/ 49 w 118"/>
                  <a:gd name="T107" fmla="*/ 58 h 525"/>
                  <a:gd name="T108" fmla="*/ 53 w 118"/>
                  <a:gd name="T109" fmla="*/ 46 h 525"/>
                  <a:gd name="T110" fmla="*/ 51 w 118"/>
                  <a:gd name="T111" fmla="*/ 40 h 525"/>
                  <a:gd name="T112" fmla="*/ 55 w 118"/>
                  <a:gd name="T113" fmla="*/ 40 h 525"/>
                  <a:gd name="T114" fmla="*/ 55 w 118"/>
                  <a:gd name="T115" fmla="*/ 31 h 525"/>
                  <a:gd name="T116" fmla="*/ 59 w 118"/>
                  <a:gd name="T117" fmla="*/ 14 h 525"/>
                  <a:gd name="T118" fmla="*/ 70 w 118"/>
                  <a:gd name="T119" fmla="*/ 7 h 525"/>
                  <a:gd name="T120" fmla="*/ 84 w 118"/>
                  <a:gd name="T121" fmla="*/ 6 h 5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18" h="525">
                    <a:moveTo>
                      <a:pt x="108" y="525"/>
                    </a:moveTo>
                    <a:lnTo>
                      <a:pt x="108" y="525"/>
                    </a:lnTo>
                    <a:lnTo>
                      <a:pt x="108" y="525"/>
                    </a:lnTo>
                    <a:lnTo>
                      <a:pt x="108" y="525"/>
                    </a:lnTo>
                    <a:close/>
                    <a:moveTo>
                      <a:pt x="2" y="414"/>
                    </a:moveTo>
                    <a:lnTo>
                      <a:pt x="2" y="414"/>
                    </a:lnTo>
                    <a:lnTo>
                      <a:pt x="2" y="414"/>
                    </a:lnTo>
                    <a:lnTo>
                      <a:pt x="2" y="414"/>
                    </a:lnTo>
                    <a:close/>
                    <a:moveTo>
                      <a:pt x="12" y="313"/>
                    </a:moveTo>
                    <a:lnTo>
                      <a:pt x="12" y="315"/>
                    </a:lnTo>
                    <a:lnTo>
                      <a:pt x="12" y="315"/>
                    </a:lnTo>
                    <a:lnTo>
                      <a:pt x="12" y="313"/>
                    </a:lnTo>
                    <a:close/>
                    <a:moveTo>
                      <a:pt x="45" y="91"/>
                    </a:moveTo>
                    <a:lnTo>
                      <a:pt x="45" y="92"/>
                    </a:lnTo>
                    <a:lnTo>
                      <a:pt x="44" y="93"/>
                    </a:lnTo>
                    <a:lnTo>
                      <a:pt x="44" y="93"/>
                    </a:lnTo>
                    <a:lnTo>
                      <a:pt x="45" y="91"/>
                    </a:lnTo>
                    <a:close/>
                    <a:moveTo>
                      <a:pt x="45" y="90"/>
                    </a:moveTo>
                    <a:lnTo>
                      <a:pt x="45" y="91"/>
                    </a:lnTo>
                    <a:lnTo>
                      <a:pt x="45" y="90"/>
                    </a:lnTo>
                    <a:lnTo>
                      <a:pt x="45" y="90"/>
                    </a:lnTo>
                    <a:close/>
                    <a:moveTo>
                      <a:pt x="100" y="0"/>
                    </a:moveTo>
                    <a:lnTo>
                      <a:pt x="100" y="0"/>
                    </a:lnTo>
                    <a:lnTo>
                      <a:pt x="103" y="5"/>
                    </a:lnTo>
                    <a:lnTo>
                      <a:pt x="108" y="7"/>
                    </a:lnTo>
                    <a:lnTo>
                      <a:pt x="109" y="9"/>
                    </a:lnTo>
                    <a:lnTo>
                      <a:pt x="114" y="9"/>
                    </a:lnTo>
                    <a:lnTo>
                      <a:pt x="112" y="6"/>
                    </a:lnTo>
                    <a:lnTo>
                      <a:pt x="116" y="9"/>
                    </a:lnTo>
                    <a:lnTo>
                      <a:pt x="117" y="13"/>
                    </a:lnTo>
                    <a:lnTo>
                      <a:pt x="118" y="14"/>
                    </a:lnTo>
                    <a:lnTo>
                      <a:pt x="118" y="522"/>
                    </a:lnTo>
                    <a:lnTo>
                      <a:pt x="117" y="521"/>
                    </a:lnTo>
                    <a:lnTo>
                      <a:pt x="115" y="524"/>
                    </a:lnTo>
                    <a:lnTo>
                      <a:pt x="114" y="523"/>
                    </a:lnTo>
                    <a:lnTo>
                      <a:pt x="108" y="525"/>
                    </a:lnTo>
                    <a:lnTo>
                      <a:pt x="108" y="523"/>
                    </a:lnTo>
                    <a:lnTo>
                      <a:pt x="107" y="523"/>
                    </a:lnTo>
                    <a:lnTo>
                      <a:pt x="107" y="525"/>
                    </a:lnTo>
                    <a:lnTo>
                      <a:pt x="106" y="525"/>
                    </a:lnTo>
                    <a:lnTo>
                      <a:pt x="106" y="523"/>
                    </a:lnTo>
                    <a:lnTo>
                      <a:pt x="104" y="522"/>
                    </a:lnTo>
                    <a:lnTo>
                      <a:pt x="104" y="524"/>
                    </a:lnTo>
                    <a:lnTo>
                      <a:pt x="102" y="521"/>
                    </a:lnTo>
                    <a:lnTo>
                      <a:pt x="102" y="524"/>
                    </a:lnTo>
                    <a:lnTo>
                      <a:pt x="99" y="518"/>
                    </a:lnTo>
                    <a:lnTo>
                      <a:pt x="99" y="521"/>
                    </a:lnTo>
                    <a:lnTo>
                      <a:pt x="98" y="517"/>
                    </a:lnTo>
                    <a:lnTo>
                      <a:pt x="95" y="519"/>
                    </a:lnTo>
                    <a:lnTo>
                      <a:pt x="94" y="516"/>
                    </a:lnTo>
                    <a:lnTo>
                      <a:pt x="93" y="516"/>
                    </a:lnTo>
                    <a:lnTo>
                      <a:pt x="91" y="517"/>
                    </a:lnTo>
                    <a:lnTo>
                      <a:pt x="91" y="515"/>
                    </a:lnTo>
                    <a:lnTo>
                      <a:pt x="91" y="515"/>
                    </a:lnTo>
                    <a:lnTo>
                      <a:pt x="90" y="514"/>
                    </a:lnTo>
                    <a:lnTo>
                      <a:pt x="89" y="516"/>
                    </a:lnTo>
                    <a:lnTo>
                      <a:pt x="89" y="513"/>
                    </a:lnTo>
                    <a:lnTo>
                      <a:pt x="85" y="515"/>
                    </a:lnTo>
                    <a:lnTo>
                      <a:pt x="83" y="513"/>
                    </a:lnTo>
                    <a:lnTo>
                      <a:pt x="83" y="515"/>
                    </a:lnTo>
                    <a:lnTo>
                      <a:pt x="82" y="514"/>
                    </a:lnTo>
                    <a:lnTo>
                      <a:pt x="83" y="517"/>
                    </a:lnTo>
                    <a:lnTo>
                      <a:pt x="82" y="514"/>
                    </a:lnTo>
                    <a:lnTo>
                      <a:pt x="81" y="514"/>
                    </a:lnTo>
                    <a:lnTo>
                      <a:pt x="76" y="509"/>
                    </a:lnTo>
                    <a:lnTo>
                      <a:pt x="74" y="511"/>
                    </a:lnTo>
                    <a:lnTo>
                      <a:pt x="73" y="510"/>
                    </a:lnTo>
                    <a:lnTo>
                      <a:pt x="72" y="509"/>
                    </a:lnTo>
                    <a:lnTo>
                      <a:pt x="72" y="510"/>
                    </a:lnTo>
                    <a:lnTo>
                      <a:pt x="70" y="509"/>
                    </a:lnTo>
                    <a:lnTo>
                      <a:pt x="68" y="509"/>
                    </a:lnTo>
                    <a:lnTo>
                      <a:pt x="68" y="511"/>
                    </a:lnTo>
                    <a:lnTo>
                      <a:pt x="67" y="510"/>
                    </a:lnTo>
                    <a:lnTo>
                      <a:pt x="67" y="509"/>
                    </a:lnTo>
                    <a:lnTo>
                      <a:pt x="64" y="514"/>
                    </a:lnTo>
                    <a:lnTo>
                      <a:pt x="61" y="511"/>
                    </a:lnTo>
                    <a:lnTo>
                      <a:pt x="59" y="510"/>
                    </a:lnTo>
                    <a:lnTo>
                      <a:pt x="57" y="514"/>
                    </a:lnTo>
                    <a:lnTo>
                      <a:pt x="57" y="510"/>
                    </a:lnTo>
                    <a:lnTo>
                      <a:pt x="56" y="513"/>
                    </a:lnTo>
                    <a:lnTo>
                      <a:pt x="56" y="510"/>
                    </a:lnTo>
                    <a:lnTo>
                      <a:pt x="55" y="513"/>
                    </a:lnTo>
                    <a:lnTo>
                      <a:pt x="52" y="510"/>
                    </a:lnTo>
                    <a:lnTo>
                      <a:pt x="52" y="509"/>
                    </a:lnTo>
                    <a:lnTo>
                      <a:pt x="50" y="510"/>
                    </a:lnTo>
                    <a:lnTo>
                      <a:pt x="50" y="509"/>
                    </a:lnTo>
                    <a:lnTo>
                      <a:pt x="49" y="513"/>
                    </a:lnTo>
                    <a:lnTo>
                      <a:pt x="47" y="514"/>
                    </a:lnTo>
                    <a:lnTo>
                      <a:pt x="45" y="511"/>
                    </a:lnTo>
                    <a:lnTo>
                      <a:pt x="44" y="514"/>
                    </a:lnTo>
                    <a:lnTo>
                      <a:pt x="42" y="511"/>
                    </a:lnTo>
                    <a:lnTo>
                      <a:pt x="41" y="513"/>
                    </a:lnTo>
                    <a:lnTo>
                      <a:pt x="41" y="510"/>
                    </a:lnTo>
                    <a:lnTo>
                      <a:pt x="41" y="511"/>
                    </a:lnTo>
                    <a:lnTo>
                      <a:pt x="40" y="509"/>
                    </a:lnTo>
                    <a:lnTo>
                      <a:pt x="39" y="508"/>
                    </a:lnTo>
                    <a:lnTo>
                      <a:pt x="36" y="509"/>
                    </a:lnTo>
                    <a:lnTo>
                      <a:pt x="35" y="513"/>
                    </a:lnTo>
                    <a:lnTo>
                      <a:pt x="32" y="508"/>
                    </a:lnTo>
                    <a:lnTo>
                      <a:pt x="34" y="511"/>
                    </a:lnTo>
                    <a:lnTo>
                      <a:pt x="30" y="508"/>
                    </a:lnTo>
                    <a:lnTo>
                      <a:pt x="32" y="511"/>
                    </a:lnTo>
                    <a:lnTo>
                      <a:pt x="28" y="508"/>
                    </a:lnTo>
                    <a:lnTo>
                      <a:pt x="28" y="509"/>
                    </a:lnTo>
                    <a:lnTo>
                      <a:pt x="27" y="508"/>
                    </a:lnTo>
                    <a:lnTo>
                      <a:pt x="25" y="508"/>
                    </a:lnTo>
                    <a:lnTo>
                      <a:pt x="24" y="513"/>
                    </a:lnTo>
                    <a:lnTo>
                      <a:pt x="24" y="509"/>
                    </a:lnTo>
                    <a:lnTo>
                      <a:pt x="23" y="508"/>
                    </a:lnTo>
                    <a:lnTo>
                      <a:pt x="22" y="509"/>
                    </a:lnTo>
                    <a:lnTo>
                      <a:pt x="20" y="507"/>
                    </a:lnTo>
                    <a:lnTo>
                      <a:pt x="20" y="509"/>
                    </a:lnTo>
                    <a:lnTo>
                      <a:pt x="18" y="508"/>
                    </a:lnTo>
                    <a:lnTo>
                      <a:pt x="18" y="510"/>
                    </a:lnTo>
                    <a:lnTo>
                      <a:pt x="17" y="508"/>
                    </a:lnTo>
                    <a:lnTo>
                      <a:pt x="16" y="509"/>
                    </a:lnTo>
                    <a:lnTo>
                      <a:pt x="15" y="506"/>
                    </a:lnTo>
                    <a:lnTo>
                      <a:pt x="10" y="508"/>
                    </a:lnTo>
                    <a:lnTo>
                      <a:pt x="12" y="510"/>
                    </a:lnTo>
                    <a:lnTo>
                      <a:pt x="9" y="510"/>
                    </a:lnTo>
                    <a:lnTo>
                      <a:pt x="10" y="514"/>
                    </a:lnTo>
                    <a:lnTo>
                      <a:pt x="9" y="514"/>
                    </a:lnTo>
                    <a:lnTo>
                      <a:pt x="9" y="511"/>
                    </a:lnTo>
                    <a:lnTo>
                      <a:pt x="9" y="513"/>
                    </a:lnTo>
                    <a:lnTo>
                      <a:pt x="8" y="510"/>
                    </a:lnTo>
                    <a:lnTo>
                      <a:pt x="7" y="517"/>
                    </a:lnTo>
                    <a:lnTo>
                      <a:pt x="6" y="519"/>
                    </a:lnTo>
                    <a:lnTo>
                      <a:pt x="5" y="508"/>
                    </a:lnTo>
                    <a:lnTo>
                      <a:pt x="5" y="503"/>
                    </a:lnTo>
                    <a:lnTo>
                      <a:pt x="6" y="505"/>
                    </a:lnTo>
                    <a:lnTo>
                      <a:pt x="6" y="500"/>
                    </a:lnTo>
                    <a:lnTo>
                      <a:pt x="0" y="502"/>
                    </a:lnTo>
                    <a:lnTo>
                      <a:pt x="6" y="499"/>
                    </a:lnTo>
                    <a:lnTo>
                      <a:pt x="3" y="499"/>
                    </a:lnTo>
                    <a:lnTo>
                      <a:pt x="5" y="496"/>
                    </a:lnTo>
                    <a:lnTo>
                      <a:pt x="2" y="494"/>
                    </a:lnTo>
                    <a:lnTo>
                      <a:pt x="2" y="492"/>
                    </a:lnTo>
                    <a:lnTo>
                      <a:pt x="5" y="494"/>
                    </a:lnTo>
                    <a:lnTo>
                      <a:pt x="5" y="493"/>
                    </a:lnTo>
                    <a:lnTo>
                      <a:pt x="7" y="490"/>
                    </a:lnTo>
                    <a:lnTo>
                      <a:pt x="6" y="488"/>
                    </a:lnTo>
                    <a:lnTo>
                      <a:pt x="5" y="485"/>
                    </a:lnTo>
                    <a:lnTo>
                      <a:pt x="6" y="484"/>
                    </a:lnTo>
                    <a:lnTo>
                      <a:pt x="5" y="478"/>
                    </a:lnTo>
                    <a:lnTo>
                      <a:pt x="2" y="477"/>
                    </a:lnTo>
                    <a:lnTo>
                      <a:pt x="6" y="476"/>
                    </a:lnTo>
                    <a:lnTo>
                      <a:pt x="5" y="476"/>
                    </a:lnTo>
                    <a:lnTo>
                      <a:pt x="6" y="476"/>
                    </a:lnTo>
                    <a:lnTo>
                      <a:pt x="3" y="473"/>
                    </a:lnTo>
                    <a:lnTo>
                      <a:pt x="6" y="464"/>
                    </a:lnTo>
                    <a:lnTo>
                      <a:pt x="5" y="465"/>
                    </a:lnTo>
                    <a:lnTo>
                      <a:pt x="6" y="464"/>
                    </a:lnTo>
                    <a:lnTo>
                      <a:pt x="5" y="463"/>
                    </a:lnTo>
                    <a:lnTo>
                      <a:pt x="5" y="460"/>
                    </a:lnTo>
                    <a:lnTo>
                      <a:pt x="6" y="461"/>
                    </a:lnTo>
                    <a:lnTo>
                      <a:pt x="3" y="459"/>
                    </a:lnTo>
                    <a:lnTo>
                      <a:pt x="6" y="454"/>
                    </a:lnTo>
                    <a:lnTo>
                      <a:pt x="5" y="452"/>
                    </a:lnTo>
                    <a:lnTo>
                      <a:pt x="6" y="446"/>
                    </a:lnTo>
                    <a:lnTo>
                      <a:pt x="7" y="447"/>
                    </a:lnTo>
                    <a:lnTo>
                      <a:pt x="7" y="444"/>
                    </a:lnTo>
                    <a:lnTo>
                      <a:pt x="5" y="446"/>
                    </a:lnTo>
                    <a:lnTo>
                      <a:pt x="6" y="443"/>
                    </a:lnTo>
                    <a:lnTo>
                      <a:pt x="6" y="444"/>
                    </a:lnTo>
                    <a:lnTo>
                      <a:pt x="6" y="441"/>
                    </a:lnTo>
                    <a:lnTo>
                      <a:pt x="5" y="441"/>
                    </a:lnTo>
                    <a:lnTo>
                      <a:pt x="5" y="436"/>
                    </a:lnTo>
                    <a:lnTo>
                      <a:pt x="6" y="436"/>
                    </a:lnTo>
                    <a:lnTo>
                      <a:pt x="6" y="434"/>
                    </a:lnTo>
                    <a:lnTo>
                      <a:pt x="6" y="435"/>
                    </a:lnTo>
                    <a:lnTo>
                      <a:pt x="6" y="432"/>
                    </a:lnTo>
                    <a:lnTo>
                      <a:pt x="5" y="433"/>
                    </a:lnTo>
                    <a:lnTo>
                      <a:pt x="5" y="426"/>
                    </a:lnTo>
                    <a:lnTo>
                      <a:pt x="3" y="419"/>
                    </a:lnTo>
                    <a:lnTo>
                      <a:pt x="5" y="422"/>
                    </a:lnTo>
                    <a:lnTo>
                      <a:pt x="5" y="415"/>
                    </a:lnTo>
                    <a:lnTo>
                      <a:pt x="6" y="414"/>
                    </a:lnTo>
                    <a:lnTo>
                      <a:pt x="5" y="413"/>
                    </a:lnTo>
                    <a:lnTo>
                      <a:pt x="2" y="414"/>
                    </a:lnTo>
                    <a:lnTo>
                      <a:pt x="7" y="411"/>
                    </a:lnTo>
                    <a:lnTo>
                      <a:pt x="6" y="405"/>
                    </a:lnTo>
                    <a:lnTo>
                      <a:pt x="3" y="402"/>
                    </a:lnTo>
                    <a:lnTo>
                      <a:pt x="6" y="404"/>
                    </a:lnTo>
                    <a:lnTo>
                      <a:pt x="6" y="399"/>
                    </a:lnTo>
                    <a:lnTo>
                      <a:pt x="5" y="399"/>
                    </a:lnTo>
                    <a:lnTo>
                      <a:pt x="2" y="398"/>
                    </a:lnTo>
                    <a:lnTo>
                      <a:pt x="7" y="396"/>
                    </a:lnTo>
                    <a:lnTo>
                      <a:pt x="5" y="396"/>
                    </a:lnTo>
                    <a:lnTo>
                      <a:pt x="8" y="396"/>
                    </a:lnTo>
                    <a:lnTo>
                      <a:pt x="6" y="394"/>
                    </a:lnTo>
                    <a:lnTo>
                      <a:pt x="6" y="392"/>
                    </a:lnTo>
                    <a:lnTo>
                      <a:pt x="7" y="390"/>
                    </a:lnTo>
                    <a:lnTo>
                      <a:pt x="6" y="389"/>
                    </a:lnTo>
                    <a:lnTo>
                      <a:pt x="8" y="388"/>
                    </a:lnTo>
                    <a:lnTo>
                      <a:pt x="3" y="382"/>
                    </a:lnTo>
                    <a:lnTo>
                      <a:pt x="7" y="386"/>
                    </a:lnTo>
                    <a:lnTo>
                      <a:pt x="8" y="382"/>
                    </a:lnTo>
                    <a:lnTo>
                      <a:pt x="8" y="383"/>
                    </a:lnTo>
                    <a:lnTo>
                      <a:pt x="6" y="382"/>
                    </a:lnTo>
                    <a:lnTo>
                      <a:pt x="7" y="381"/>
                    </a:lnTo>
                    <a:lnTo>
                      <a:pt x="7" y="368"/>
                    </a:lnTo>
                    <a:lnTo>
                      <a:pt x="8" y="369"/>
                    </a:lnTo>
                    <a:lnTo>
                      <a:pt x="8" y="364"/>
                    </a:lnTo>
                    <a:lnTo>
                      <a:pt x="7" y="364"/>
                    </a:lnTo>
                    <a:lnTo>
                      <a:pt x="7" y="362"/>
                    </a:lnTo>
                    <a:lnTo>
                      <a:pt x="9" y="362"/>
                    </a:lnTo>
                    <a:lnTo>
                      <a:pt x="7" y="360"/>
                    </a:lnTo>
                    <a:lnTo>
                      <a:pt x="8" y="360"/>
                    </a:lnTo>
                    <a:lnTo>
                      <a:pt x="8" y="358"/>
                    </a:lnTo>
                    <a:lnTo>
                      <a:pt x="7" y="359"/>
                    </a:lnTo>
                    <a:lnTo>
                      <a:pt x="9" y="354"/>
                    </a:lnTo>
                    <a:lnTo>
                      <a:pt x="8" y="351"/>
                    </a:lnTo>
                    <a:lnTo>
                      <a:pt x="9" y="350"/>
                    </a:lnTo>
                    <a:lnTo>
                      <a:pt x="8" y="349"/>
                    </a:lnTo>
                    <a:lnTo>
                      <a:pt x="9" y="347"/>
                    </a:lnTo>
                    <a:lnTo>
                      <a:pt x="11" y="342"/>
                    </a:lnTo>
                    <a:lnTo>
                      <a:pt x="5" y="340"/>
                    </a:lnTo>
                    <a:lnTo>
                      <a:pt x="10" y="340"/>
                    </a:lnTo>
                    <a:lnTo>
                      <a:pt x="9" y="335"/>
                    </a:lnTo>
                    <a:lnTo>
                      <a:pt x="11" y="339"/>
                    </a:lnTo>
                    <a:lnTo>
                      <a:pt x="8" y="334"/>
                    </a:lnTo>
                    <a:lnTo>
                      <a:pt x="10" y="331"/>
                    </a:lnTo>
                    <a:lnTo>
                      <a:pt x="9" y="331"/>
                    </a:lnTo>
                    <a:lnTo>
                      <a:pt x="9" y="329"/>
                    </a:lnTo>
                    <a:lnTo>
                      <a:pt x="9" y="325"/>
                    </a:lnTo>
                    <a:lnTo>
                      <a:pt x="9" y="323"/>
                    </a:lnTo>
                    <a:lnTo>
                      <a:pt x="11" y="327"/>
                    </a:lnTo>
                    <a:lnTo>
                      <a:pt x="10" y="325"/>
                    </a:lnTo>
                    <a:lnTo>
                      <a:pt x="12" y="322"/>
                    </a:lnTo>
                    <a:lnTo>
                      <a:pt x="11" y="323"/>
                    </a:lnTo>
                    <a:lnTo>
                      <a:pt x="12" y="316"/>
                    </a:lnTo>
                    <a:lnTo>
                      <a:pt x="14" y="316"/>
                    </a:lnTo>
                    <a:lnTo>
                      <a:pt x="12" y="315"/>
                    </a:lnTo>
                    <a:lnTo>
                      <a:pt x="15" y="313"/>
                    </a:lnTo>
                    <a:lnTo>
                      <a:pt x="14" y="310"/>
                    </a:lnTo>
                    <a:lnTo>
                      <a:pt x="14" y="307"/>
                    </a:lnTo>
                    <a:lnTo>
                      <a:pt x="16" y="307"/>
                    </a:lnTo>
                    <a:lnTo>
                      <a:pt x="17" y="302"/>
                    </a:lnTo>
                    <a:lnTo>
                      <a:pt x="17" y="297"/>
                    </a:lnTo>
                    <a:lnTo>
                      <a:pt x="16" y="295"/>
                    </a:lnTo>
                    <a:lnTo>
                      <a:pt x="18" y="297"/>
                    </a:lnTo>
                    <a:lnTo>
                      <a:pt x="17" y="295"/>
                    </a:lnTo>
                    <a:lnTo>
                      <a:pt x="19" y="295"/>
                    </a:lnTo>
                    <a:lnTo>
                      <a:pt x="18" y="292"/>
                    </a:lnTo>
                    <a:lnTo>
                      <a:pt x="19" y="291"/>
                    </a:lnTo>
                    <a:lnTo>
                      <a:pt x="18" y="290"/>
                    </a:lnTo>
                    <a:lnTo>
                      <a:pt x="18" y="288"/>
                    </a:lnTo>
                    <a:lnTo>
                      <a:pt x="19" y="289"/>
                    </a:lnTo>
                    <a:lnTo>
                      <a:pt x="19" y="287"/>
                    </a:lnTo>
                    <a:lnTo>
                      <a:pt x="20" y="285"/>
                    </a:lnTo>
                    <a:lnTo>
                      <a:pt x="18" y="281"/>
                    </a:lnTo>
                    <a:lnTo>
                      <a:pt x="19" y="283"/>
                    </a:lnTo>
                    <a:lnTo>
                      <a:pt x="19" y="281"/>
                    </a:lnTo>
                    <a:lnTo>
                      <a:pt x="17" y="281"/>
                    </a:lnTo>
                    <a:lnTo>
                      <a:pt x="18" y="276"/>
                    </a:lnTo>
                    <a:lnTo>
                      <a:pt x="18" y="270"/>
                    </a:lnTo>
                    <a:lnTo>
                      <a:pt x="16" y="267"/>
                    </a:lnTo>
                    <a:lnTo>
                      <a:pt x="20" y="258"/>
                    </a:lnTo>
                    <a:lnTo>
                      <a:pt x="19" y="257"/>
                    </a:lnTo>
                    <a:lnTo>
                      <a:pt x="22" y="257"/>
                    </a:lnTo>
                    <a:lnTo>
                      <a:pt x="20" y="240"/>
                    </a:lnTo>
                    <a:lnTo>
                      <a:pt x="22" y="240"/>
                    </a:lnTo>
                    <a:lnTo>
                      <a:pt x="20" y="239"/>
                    </a:lnTo>
                    <a:lnTo>
                      <a:pt x="23" y="238"/>
                    </a:lnTo>
                    <a:lnTo>
                      <a:pt x="25" y="232"/>
                    </a:lnTo>
                    <a:lnTo>
                      <a:pt x="24" y="231"/>
                    </a:lnTo>
                    <a:lnTo>
                      <a:pt x="24" y="230"/>
                    </a:lnTo>
                    <a:lnTo>
                      <a:pt x="25" y="229"/>
                    </a:lnTo>
                    <a:lnTo>
                      <a:pt x="25" y="229"/>
                    </a:lnTo>
                    <a:lnTo>
                      <a:pt x="25" y="229"/>
                    </a:lnTo>
                    <a:lnTo>
                      <a:pt x="24" y="231"/>
                    </a:lnTo>
                    <a:lnTo>
                      <a:pt x="26" y="227"/>
                    </a:lnTo>
                    <a:lnTo>
                      <a:pt x="24" y="225"/>
                    </a:lnTo>
                    <a:lnTo>
                      <a:pt x="24" y="223"/>
                    </a:lnTo>
                    <a:lnTo>
                      <a:pt x="25" y="225"/>
                    </a:lnTo>
                    <a:lnTo>
                      <a:pt x="25" y="222"/>
                    </a:lnTo>
                    <a:lnTo>
                      <a:pt x="24" y="223"/>
                    </a:lnTo>
                    <a:lnTo>
                      <a:pt x="25" y="222"/>
                    </a:lnTo>
                    <a:lnTo>
                      <a:pt x="23" y="221"/>
                    </a:lnTo>
                    <a:lnTo>
                      <a:pt x="25" y="217"/>
                    </a:lnTo>
                    <a:lnTo>
                      <a:pt x="23" y="218"/>
                    </a:lnTo>
                    <a:lnTo>
                      <a:pt x="24" y="216"/>
                    </a:lnTo>
                    <a:lnTo>
                      <a:pt x="25" y="217"/>
                    </a:lnTo>
                    <a:lnTo>
                      <a:pt x="25" y="214"/>
                    </a:lnTo>
                    <a:lnTo>
                      <a:pt x="26" y="215"/>
                    </a:lnTo>
                    <a:lnTo>
                      <a:pt x="26" y="213"/>
                    </a:lnTo>
                    <a:lnTo>
                      <a:pt x="27" y="213"/>
                    </a:lnTo>
                    <a:lnTo>
                      <a:pt x="26" y="212"/>
                    </a:lnTo>
                    <a:lnTo>
                      <a:pt x="28" y="213"/>
                    </a:lnTo>
                    <a:lnTo>
                      <a:pt x="30" y="209"/>
                    </a:lnTo>
                    <a:lnTo>
                      <a:pt x="28" y="209"/>
                    </a:lnTo>
                    <a:lnTo>
                      <a:pt x="27" y="206"/>
                    </a:lnTo>
                    <a:lnTo>
                      <a:pt x="30" y="206"/>
                    </a:lnTo>
                    <a:lnTo>
                      <a:pt x="28" y="201"/>
                    </a:lnTo>
                    <a:lnTo>
                      <a:pt x="32" y="200"/>
                    </a:lnTo>
                    <a:lnTo>
                      <a:pt x="30" y="199"/>
                    </a:lnTo>
                    <a:lnTo>
                      <a:pt x="31" y="198"/>
                    </a:lnTo>
                    <a:lnTo>
                      <a:pt x="32" y="193"/>
                    </a:lnTo>
                    <a:lnTo>
                      <a:pt x="35" y="193"/>
                    </a:lnTo>
                    <a:lnTo>
                      <a:pt x="35" y="191"/>
                    </a:lnTo>
                    <a:lnTo>
                      <a:pt x="34" y="188"/>
                    </a:lnTo>
                    <a:lnTo>
                      <a:pt x="31" y="187"/>
                    </a:lnTo>
                    <a:lnTo>
                      <a:pt x="32" y="184"/>
                    </a:lnTo>
                    <a:lnTo>
                      <a:pt x="34" y="187"/>
                    </a:lnTo>
                    <a:lnTo>
                      <a:pt x="36" y="185"/>
                    </a:lnTo>
                    <a:lnTo>
                      <a:pt x="33" y="183"/>
                    </a:lnTo>
                    <a:lnTo>
                      <a:pt x="37" y="183"/>
                    </a:lnTo>
                    <a:lnTo>
                      <a:pt x="37" y="181"/>
                    </a:lnTo>
                    <a:lnTo>
                      <a:pt x="36" y="181"/>
                    </a:lnTo>
                    <a:lnTo>
                      <a:pt x="40" y="176"/>
                    </a:lnTo>
                    <a:lnTo>
                      <a:pt x="39" y="173"/>
                    </a:lnTo>
                    <a:lnTo>
                      <a:pt x="40" y="171"/>
                    </a:lnTo>
                    <a:lnTo>
                      <a:pt x="41" y="172"/>
                    </a:lnTo>
                    <a:lnTo>
                      <a:pt x="41" y="168"/>
                    </a:lnTo>
                    <a:lnTo>
                      <a:pt x="40" y="168"/>
                    </a:lnTo>
                    <a:lnTo>
                      <a:pt x="39" y="167"/>
                    </a:lnTo>
                    <a:lnTo>
                      <a:pt x="42" y="167"/>
                    </a:lnTo>
                    <a:lnTo>
                      <a:pt x="42" y="162"/>
                    </a:lnTo>
                    <a:lnTo>
                      <a:pt x="42" y="160"/>
                    </a:lnTo>
                    <a:lnTo>
                      <a:pt x="40" y="159"/>
                    </a:lnTo>
                    <a:lnTo>
                      <a:pt x="42" y="159"/>
                    </a:lnTo>
                    <a:lnTo>
                      <a:pt x="41" y="154"/>
                    </a:lnTo>
                    <a:lnTo>
                      <a:pt x="43" y="153"/>
                    </a:lnTo>
                    <a:lnTo>
                      <a:pt x="43" y="150"/>
                    </a:lnTo>
                    <a:lnTo>
                      <a:pt x="42" y="149"/>
                    </a:lnTo>
                    <a:lnTo>
                      <a:pt x="43" y="149"/>
                    </a:lnTo>
                    <a:lnTo>
                      <a:pt x="41" y="146"/>
                    </a:lnTo>
                    <a:lnTo>
                      <a:pt x="44" y="143"/>
                    </a:lnTo>
                    <a:lnTo>
                      <a:pt x="42" y="141"/>
                    </a:lnTo>
                    <a:lnTo>
                      <a:pt x="44" y="140"/>
                    </a:lnTo>
                    <a:lnTo>
                      <a:pt x="42" y="138"/>
                    </a:lnTo>
                    <a:lnTo>
                      <a:pt x="43" y="138"/>
                    </a:lnTo>
                    <a:lnTo>
                      <a:pt x="43" y="137"/>
                    </a:lnTo>
                    <a:lnTo>
                      <a:pt x="43" y="133"/>
                    </a:lnTo>
                    <a:lnTo>
                      <a:pt x="42" y="133"/>
                    </a:lnTo>
                    <a:lnTo>
                      <a:pt x="43" y="121"/>
                    </a:lnTo>
                    <a:lnTo>
                      <a:pt x="45" y="121"/>
                    </a:lnTo>
                    <a:lnTo>
                      <a:pt x="44" y="115"/>
                    </a:lnTo>
                    <a:lnTo>
                      <a:pt x="45" y="118"/>
                    </a:lnTo>
                    <a:lnTo>
                      <a:pt x="48" y="118"/>
                    </a:lnTo>
                    <a:lnTo>
                      <a:pt x="48" y="117"/>
                    </a:lnTo>
                    <a:lnTo>
                      <a:pt x="45" y="115"/>
                    </a:lnTo>
                    <a:lnTo>
                      <a:pt x="47" y="109"/>
                    </a:lnTo>
                    <a:lnTo>
                      <a:pt x="48" y="111"/>
                    </a:lnTo>
                    <a:lnTo>
                      <a:pt x="47" y="108"/>
                    </a:lnTo>
                    <a:lnTo>
                      <a:pt x="49" y="107"/>
                    </a:lnTo>
                    <a:lnTo>
                      <a:pt x="49" y="106"/>
                    </a:lnTo>
                    <a:lnTo>
                      <a:pt x="47" y="101"/>
                    </a:lnTo>
                    <a:lnTo>
                      <a:pt x="50" y="103"/>
                    </a:lnTo>
                    <a:lnTo>
                      <a:pt x="48" y="100"/>
                    </a:lnTo>
                    <a:lnTo>
                      <a:pt x="49" y="100"/>
                    </a:lnTo>
                    <a:lnTo>
                      <a:pt x="50" y="100"/>
                    </a:lnTo>
                    <a:lnTo>
                      <a:pt x="49" y="100"/>
                    </a:lnTo>
                    <a:lnTo>
                      <a:pt x="49" y="88"/>
                    </a:lnTo>
                    <a:lnTo>
                      <a:pt x="48" y="89"/>
                    </a:lnTo>
                    <a:lnTo>
                      <a:pt x="45" y="90"/>
                    </a:lnTo>
                    <a:lnTo>
                      <a:pt x="47" y="88"/>
                    </a:lnTo>
                    <a:lnTo>
                      <a:pt x="48" y="87"/>
                    </a:lnTo>
                    <a:lnTo>
                      <a:pt x="50" y="88"/>
                    </a:lnTo>
                    <a:lnTo>
                      <a:pt x="51" y="87"/>
                    </a:lnTo>
                    <a:lnTo>
                      <a:pt x="50" y="84"/>
                    </a:lnTo>
                    <a:lnTo>
                      <a:pt x="51" y="84"/>
                    </a:lnTo>
                    <a:lnTo>
                      <a:pt x="49" y="83"/>
                    </a:lnTo>
                    <a:lnTo>
                      <a:pt x="51" y="82"/>
                    </a:lnTo>
                    <a:lnTo>
                      <a:pt x="49" y="75"/>
                    </a:lnTo>
                    <a:lnTo>
                      <a:pt x="48" y="75"/>
                    </a:lnTo>
                    <a:lnTo>
                      <a:pt x="44" y="73"/>
                    </a:lnTo>
                    <a:lnTo>
                      <a:pt x="49" y="68"/>
                    </a:lnTo>
                    <a:lnTo>
                      <a:pt x="50" y="64"/>
                    </a:lnTo>
                    <a:lnTo>
                      <a:pt x="49" y="65"/>
                    </a:lnTo>
                    <a:lnTo>
                      <a:pt x="50" y="64"/>
                    </a:lnTo>
                    <a:lnTo>
                      <a:pt x="48" y="62"/>
                    </a:lnTo>
                    <a:lnTo>
                      <a:pt x="49" y="59"/>
                    </a:lnTo>
                    <a:lnTo>
                      <a:pt x="50" y="61"/>
                    </a:lnTo>
                    <a:lnTo>
                      <a:pt x="52" y="59"/>
                    </a:lnTo>
                    <a:lnTo>
                      <a:pt x="51" y="57"/>
                    </a:lnTo>
                    <a:lnTo>
                      <a:pt x="49" y="59"/>
                    </a:lnTo>
                    <a:lnTo>
                      <a:pt x="49" y="58"/>
                    </a:lnTo>
                    <a:lnTo>
                      <a:pt x="48" y="57"/>
                    </a:lnTo>
                    <a:lnTo>
                      <a:pt x="52" y="55"/>
                    </a:lnTo>
                    <a:lnTo>
                      <a:pt x="55" y="50"/>
                    </a:lnTo>
                    <a:lnTo>
                      <a:pt x="53" y="50"/>
                    </a:lnTo>
                    <a:lnTo>
                      <a:pt x="53" y="48"/>
                    </a:lnTo>
                    <a:lnTo>
                      <a:pt x="55" y="49"/>
                    </a:lnTo>
                    <a:lnTo>
                      <a:pt x="53" y="46"/>
                    </a:lnTo>
                    <a:lnTo>
                      <a:pt x="56" y="47"/>
                    </a:lnTo>
                    <a:lnTo>
                      <a:pt x="56" y="45"/>
                    </a:lnTo>
                    <a:lnTo>
                      <a:pt x="51" y="46"/>
                    </a:lnTo>
                    <a:lnTo>
                      <a:pt x="55" y="45"/>
                    </a:lnTo>
                    <a:lnTo>
                      <a:pt x="55" y="42"/>
                    </a:lnTo>
                    <a:lnTo>
                      <a:pt x="51" y="42"/>
                    </a:lnTo>
                    <a:lnTo>
                      <a:pt x="51" y="40"/>
                    </a:lnTo>
                    <a:lnTo>
                      <a:pt x="52" y="39"/>
                    </a:lnTo>
                    <a:lnTo>
                      <a:pt x="53" y="40"/>
                    </a:lnTo>
                    <a:lnTo>
                      <a:pt x="52" y="40"/>
                    </a:lnTo>
                    <a:lnTo>
                      <a:pt x="55" y="41"/>
                    </a:lnTo>
                    <a:lnTo>
                      <a:pt x="53" y="40"/>
                    </a:lnTo>
                    <a:lnTo>
                      <a:pt x="55" y="40"/>
                    </a:lnTo>
                    <a:lnTo>
                      <a:pt x="55" y="40"/>
                    </a:lnTo>
                    <a:lnTo>
                      <a:pt x="55" y="38"/>
                    </a:lnTo>
                    <a:lnTo>
                      <a:pt x="53" y="38"/>
                    </a:lnTo>
                    <a:lnTo>
                      <a:pt x="56" y="37"/>
                    </a:lnTo>
                    <a:lnTo>
                      <a:pt x="55" y="36"/>
                    </a:lnTo>
                    <a:lnTo>
                      <a:pt x="55" y="33"/>
                    </a:lnTo>
                    <a:lnTo>
                      <a:pt x="56" y="33"/>
                    </a:lnTo>
                    <a:lnTo>
                      <a:pt x="55" y="31"/>
                    </a:lnTo>
                    <a:lnTo>
                      <a:pt x="53" y="30"/>
                    </a:lnTo>
                    <a:lnTo>
                      <a:pt x="56" y="26"/>
                    </a:lnTo>
                    <a:lnTo>
                      <a:pt x="55" y="23"/>
                    </a:lnTo>
                    <a:lnTo>
                      <a:pt x="59" y="20"/>
                    </a:lnTo>
                    <a:lnTo>
                      <a:pt x="58" y="19"/>
                    </a:lnTo>
                    <a:lnTo>
                      <a:pt x="58" y="15"/>
                    </a:lnTo>
                    <a:lnTo>
                      <a:pt x="59" y="14"/>
                    </a:lnTo>
                    <a:lnTo>
                      <a:pt x="61" y="15"/>
                    </a:lnTo>
                    <a:lnTo>
                      <a:pt x="62" y="13"/>
                    </a:lnTo>
                    <a:lnTo>
                      <a:pt x="68" y="6"/>
                    </a:lnTo>
                    <a:lnTo>
                      <a:pt x="68" y="5"/>
                    </a:lnTo>
                    <a:lnTo>
                      <a:pt x="69" y="6"/>
                    </a:lnTo>
                    <a:lnTo>
                      <a:pt x="70" y="5"/>
                    </a:lnTo>
                    <a:lnTo>
                      <a:pt x="70" y="7"/>
                    </a:lnTo>
                    <a:lnTo>
                      <a:pt x="73" y="5"/>
                    </a:lnTo>
                    <a:lnTo>
                      <a:pt x="74" y="6"/>
                    </a:lnTo>
                    <a:lnTo>
                      <a:pt x="76" y="6"/>
                    </a:lnTo>
                    <a:lnTo>
                      <a:pt x="78" y="7"/>
                    </a:lnTo>
                    <a:lnTo>
                      <a:pt x="81" y="7"/>
                    </a:lnTo>
                    <a:lnTo>
                      <a:pt x="83" y="7"/>
                    </a:lnTo>
                    <a:lnTo>
                      <a:pt x="84" y="6"/>
                    </a:lnTo>
                    <a:lnTo>
                      <a:pt x="85" y="4"/>
                    </a:lnTo>
                    <a:lnTo>
                      <a:pt x="87" y="7"/>
                    </a:lnTo>
                    <a:lnTo>
                      <a:pt x="89" y="5"/>
                    </a:lnTo>
                    <a:lnTo>
                      <a:pt x="90" y="6"/>
                    </a:lnTo>
                    <a:lnTo>
                      <a:pt x="100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E20074"/>
                  </a:buClr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0" cap="none" spc="0" normalizeH="0" baseline="0" noProof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57" name="Freeform 130"/>
              <p:cNvSpPr>
                <a:spLocks/>
              </p:cNvSpPr>
              <p:nvPr/>
            </p:nvSpPr>
            <p:spPr bwMode="auto">
              <a:xfrm>
                <a:off x="11358564" y="515939"/>
                <a:ext cx="185738" cy="836613"/>
              </a:xfrm>
              <a:custGeom>
                <a:avLst/>
                <a:gdLst>
                  <a:gd name="T0" fmla="*/ 4 w 117"/>
                  <a:gd name="T1" fmla="*/ 5 h 527"/>
                  <a:gd name="T2" fmla="*/ 7 w 117"/>
                  <a:gd name="T3" fmla="*/ 5 h 527"/>
                  <a:gd name="T4" fmla="*/ 10 w 117"/>
                  <a:gd name="T5" fmla="*/ 7 h 527"/>
                  <a:gd name="T6" fmla="*/ 14 w 117"/>
                  <a:gd name="T7" fmla="*/ 5 h 527"/>
                  <a:gd name="T8" fmla="*/ 18 w 117"/>
                  <a:gd name="T9" fmla="*/ 5 h 527"/>
                  <a:gd name="T10" fmla="*/ 23 w 117"/>
                  <a:gd name="T11" fmla="*/ 5 h 527"/>
                  <a:gd name="T12" fmla="*/ 24 w 117"/>
                  <a:gd name="T13" fmla="*/ 6 h 527"/>
                  <a:gd name="T14" fmla="*/ 29 w 117"/>
                  <a:gd name="T15" fmla="*/ 7 h 527"/>
                  <a:gd name="T16" fmla="*/ 32 w 117"/>
                  <a:gd name="T17" fmla="*/ 7 h 527"/>
                  <a:gd name="T18" fmla="*/ 40 w 117"/>
                  <a:gd name="T19" fmla="*/ 6 h 527"/>
                  <a:gd name="T20" fmla="*/ 47 w 117"/>
                  <a:gd name="T21" fmla="*/ 10 h 527"/>
                  <a:gd name="T22" fmla="*/ 56 w 117"/>
                  <a:gd name="T23" fmla="*/ 12 h 527"/>
                  <a:gd name="T24" fmla="*/ 66 w 117"/>
                  <a:gd name="T25" fmla="*/ 15 h 527"/>
                  <a:gd name="T26" fmla="*/ 72 w 117"/>
                  <a:gd name="T27" fmla="*/ 17 h 527"/>
                  <a:gd name="T28" fmla="*/ 73 w 117"/>
                  <a:gd name="T29" fmla="*/ 18 h 527"/>
                  <a:gd name="T30" fmla="*/ 75 w 117"/>
                  <a:gd name="T31" fmla="*/ 18 h 527"/>
                  <a:gd name="T32" fmla="*/ 81 w 117"/>
                  <a:gd name="T33" fmla="*/ 17 h 527"/>
                  <a:gd name="T34" fmla="*/ 85 w 117"/>
                  <a:gd name="T35" fmla="*/ 14 h 527"/>
                  <a:gd name="T36" fmla="*/ 91 w 117"/>
                  <a:gd name="T37" fmla="*/ 16 h 527"/>
                  <a:gd name="T38" fmla="*/ 103 w 117"/>
                  <a:gd name="T39" fmla="*/ 19 h 527"/>
                  <a:gd name="T40" fmla="*/ 111 w 117"/>
                  <a:gd name="T41" fmla="*/ 24 h 527"/>
                  <a:gd name="T42" fmla="*/ 117 w 117"/>
                  <a:gd name="T43" fmla="*/ 23 h 527"/>
                  <a:gd name="T44" fmla="*/ 117 w 117"/>
                  <a:gd name="T45" fmla="*/ 519 h 527"/>
                  <a:gd name="T46" fmla="*/ 116 w 117"/>
                  <a:gd name="T47" fmla="*/ 522 h 527"/>
                  <a:gd name="T48" fmla="*/ 111 w 117"/>
                  <a:gd name="T49" fmla="*/ 519 h 527"/>
                  <a:gd name="T50" fmla="*/ 105 w 117"/>
                  <a:gd name="T51" fmla="*/ 517 h 527"/>
                  <a:gd name="T52" fmla="*/ 100 w 117"/>
                  <a:gd name="T53" fmla="*/ 517 h 527"/>
                  <a:gd name="T54" fmla="*/ 91 w 117"/>
                  <a:gd name="T55" fmla="*/ 516 h 527"/>
                  <a:gd name="T56" fmla="*/ 84 w 117"/>
                  <a:gd name="T57" fmla="*/ 517 h 527"/>
                  <a:gd name="T58" fmla="*/ 78 w 117"/>
                  <a:gd name="T59" fmla="*/ 520 h 527"/>
                  <a:gd name="T60" fmla="*/ 77 w 117"/>
                  <a:gd name="T61" fmla="*/ 521 h 527"/>
                  <a:gd name="T62" fmla="*/ 76 w 117"/>
                  <a:gd name="T63" fmla="*/ 527 h 527"/>
                  <a:gd name="T64" fmla="*/ 66 w 117"/>
                  <a:gd name="T65" fmla="*/ 519 h 527"/>
                  <a:gd name="T66" fmla="*/ 61 w 117"/>
                  <a:gd name="T67" fmla="*/ 517 h 527"/>
                  <a:gd name="T68" fmla="*/ 60 w 117"/>
                  <a:gd name="T69" fmla="*/ 514 h 527"/>
                  <a:gd name="T70" fmla="*/ 57 w 117"/>
                  <a:gd name="T71" fmla="*/ 518 h 527"/>
                  <a:gd name="T72" fmla="*/ 54 w 117"/>
                  <a:gd name="T73" fmla="*/ 512 h 527"/>
                  <a:gd name="T74" fmla="*/ 51 w 117"/>
                  <a:gd name="T75" fmla="*/ 513 h 527"/>
                  <a:gd name="T76" fmla="*/ 50 w 117"/>
                  <a:gd name="T77" fmla="*/ 511 h 527"/>
                  <a:gd name="T78" fmla="*/ 50 w 117"/>
                  <a:gd name="T79" fmla="*/ 514 h 527"/>
                  <a:gd name="T80" fmla="*/ 49 w 117"/>
                  <a:gd name="T81" fmla="*/ 516 h 527"/>
                  <a:gd name="T82" fmla="*/ 47 w 117"/>
                  <a:gd name="T83" fmla="*/ 514 h 527"/>
                  <a:gd name="T84" fmla="*/ 42 w 117"/>
                  <a:gd name="T85" fmla="*/ 510 h 527"/>
                  <a:gd name="T86" fmla="*/ 42 w 117"/>
                  <a:gd name="T87" fmla="*/ 514 h 527"/>
                  <a:gd name="T88" fmla="*/ 39 w 117"/>
                  <a:gd name="T89" fmla="*/ 517 h 527"/>
                  <a:gd name="T90" fmla="*/ 35 w 117"/>
                  <a:gd name="T91" fmla="*/ 511 h 527"/>
                  <a:gd name="T92" fmla="*/ 33 w 117"/>
                  <a:gd name="T93" fmla="*/ 510 h 527"/>
                  <a:gd name="T94" fmla="*/ 30 w 117"/>
                  <a:gd name="T95" fmla="*/ 512 h 527"/>
                  <a:gd name="T96" fmla="*/ 17 w 117"/>
                  <a:gd name="T97" fmla="*/ 512 h 527"/>
                  <a:gd name="T98" fmla="*/ 10 w 117"/>
                  <a:gd name="T99" fmla="*/ 507 h 527"/>
                  <a:gd name="T100" fmla="*/ 2 w 117"/>
                  <a:gd name="T101" fmla="*/ 509 h 5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17" h="527">
                    <a:moveTo>
                      <a:pt x="0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4" y="5"/>
                    </a:lnTo>
                    <a:lnTo>
                      <a:pt x="4" y="0"/>
                    </a:lnTo>
                    <a:lnTo>
                      <a:pt x="6" y="3"/>
                    </a:lnTo>
                    <a:lnTo>
                      <a:pt x="6" y="0"/>
                    </a:lnTo>
                    <a:lnTo>
                      <a:pt x="7" y="5"/>
                    </a:lnTo>
                    <a:lnTo>
                      <a:pt x="7" y="0"/>
                    </a:lnTo>
                    <a:lnTo>
                      <a:pt x="9" y="6"/>
                    </a:lnTo>
                    <a:lnTo>
                      <a:pt x="11" y="5"/>
                    </a:lnTo>
                    <a:lnTo>
                      <a:pt x="10" y="7"/>
                    </a:lnTo>
                    <a:lnTo>
                      <a:pt x="13" y="8"/>
                    </a:lnTo>
                    <a:lnTo>
                      <a:pt x="13" y="6"/>
                    </a:lnTo>
                    <a:lnTo>
                      <a:pt x="13" y="5"/>
                    </a:lnTo>
                    <a:lnTo>
                      <a:pt x="14" y="5"/>
                    </a:lnTo>
                    <a:lnTo>
                      <a:pt x="13" y="1"/>
                    </a:lnTo>
                    <a:lnTo>
                      <a:pt x="16" y="2"/>
                    </a:lnTo>
                    <a:lnTo>
                      <a:pt x="16" y="3"/>
                    </a:lnTo>
                    <a:lnTo>
                      <a:pt x="18" y="5"/>
                    </a:lnTo>
                    <a:lnTo>
                      <a:pt x="18" y="0"/>
                    </a:lnTo>
                    <a:lnTo>
                      <a:pt x="19" y="5"/>
                    </a:lnTo>
                    <a:lnTo>
                      <a:pt x="23" y="2"/>
                    </a:lnTo>
                    <a:lnTo>
                      <a:pt x="23" y="5"/>
                    </a:lnTo>
                    <a:lnTo>
                      <a:pt x="25" y="3"/>
                    </a:lnTo>
                    <a:lnTo>
                      <a:pt x="24" y="6"/>
                    </a:lnTo>
                    <a:lnTo>
                      <a:pt x="24" y="5"/>
                    </a:lnTo>
                    <a:lnTo>
                      <a:pt x="24" y="6"/>
                    </a:lnTo>
                    <a:lnTo>
                      <a:pt x="26" y="5"/>
                    </a:lnTo>
                    <a:lnTo>
                      <a:pt x="26" y="5"/>
                    </a:lnTo>
                    <a:lnTo>
                      <a:pt x="29" y="7"/>
                    </a:lnTo>
                    <a:lnTo>
                      <a:pt x="29" y="7"/>
                    </a:lnTo>
                    <a:lnTo>
                      <a:pt x="30" y="8"/>
                    </a:lnTo>
                    <a:lnTo>
                      <a:pt x="31" y="7"/>
                    </a:lnTo>
                    <a:lnTo>
                      <a:pt x="31" y="10"/>
                    </a:lnTo>
                    <a:lnTo>
                      <a:pt x="32" y="7"/>
                    </a:lnTo>
                    <a:lnTo>
                      <a:pt x="33" y="8"/>
                    </a:lnTo>
                    <a:lnTo>
                      <a:pt x="34" y="6"/>
                    </a:lnTo>
                    <a:lnTo>
                      <a:pt x="34" y="8"/>
                    </a:lnTo>
                    <a:lnTo>
                      <a:pt x="40" y="6"/>
                    </a:lnTo>
                    <a:lnTo>
                      <a:pt x="39" y="7"/>
                    </a:lnTo>
                    <a:lnTo>
                      <a:pt x="43" y="9"/>
                    </a:lnTo>
                    <a:lnTo>
                      <a:pt x="47" y="8"/>
                    </a:lnTo>
                    <a:lnTo>
                      <a:pt x="47" y="10"/>
                    </a:lnTo>
                    <a:lnTo>
                      <a:pt x="51" y="12"/>
                    </a:lnTo>
                    <a:lnTo>
                      <a:pt x="52" y="9"/>
                    </a:lnTo>
                    <a:lnTo>
                      <a:pt x="54" y="14"/>
                    </a:lnTo>
                    <a:lnTo>
                      <a:pt x="56" y="12"/>
                    </a:lnTo>
                    <a:lnTo>
                      <a:pt x="64" y="15"/>
                    </a:lnTo>
                    <a:lnTo>
                      <a:pt x="64" y="17"/>
                    </a:lnTo>
                    <a:lnTo>
                      <a:pt x="66" y="17"/>
                    </a:lnTo>
                    <a:lnTo>
                      <a:pt x="66" y="15"/>
                    </a:lnTo>
                    <a:lnTo>
                      <a:pt x="67" y="16"/>
                    </a:lnTo>
                    <a:lnTo>
                      <a:pt x="67" y="17"/>
                    </a:lnTo>
                    <a:lnTo>
                      <a:pt x="68" y="17"/>
                    </a:lnTo>
                    <a:lnTo>
                      <a:pt x="72" y="17"/>
                    </a:lnTo>
                    <a:lnTo>
                      <a:pt x="71" y="19"/>
                    </a:lnTo>
                    <a:lnTo>
                      <a:pt x="73" y="18"/>
                    </a:lnTo>
                    <a:lnTo>
                      <a:pt x="73" y="17"/>
                    </a:lnTo>
                    <a:lnTo>
                      <a:pt x="73" y="18"/>
                    </a:lnTo>
                    <a:lnTo>
                      <a:pt x="75" y="17"/>
                    </a:lnTo>
                    <a:lnTo>
                      <a:pt x="75" y="12"/>
                    </a:lnTo>
                    <a:lnTo>
                      <a:pt x="75" y="16"/>
                    </a:lnTo>
                    <a:lnTo>
                      <a:pt x="75" y="18"/>
                    </a:lnTo>
                    <a:lnTo>
                      <a:pt x="77" y="17"/>
                    </a:lnTo>
                    <a:lnTo>
                      <a:pt x="80" y="19"/>
                    </a:lnTo>
                    <a:lnTo>
                      <a:pt x="81" y="20"/>
                    </a:lnTo>
                    <a:lnTo>
                      <a:pt x="81" y="17"/>
                    </a:lnTo>
                    <a:lnTo>
                      <a:pt x="82" y="19"/>
                    </a:lnTo>
                    <a:lnTo>
                      <a:pt x="85" y="18"/>
                    </a:lnTo>
                    <a:lnTo>
                      <a:pt x="88" y="18"/>
                    </a:lnTo>
                    <a:lnTo>
                      <a:pt x="85" y="14"/>
                    </a:lnTo>
                    <a:lnTo>
                      <a:pt x="89" y="17"/>
                    </a:lnTo>
                    <a:lnTo>
                      <a:pt x="89" y="16"/>
                    </a:lnTo>
                    <a:lnTo>
                      <a:pt x="91" y="18"/>
                    </a:lnTo>
                    <a:lnTo>
                      <a:pt x="91" y="16"/>
                    </a:lnTo>
                    <a:lnTo>
                      <a:pt x="93" y="15"/>
                    </a:lnTo>
                    <a:lnTo>
                      <a:pt x="98" y="17"/>
                    </a:lnTo>
                    <a:lnTo>
                      <a:pt x="102" y="23"/>
                    </a:lnTo>
                    <a:lnTo>
                      <a:pt x="103" y="19"/>
                    </a:lnTo>
                    <a:lnTo>
                      <a:pt x="106" y="22"/>
                    </a:lnTo>
                    <a:lnTo>
                      <a:pt x="108" y="22"/>
                    </a:lnTo>
                    <a:lnTo>
                      <a:pt x="109" y="20"/>
                    </a:lnTo>
                    <a:lnTo>
                      <a:pt x="111" y="24"/>
                    </a:lnTo>
                    <a:lnTo>
                      <a:pt x="113" y="22"/>
                    </a:lnTo>
                    <a:lnTo>
                      <a:pt x="115" y="25"/>
                    </a:lnTo>
                    <a:lnTo>
                      <a:pt x="115" y="23"/>
                    </a:lnTo>
                    <a:lnTo>
                      <a:pt x="117" y="23"/>
                    </a:lnTo>
                    <a:lnTo>
                      <a:pt x="117" y="24"/>
                    </a:lnTo>
                    <a:lnTo>
                      <a:pt x="117" y="24"/>
                    </a:lnTo>
                    <a:lnTo>
                      <a:pt x="117" y="520"/>
                    </a:lnTo>
                    <a:lnTo>
                      <a:pt x="117" y="519"/>
                    </a:lnTo>
                    <a:lnTo>
                      <a:pt x="117" y="522"/>
                    </a:lnTo>
                    <a:lnTo>
                      <a:pt x="116" y="519"/>
                    </a:lnTo>
                    <a:lnTo>
                      <a:pt x="115" y="519"/>
                    </a:lnTo>
                    <a:lnTo>
                      <a:pt x="116" y="522"/>
                    </a:lnTo>
                    <a:lnTo>
                      <a:pt x="115" y="520"/>
                    </a:lnTo>
                    <a:lnTo>
                      <a:pt x="114" y="520"/>
                    </a:lnTo>
                    <a:lnTo>
                      <a:pt x="113" y="521"/>
                    </a:lnTo>
                    <a:lnTo>
                      <a:pt x="111" y="519"/>
                    </a:lnTo>
                    <a:lnTo>
                      <a:pt x="109" y="520"/>
                    </a:lnTo>
                    <a:lnTo>
                      <a:pt x="107" y="518"/>
                    </a:lnTo>
                    <a:lnTo>
                      <a:pt x="106" y="520"/>
                    </a:lnTo>
                    <a:lnTo>
                      <a:pt x="105" y="517"/>
                    </a:lnTo>
                    <a:lnTo>
                      <a:pt x="102" y="517"/>
                    </a:lnTo>
                    <a:lnTo>
                      <a:pt x="102" y="519"/>
                    </a:lnTo>
                    <a:lnTo>
                      <a:pt x="100" y="517"/>
                    </a:lnTo>
                    <a:lnTo>
                      <a:pt x="100" y="517"/>
                    </a:lnTo>
                    <a:lnTo>
                      <a:pt x="99" y="517"/>
                    </a:lnTo>
                    <a:lnTo>
                      <a:pt x="98" y="519"/>
                    </a:lnTo>
                    <a:lnTo>
                      <a:pt x="98" y="517"/>
                    </a:lnTo>
                    <a:lnTo>
                      <a:pt x="91" y="516"/>
                    </a:lnTo>
                    <a:lnTo>
                      <a:pt x="90" y="521"/>
                    </a:lnTo>
                    <a:lnTo>
                      <a:pt x="89" y="517"/>
                    </a:lnTo>
                    <a:lnTo>
                      <a:pt x="88" y="518"/>
                    </a:lnTo>
                    <a:lnTo>
                      <a:pt x="84" y="517"/>
                    </a:lnTo>
                    <a:lnTo>
                      <a:pt x="83" y="519"/>
                    </a:lnTo>
                    <a:lnTo>
                      <a:pt x="80" y="519"/>
                    </a:lnTo>
                    <a:lnTo>
                      <a:pt x="80" y="520"/>
                    </a:lnTo>
                    <a:lnTo>
                      <a:pt x="78" y="520"/>
                    </a:lnTo>
                    <a:lnTo>
                      <a:pt x="78" y="520"/>
                    </a:lnTo>
                    <a:lnTo>
                      <a:pt x="77" y="520"/>
                    </a:lnTo>
                    <a:lnTo>
                      <a:pt x="78" y="522"/>
                    </a:lnTo>
                    <a:lnTo>
                      <a:pt x="77" y="521"/>
                    </a:lnTo>
                    <a:lnTo>
                      <a:pt x="76" y="521"/>
                    </a:lnTo>
                    <a:lnTo>
                      <a:pt x="75" y="524"/>
                    </a:lnTo>
                    <a:lnTo>
                      <a:pt x="76" y="524"/>
                    </a:lnTo>
                    <a:lnTo>
                      <a:pt x="76" y="527"/>
                    </a:lnTo>
                    <a:lnTo>
                      <a:pt x="75" y="522"/>
                    </a:lnTo>
                    <a:lnTo>
                      <a:pt x="72" y="522"/>
                    </a:lnTo>
                    <a:lnTo>
                      <a:pt x="73" y="524"/>
                    </a:lnTo>
                    <a:lnTo>
                      <a:pt x="66" y="519"/>
                    </a:lnTo>
                    <a:lnTo>
                      <a:pt x="66" y="516"/>
                    </a:lnTo>
                    <a:lnTo>
                      <a:pt x="65" y="518"/>
                    </a:lnTo>
                    <a:lnTo>
                      <a:pt x="63" y="514"/>
                    </a:lnTo>
                    <a:lnTo>
                      <a:pt x="61" y="517"/>
                    </a:lnTo>
                    <a:lnTo>
                      <a:pt x="60" y="517"/>
                    </a:lnTo>
                    <a:lnTo>
                      <a:pt x="61" y="514"/>
                    </a:lnTo>
                    <a:lnTo>
                      <a:pt x="60" y="516"/>
                    </a:lnTo>
                    <a:lnTo>
                      <a:pt x="60" y="514"/>
                    </a:lnTo>
                    <a:lnTo>
                      <a:pt x="59" y="514"/>
                    </a:lnTo>
                    <a:lnTo>
                      <a:pt x="60" y="519"/>
                    </a:lnTo>
                    <a:lnTo>
                      <a:pt x="57" y="516"/>
                    </a:lnTo>
                    <a:lnTo>
                      <a:pt x="57" y="518"/>
                    </a:lnTo>
                    <a:lnTo>
                      <a:pt x="57" y="518"/>
                    </a:lnTo>
                    <a:lnTo>
                      <a:pt x="56" y="516"/>
                    </a:lnTo>
                    <a:lnTo>
                      <a:pt x="56" y="516"/>
                    </a:lnTo>
                    <a:lnTo>
                      <a:pt x="54" y="512"/>
                    </a:lnTo>
                    <a:lnTo>
                      <a:pt x="56" y="516"/>
                    </a:lnTo>
                    <a:lnTo>
                      <a:pt x="55" y="517"/>
                    </a:lnTo>
                    <a:lnTo>
                      <a:pt x="54" y="513"/>
                    </a:lnTo>
                    <a:lnTo>
                      <a:pt x="51" y="513"/>
                    </a:lnTo>
                    <a:lnTo>
                      <a:pt x="51" y="512"/>
                    </a:lnTo>
                    <a:lnTo>
                      <a:pt x="51" y="512"/>
                    </a:lnTo>
                    <a:lnTo>
                      <a:pt x="51" y="512"/>
                    </a:lnTo>
                    <a:lnTo>
                      <a:pt x="50" y="511"/>
                    </a:lnTo>
                    <a:lnTo>
                      <a:pt x="50" y="511"/>
                    </a:lnTo>
                    <a:lnTo>
                      <a:pt x="51" y="512"/>
                    </a:lnTo>
                    <a:lnTo>
                      <a:pt x="51" y="512"/>
                    </a:lnTo>
                    <a:lnTo>
                      <a:pt x="50" y="514"/>
                    </a:lnTo>
                    <a:lnTo>
                      <a:pt x="48" y="510"/>
                    </a:lnTo>
                    <a:lnTo>
                      <a:pt x="48" y="512"/>
                    </a:lnTo>
                    <a:lnTo>
                      <a:pt x="47" y="510"/>
                    </a:lnTo>
                    <a:lnTo>
                      <a:pt x="49" y="516"/>
                    </a:lnTo>
                    <a:lnTo>
                      <a:pt x="49" y="513"/>
                    </a:lnTo>
                    <a:lnTo>
                      <a:pt x="50" y="519"/>
                    </a:lnTo>
                    <a:lnTo>
                      <a:pt x="47" y="512"/>
                    </a:lnTo>
                    <a:lnTo>
                      <a:pt x="47" y="514"/>
                    </a:lnTo>
                    <a:lnTo>
                      <a:pt x="44" y="513"/>
                    </a:lnTo>
                    <a:lnTo>
                      <a:pt x="44" y="512"/>
                    </a:lnTo>
                    <a:lnTo>
                      <a:pt x="42" y="512"/>
                    </a:lnTo>
                    <a:lnTo>
                      <a:pt x="42" y="510"/>
                    </a:lnTo>
                    <a:lnTo>
                      <a:pt x="41" y="512"/>
                    </a:lnTo>
                    <a:lnTo>
                      <a:pt x="43" y="514"/>
                    </a:lnTo>
                    <a:lnTo>
                      <a:pt x="40" y="514"/>
                    </a:lnTo>
                    <a:lnTo>
                      <a:pt x="42" y="514"/>
                    </a:lnTo>
                    <a:lnTo>
                      <a:pt x="40" y="512"/>
                    </a:lnTo>
                    <a:lnTo>
                      <a:pt x="40" y="517"/>
                    </a:lnTo>
                    <a:lnTo>
                      <a:pt x="39" y="514"/>
                    </a:lnTo>
                    <a:lnTo>
                      <a:pt x="39" y="517"/>
                    </a:lnTo>
                    <a:lnTo>
                      <a:pt x="36" y="517"/>
                    </a:lnTo>
                    <a:lnTo>
                      <a:pt x="35" y="513"/>
                    </a:lnTo>
                    <a:lnTo>
                      <a:pt x="35" y="513"/>
                    </a:lnTo>
                    <a:lnTo>
                      <a:pt x="35" y="511"/>
                    </a:lnTo>
                    <a:lnTo>
                      <a:pt x="35" y="513"/>
                    </a:lnTo>
                    <a:lnTo>
                      <a:pt x="34" y="514"/>
                    </a:lnTo>
                    <a:lnTo>
                      <a:pt x="34" y="510"/>
                    </a:lnTo>
                    <a:lnTo>
                      <a:pt x="33" y="510"/>
                    </a:lnTo>
                    <a:lnTo>
                      <a:pt x="33" y="512"/>
                    </a:lnTo>
                    <a:lnTo>
                      <a:pt x="31" y="511"/>
                    </a:lnTo>
                    <a:lnTo>
                      <a:pt x="32" y="516"/>
                    </a:lnTo>
                    <a:lnTo>
                      <a:pt x="30" y="512"/>
                    </a:lnTo>
                    <a:lnTo>
                      <a:pt x="27" y="513"/>
                    </a:lnTo>
                    <a:lnTo>
                      <a:pt x="30" y="517"/>
                    </a:lnTo>
                    <a:lnTo>
                      <a:pt x="19" y="510"/>
                    </a:lnTo>
                    <a:lnTo>
                      <a:pt x="17" y="512"/>
                    </a:lnTo>
                    <a:lnTo>
                      <a:pt x="15" y="509"/>
                    </a:lnTo>
                    <a:lnTo>
                      <a:pt x="14" y="509"/>
                    </a:lnTo>
                    <a:lnTo>
                      <a:pt x="13" y="508"/>
                    </a:lnTo>
                    <a:lnTo>
                      <a:pt x="10" y="507"/>
                    </a:lnTo>
                    <a:lnTo>
                      <a:pt x="9" y="508"/>
                    </a:lnTo>
                    <a:lnTo>
                      <a:pt x="6" y="505"/>
                    </a:lnTo>
                    <a:lnTo>
                      <a:pt x="5" y="510"/>
                    </a:lnTo>
                    <a:lnTo>
                      <a:pt x="2" y="509"/>
                    </a:lnTo>
                    <a:lnTo>
                      <a:pt x="0" y="510"/>
                    </a:lnTo>
                    <a:lnTo>
                      <a:pt x="0" y="508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E20074"/>
                  </a:buClr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0" cap="none" spc="0" normalizeH="0" baseline="0" noProof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3" name="Freeform 131"/>
              <p:cNvSpPr>
                <a:spLocks noEditPoints="1"/>
              </p:cNvSpPr>
              <p:nvPr/>
            </p:nvSpPr>
            <p:spPr bwMode="auto">
              <a:xfrm>
                <a:off x="11544301" y="546101"/>
                <a:ext cx="187325" cy="817563"/>
              </a:xfrm>
              <a:custGeom>
                <a:avLst/>
                <a:gdLst>
                  <a:gd name="T0" fmla="*/ 86 w 118"/>
                  <a:gd name="T1" fmla="*/ 15 h 515"/>
                  <a:gd name="T2" fmla="*/ 94 w 118"/>
                  <a:gd name="T3" fmla="*/ 0 h 515"/>
                  <a:gd name="T4" fmla="*/ 105 w 118"/>
                  <a:gd name="T5" fmla="*/ 4 h 515"/>
                  <a:gd name="T6" fmla="*/ 108 w 118"/>
                  <a:gd name="T7" fmla="*/ 5 h 515"/>
                  <a:gd name="T8" fmla="*/ 111 w 118"/>
                  <a:gd name="T9" fmla="*/ 5 h 515"/>
                  <a:gd name="T10" fmla="*/ 118 w 118"/>
                  <a:gd name="T11" fmla="*/ 515 h 515"/>
                  <a:gd name="T12" fmla="*/ 115 w 118"/>
                  <a:gd name="T13" fmla="*/ 510 h 515"/>
                  <a:gd name="T14" fmla="*/ 110 w 118"/>
                  <a:gd name="T15" fmla="*/ 510 h 515"/>
                  <a:gd name="T16" fmla="*/ 103 w 118"/>
                  <a:gd name="T17" fmla="*/ 501 h 515"/>
                  <a:gd name="T18" fmla="*/ 101 w 118"/>
                  <a:gd name="T19" fmla="*/ 499 h 515"/>
                  <a:gd name="T20" fmla="*/ 97 w 118"/>
                  <a:gd name="T21" fmla="*/ 499 h 515"/>
                  <a:gd name="T22" fmla="*/ 92 w 118"/>
                  <a:gd name="T23" fmla="*/ 499 h 515"/>
                  <a:gd name="T24" fmla="*/ 89 w 118"/>
                  <a:gd name="T25" fmla="*/ 500 h 515"/>
                  <a:gd name="T26" fmla="*/ 84 w 118"/>
                  <a:gd name="T27" fmla="*/ 503 h 515"/>
                  <a:gd name="T28" fmla="*/ 81 w 118"/>
                  <a:gd name="T29" fmla="*/ 502 h 515"/>
                  <a:gd name="T30" fmla="*/ 76 w 118"/>
                  <a:gd name="T31" fmla="*/ 501 h 515"/>
                  <a:gd name="T32" fmla="*/ 75 w 118"/>
                  <a:gd name="T33" fmla="*/ 502 h 515"/>
                  <a:gd name="T34" fmla="*/ 73 w 118"/>
                  <a:gd name="T35" fmla="*/ 509 h 515"/>
                  <a:gd name="T36" fmla="*/ 69 w 118"/>
                  <a:gd name="T37" fmla="*/ 502 h 515"/>
                  <a:gd name="T38" fmla="*/ 66 w 118"/>
                  <a:gd name="T39" fmla="*/ 503 h 515"/>
                  <a:gd name="T40" fmla="*/ 59 w 118"/>
                  <a:gd name="T41" fmla="*/ 502 h 515"/>
                  <a:gd name="T42" fmla="*/ 55 w 118"/>
                  <a:gd name="T43" fmla="*/ 500 h 515"/>
                  <a:gd name="T44" fmla="*/ 50 w 118"/>
                  <a:gd name="T45" fmla="*/ 501 h 515"/>
                  <a:gd name="T46" fmla="*/ 49 w 118"/>
                  <a:gd name="T47" fmla="*/ 501 h 515"/>
                  <a:gd name="T48" fmla="*/ 46 w 118"/>
                  <a:gd name="T49" fmla="*/ 497 h 515"/>
                  <a:gd name="T50" fmla="*/ 42 w 118"/>
                  <a:gd name="T51" fmla="*/ 500 h 515"/>
                  <a:gd name="T52" fmla="*/ 38 w 118"/>
                  <a:gd name="T53" fmla="*/ 499 h 515"/>
                  <a:gd name="T54" fmla="*/ 32 w 118"/>
                  <a:gd name="T55" fmla="*/ 502 h 515"/>
                  <a:gd name="T56" fmla="*/ 24 w 118"/>
                  <a:gd name="T57" fmla="*/ 506 h 515"/>
                  <a:gd name="T58" fmla="*/ 21 w 118"/>
                  <a:gd name="T59" fmla="*/ 506 h 515"/>
                  <a:gd name="T60" fmla="*/ 18 w 118"/>
                  <a:gd name="T61" fmla="*/ 507 h 515"/>
                  <a:gd name="T62" fmla="*/ 16 w 118"/>
                  <a:gd name="T63" fmla="*/ 509 h 515"/>
                  <a:gd name="T64" fmla="*/ 11 w 118"/>
                  <a:gd name="T65" fmla="*/ 506 h 515"/>
                  <a:gd name="T66" fmla="*/ 8 w 118"/>
                  <a:gd name="T67" fmla="*/ 505 h 515"/>
                  <a:gd name="T68" fmla="*/ 4 w 118"/>
                  <a:gd name="T69" fmla="*/ 500 h 515"/>
                  <a:gd name="T70" fmla="*/ 4 w 118"/>
                  <a:gd name="T71" fmla="*/ 3 h 515"/>
                  <a:gd name="T72" fmla="*/ 9 w 118"/>
                  <a:gd name="T73" fmla="*/ 5 h 515"/>
                  <a:gd name="T74" fmla="*/ 13 w 118"/>
                  <a:gd name="T75" fmla="*/ 8 h 515"/>
                  <a:gd name="T76" fmla="*/ 16 w 118"/>
                  <a:gd name="T77" fmla="*/ 10 h 515"/>
                  <a:gd name="T78" fmla="*/ 19 w 118"/>
                  <a:gd name="T79" fmla="*/ 9 h 515"/>
                  <a:gd name="T80" fmla="*/ 22 w 118"/>
                  <a:gd name="T81" fmla="*/ 9 h 515"/>
                  <a:gd name="T82" fmla="*/ 25 w 118"/>
                  <a:gd name="T83" fmla="*/ 8 h 515"/>
                  <a:gd name="T84" fmla="*/ 28 w 118"/>
                  <a:gd name="T85" fmla="*/ 5 h 515"/>
                  <a:gd name="T86" fmla="*/ 32 w 118"/>
                  <a:gd name="T87" fmla="*/ 5 h 515"/>
                  <a:gd name="T88" fmla="*/ 36 w 118"/>
                  <a:gd name="T89" fmla="*/ 6 h 515"/>
                  <a:gd name="T90" fmla="*/ 40 w 118"/>
                  <a:gd name="T91" fmla="*/ 5 h 515"/>
                  <a:gd name="T92" fmla="*/ 50 w 118"/>
                  <a:gd name="T93" fmla="*/ 6 h 515"/>
                  <a:gd name="T94" fmla="*/ 57 w 118"/>
                  <a:gd name="T95" fmla="*/ 8 h 515"/>
                  <a:gd name="T96" fmla="*/ 58 w 118"/>
                  <a:gd name="T97" fmla="*/ 8 h 515"/>
                  <a:gd name="T98" fmla="*/ 61 w 118"/>
                  <a:gd name="T99" fmla="*/ 8 h 515"/>
                  <a:gd name="T100" fmla="*/ 68 w 118"/>
                  <a:gd name="T101" fmla="*/ 9 h 515"/>
                  <a:gd name="T102" fmla="*/ 75 w 118"/>
                  <a:gd name="T103" fmla="*/ 5 h 515"/>
                  <a:gd name="T104" fmla="*/ 84 w 118"/>
                  <a:gd name="T105" fmla="*/ 13 h 515"/>
                  <a:gd name="T106" fmla="*/ 86 w 118"/>
                  <a:gd name="T107" fmla="*/ 15 h 515"/>
                  <a:gd name="T108" fmla="*/ 89 w 118"/>
                  <a:gd name="T109" fmla="*/ 14 h 515"/>
                  <a:gd name="T110" fmla="*/ 91 w 118"/>
                  <a:gd name="T111" fmla="*/ 15 h 515"/>
                  <a:gd name="T112" fmla="*/ 94 w 118"/>
                  <a:gd name="T113" fmla="*/ 13 h 515"/>
                  <a:gd name="T114" fmla="*/ 96 w 118"/>
                  <a:gd name="T115" fmla="*/ 10 h 515"/>
                  <a:gd name="T116" fmla="*/ 97 w 118"/>
                  <a:gd name="T117" fmla="*/ 9 h 515"/>
                  <a:gd name="T118" fmla="*/ 100 w 118"/>
                  <a:gd name="T119" fmla="*/ 6 h 515"/>
                  <a:gd name="T120" fmla="*/ 99 w 118"/>
                  <a:gd name="T121" fmla="*/ 5 h 5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18" h="515">
                    <a:moveTo>
                      <a:pt x="88" y="13"/>
                    </a:moveTo>
                    <a:lnTo>
                      <a:pt x="88" y="13"/>
                    </a:lnTo>
                    <a:lnTo>
                      <a:pt x="86" y="14"/>
                    </a:lnTo>
                    <a:lnTo>
                      <a:pt x="86" y="15"/>
                    </a:lnTo>
                    <a:lnTo>
                      <a:pt x="86" y="15"/>
                    </a:lnTo>
                    <a:lnTo>
                      <a:pt x="86" y="14"/>
                    </a:lnTo>
                    <a:lnTo>
                      <a:pt x="88" y="13"/>
                    </a:lnTo>
                    <a:close/>
                    <a:moveTo>
                      <a:pt x="94" y="0"/>
                    </a:moveTo>
                    <a:lnTo>
                      <a:pt x="100" y="5"/>
                    </a:lnTo>
                    <a:lnTo>
                      <a:pt x="102" y="6"/>
                    </a:lnTo>
                    <a:lnTo>
                      <a:pt x="106" y="5"/>
                    </a:lnTo>
                    <a:lnTo>
                      <a:pt x="105" y="4"/>
                    </a:lnTo>
                    <a:lnTo>
                      <a:pt x="106" y="5"/>
                    </a:lnTo>
                    <a:lnTo>
                      <a:pt x="107" y="5"/>
                    </a:lnTo>
                    <a:lnTo>
                      <a:pt x="107" y="3"/>
                    </a:lnTo>
                    <a:lnTo>
                      <a:pt x="108" y="5"/>
                    </a:lnTo>
                    <a:lnTo>
                      <a:pt x="109" y="4"/>
                    </a:lnTo>
                    <a:lnTo>
                      <a:pt x="109" y="6"/>
                    </a:lnTo>
                    <a:lnTo>
                      <a:pt x="111" y="6"/>
                    </a:lnTo>
                    <a:lnTo>
                      <a:pt x="111" y="5"/>
                    </a:lnTo>
                    <a:lnTo>
                      <a:pt x="113" y="6"/>
                    </a:lnTo>
                    <a:lnTo>
                      <a:pt x="114" y="7"/>
                    </a:lnTo>
                    <a:lnTo>
                      <a:pt x="118" y="8"/>
                    </a:lnTo>
                    <a:lnTo>
                      <a:pt x="118" y="515"/>
                    </a:lnTo>
                    <a:lnTo>
                      <a:pt x="118" y="515"/>
                    </a:lnTo>
                    <a:lnTo>
                      <a:pt x="118" y="510"/>
                    </a:lnTo>
                    <a:lnTo>
                      <a:pt x="116" y="513"/>
                    </a:lnTo>
                    <a:lnTo>
                      <a:pt x="115" y="510"/>
                    </a:lnTo>
                    <a:lnTo>
                      <a:pt x="114" y="511"/>
                    </a:lnTo>
                    <a:lnTo>
                      <a:pt x="110" y="508"/>
                    </a:lnTo>
                    <a:lnTo>
                      <a:pt x="109" y="509"/>
                    </a:lnTo>
                    <a:lnTo>
                      <a:pt x="110" y="510"/>
                    </a:lnTo>
                    <a:lnTo>
                      <a:pt x="108" y="508"/>
                    </a:lnTo>
                    <a:lnTo>
                      <a:pt x="107" y="509"/>
                    </a:lnTo>
                    <a:lnTo>
                      <a:pt x="105" y="502"/>
                    </a:lnTo>
                    <a:lnTo>
                      <a:pt x="103" y="501"/>
                    </a:lnTo>
                    <a:lnTo>
                      <a:pt x="102" y="501"/>
                    </a:lnTo>
                    <a:lnTo>
                      <a:pt x="100" y="503"/>
                    </a:lnTo>
                    <a:lnTo>
                      <a:pt x="101" y="501"/>
                    </a:lnTo>
                    <a:lnTo>
                      <a:pt x="101" y="499"/>
                    </a:lnTo>
                    <a:lnTo>
                      <a:pt x="99" y="499"/>
                    </a:lnTo>
                    <a:lnTo>
                      <a:pt x="99" y="500"/>
                    </a:lnTo>
                    <a:lnTo>
                      <a:pt x="97" y="497"/>
                    </a:lnTo>
                    <a:lnTo>
                      <a:pt x="97" y="499"/>
                    </a:lnTo>
                    <a:lnTo>
                      <a:pt x="96" y="500"/>
                    </a:lnTo>
                    <a:lnTo>
                      <a:pt x="94" y="498"/>
                    </a:lnTo>
                    <a:lnTo>
                      <a:pt x="93" y="501"/>
                    </a:lnTo>
                    <a:lnTo>
                      <a:pt x="92" y="499"/>
                    </a:lnTo>
                    <a:lnTo>
                      <a:pt x="91" y="501"/>
                    </a:lnTo>
                    <a:lnTo>
                      <a:pt x="90" y="501"/>
                    </a:lnTo>
                    <a:lnTo>
                      <a:pt x="90" y="502"/>
                    </a:lnTo>
                    <a:lnTo>
                      <a:pt x="89" y="500"/>
                    </a:lnTo>
                    <a:lnTo>
                      <a:pt x="89" y="502"/>
                    </a:lnTo>
                    <a:lnTo>
                      <a:pt x="88" y="501"/>
                    </a:lnTo>
                    <a:lnTo>
                      <a:pt x="85" y="501"/>
                    </a:lnTo>
                    <a:lnTo>
                      <a:pt x="84" y="503"/>
                    </a:lnTo>
                    <a:lnTo>
                      <a:pt x="83" y="502"/>
                    </a:lnTo>
                    <a:lnTo>
                      <a:pt x="82" y="505"/>
                    </a:lnTo>
                    <a:lnTo>
                      <a:pt x="81" y="500"/>
                    </a:lnTo>
                    <a:lnTo>
                      <a:pt x="81" y="502"/>
                    </a:lnTo>
                    <a:lnTo>
                      <a:pt x="78" y="502"/>
                    </a:lnTo>
                    <a:lnTo>
                      <a:pt x="78" y="506"/>
                    </a:lnTo>
                    <a:lnTo>
                      <a:pt x="77" y="500"/>
                    </a:lnTo>
                    <a:lnTo>
                      <a:pt x="76" y="501"/>
                    </a:lnTo>
                    <a:lnTo>
                      <a:pt x="76" y="499"/>
                    </a:lnTo>
                    <a:lnTo>
                      <a:pt x="74" y="499"/>
                    </a:lnTo>
                    <a:lnTo>
                      <a:pt x="75" y="503"/>
                    </a:lnTo>
                    <a:lnTo>
                      <a:pt x="75" y="502"/>
                    </a:lnTo>
                    <a:lnTo>
                      <a:pt x="74" y="503"/>
                    </a:lnTo>
                    <a:lnTo>
                      <a:pt x="74" y="501"/>
                    </a:lnTo>
                    <a:lnTo>
                      <a:pt x="73" y="500"/>
                    </a:lnTo>
                    <a:lnTo>
                      <a:pt x="73" y="509"/>
                    </a:lnTo>
                    <a:lnTo>
                      <a:pt x="72" y="502"/>
                    </a:lnTo>
                    <a:lnTo>
                      <a:pt x="71" y="505"/>
                    </a:lnTo>
                    <a:lnTo>
                      <a:pt x="71" y="502"/>
                    </a:lnTo>
                    <a:lnTo>
                      <a:pt x="69" y="502"/>
                    </a:lnTo>
                    <a:lnTo>
                      <a:pt x="68" y="505"/>
                    </a:lnTo>
                    <a:lnTo>
                      <a:pt x="68" y="501"/>
                    </a:lnTo>
                    <a:lnTo>
                      <a:pt x="66" y="501"/>
                    </a:lnTo>
                    <a:lnTo>
                      <a:pt x="66" y="503"/>
                    </a:lnTo>
                    <a:lnTo>
                      <a:pt x="64" y="502"/>
                    </a:lnTo>
                    <a:lnTo>
                      <a:pt x="65" y="503"/>
                    </a:lnTo>
                    <a:lnTo>
                      <a:pt x="63" y="501"/>
                    </a:lnTo>
                    <a:lnTo>
                      <a:pt x="59" y="502"/>
                    </a:lnTo>
                    <a:lnTo>
                      <a:pt x="58" y="498"/>
                    </a:lnTo>
                    <a:lnTo>
                      <a:pt x="56" y="497"/>
                    </a:lnTo>
                    <a:lnTo>
                      <a:pt x="56" y="499"/>
                    </a:lnTo>
                    <a:lnTo>
                      <a:pt x="55" y="500"/>
                    </a:lnTo>
                    <a:lnTo>
                      <a:pt x="53" y="501"/>
                    </a:lnTo>
                    <a:lnTo>
                      <a:pt x="52" y="500"/>
                    </a:lnTo>
                    <a:lnTo>
                      <a:pt x="51" y="502"/>
                    </a:lnTo>
                    <a:lnTo>
                      <a:pt x="50" y="501"/>
                    </a:lnTo>
                    <a:lnTo>
                      <a:pt x="50" y="501"/>
                    </a:lnTo>
                    <a:lnTo>
                      <a:pt x="51" y="501"/>
                    </a:lnTo>
                    <a:lnTo>
                      <a:pt x="51" y="498"/>
                    </a:lnTo>
                    <a:lnTo>
                      <a:pt x="49" y="501"/>
                    </a:lnTo>
                    <a:lnTo>
                      <a:pt x="48" y="498"/>
                    </a:lnTo>
                    <a:lnTo>
                      <a:pt x="47" y="495"/>
                    </a:lnTo>
                    <a:lnTo>
                      <a:pt x="47" y="499"/>
                    </a:lnTo>
                    <a:lnTo>
                      <a:pt x="46" y="497"/>
                    </a:lnTo>
                    <a:lnTo>
                      <a:pt x="44" y="502"/>
                    </a:lnTo>
                    <a:lnTo>
                      <a:pt x="44" y="500"/>
                    </a:lnTo>
                    <a:lnTo>
                      <a:pt x="42" y="499"/>
                    </a:lnTo>
                    <a:lnTo>
                      <a:pt x="42" y="500"/>
                    </a:lnTo>
                    <a:lnTo>
                      <a:pt x="40" y="499"/>
                    </a:lnTo>
                    <a:lnTo>
                      <a:pt x="39" y="500"/>
                    </a:lnTo>
                    <a:lnTo>
                      <a:pt x="40" y="501"/>
                    </a:lnTo>
                    <a:lnTo>
                      <a:pt x="38" y="499"/>
                    </a:lnTo>
                    <a:lnTo>
                      <a:pt x="35" y="500"/>
                    </a:lnTo>
                    <a:lnTo>
                      <a:pt x="34" y="502"/>
                    </a:lnTo>
                    <a:lnTo>
                      <a:pt x="33" y="502"/>
                    </a:lnTo>
                    <a:lnTo>
                      <a:pt x="32" y="502"/>
                    </a:lnTo>
                    <a:lnTo>
                      <a:pt x="32" y="505"/>
                    </a:lnTo>
                    <a:lnTo>
                      <a:pt x="30" y="502"/>
                    </a:lnTo>
                    <a:lnTo>
                      <a:pt x="25" y="502"/>
                    </a:lnTo>
                    <a:lnTo>
                      <a:pt x="24" y="506"/>
                    </a:lnTo>
                    <a:lnTo>
                      <a:pt x="23" y="505"/>
                    </a:lnTo>
                    <a:lnTo>
                      <a:pt x="22" y="506"/>
                    </a:lnTo>
                    <a:lnTo>
                      <a:pt x="23" y="507"/>
                    </a:lnTo>
                    <a:lnTo>
                      <a:pt x="21" y="506"/>
                    </a:lnTo>
                    <a:lnTo>
                      <a:pt x="23" y="508"/>
                    </a:lnTo>
                    <a:lnTo>
                      <a:pt x="21" y="508"/>
                    </a:lnTo>
                    <a:lnTo>
                      <a:pt x="19" y="509"/>
                    </a:lnTo>
                    <a:lnTo>
                      <a:pt x="18" y="507"/>
                    </a:lnTo>
                    <a:lnTo>
                      <a:pt x="17" y="507"/>
                    </a:lnTo>
                    <a:lnTo>
                      <a:pt x="17" y="510"/>
                    </a:lnTo>
                    <a:lnTo>
                      <a:pt x="15" y="507"/>
                    </a:lnTo>
                    <a:lnTo>
                      <a:pt x="16" y="509"/>
                    </a:lnTo>
                    <a:lnTo>
                      <a:pt x="14" y="507"/>
                    </a:lnTo>
                    <a:lnTo>
                      <a:pt x="13" y="506"/>
                    </a:lnTo>
                    <a:lnTo>
                      <a:pt x="11" y="507"/>
                    </a:lnTo>
                    <a:lnTo>
                      <a:pt x="11" y="506"/>
                    </a:lnTo>
                    <a:lnTo>
                      <a:pt x="10" y="507"/>
                    </a:lnTo>
                    <a:lnTo>
                      <a:pt x="10" y="505"/>
                    </a:lnTo>
                    <a:lnTo>
                      <a:pt x="8" y="503"/>
                    </a:lnTo>
                    <a:lnTo>
                      <a:pt x="8" y="505"/>
                    </a:lnTo>
                    <a:lnTo>
                      <a:pt x="8" y="501"/>
                    </a:lnTo>
                    <a:lnTo>
                      <a:pt x="6" y="503"/>
                    </a:lnTo>
                    <a:lnTo>
                      <a:pt x="6" y="501"/>
                    </a:lnTo>
                    <a:lnTo>
                      <a:pt x="4" y="500"/>
                    </a:lnTo>
                    <a:lnTo>
                      <a:pt x="1" y="501"/>
                    </a:lnTo>
                    <a:lnTo>
                      <a:pt x="0" y="501"/>
                    </a:lnTo>
                    <a:lnTo>
                      <a:pt x="0" y="5"/>
                    </a:lnTo>
                    <a:lnTo>
                      <a:pt x="4" y="3"/>
                    </a:lnTo>
                    <a:lnTo>
                      <a:pt x="5" y="5"/>
                    </a:lnTo>
                    <a:lnTo>
                      <a:pt x="8" y="4"/>
                    </a:lnTo>
                    <a:lnTo>
                      <a:pt x="7" y="5"/>
                    </a:lnTo>
                    <a:lnTo>
                      <a:pt x="9" y="5"/>
                    </a:lnTo>
                    <a:lnTo>
                      <a:pt x="9" y="4"/>
                    </a:lnTo>
                    <a:lnTo>
                      <a:pt x="10" y="5"/>
                    </a:lnTo>
                    <a:lnTo>
                      <a:pt x="11" y="8"/>
                    </a:lnTo>
                    <a:lnTo>
                      <a:pt x="13" y="8"/>
                    </a:lnTo>
                    <a:lnTo>
                      <a:pt x="15" y="7"/>
                    </a:lnTo>
                    <a:lnTo>
                      <a:pt x="15" y="9"/>
                    </a:lnTo>
                    <a:lnTo>
                      <a:pt x="16" y="8"/>
                    </a:lnTo>
                    <a:lnTo>
                      <a:pt x="16" y="10"/>
                    </a:lnTo>
                    <a:lnTo>
                      <a:pt x="17" y="9"/>
                    </a:lnTo>
                    <a:lnTo>
                      <a:pt x="18" y="10"/>
                    </a:lnTo>
                    <a:lnTo>
                      <a:pt x="17" y="6"/>
                    </a:lnTo>
                    <a:lnTo>
                      <a:pt x="19" y="9"/>
                    </a:lnTo>
                    <a:lnTo>
                      <a:pt x="19" y="8"/>
                    </a:lnTo>
                    <a:lnTo>
                      <a:pt x="21" y="10"/>
                    </a:lnTo>
                    <a:lnTo>
                      <a:pt x="23" y="12"/>
                    </a:lnTo>
                    <a:lnTo>
                      <a:pt x="22" y="9"/>
                    </a:lnTo>
                    <a:lnTo>
                      <a:pt x="22" y="6"/>
                    </a:lnTo>
                    <a:lnTo>
                      <a:pt x="23" y="8"/>
                    </a:lnTo>
                    <a:lnTo>
                      <a:pt x="23" y="8"/>
                    </a:lnTo>
                    <a:lnTo>
                      <a:pt x="25" y="8"/>
                    </a:lnTo>
                    <a:lnTo>
                      <a:pt x="23" y="5"/>
                    </a:lnTo>
                    <a:lnTo>
                      <a:pt x="25" y="7"/>
                    </a:lnTo>
                    <a:lnTo>
                      <a:pt x="26" y="5"/>
                    </a:lnTo>
                    <a:lnTo>
                      <a:pt x="28" y="5"/>
                    </a:lnTo>
                    <a:lnTo>
                      <a:pt x="27" y="4"/>
                    </a:lnTo>
                    <a:lnTo>
                      <a:pt x="30" y="3"/>
                    </a:lnTo>
                    <a:lnTo>
                      <a:pt x="31" y="5"/>
                    </a:lnTo>
                    <a:lnTo>
                      <a:pt x="32" y="5"/>
                    </a:lnTo>
                    <a:lnTo>
                      <a:pt x="32" y="3"/>
                    </a:lnTo>
                    <a:lnTo>
                      <a:pt x="33" y="5"/>
                    </a:lnTo>
                    <a:lnTo>
                      <a:pt x="36" y="4"/>
                    </a:lnTo>
                    <a:lnTo>
                      <a:pt x="36" y="6"/>
                    </a:lnTo>
                    <a:lnTo>
                      <a:pt x="38" y="5"/>
                    </a:lnTo>
                    <a:lnTo>
                      <a:pt x="38" y="6"/>
                    </a:lnTo>
                    <a:lnTo>
                      <a:pt x="40" y="8"/>
                    </a:lnTo>
                    <a:lnTo>
                      <a:pt x="40" y="5"/>
                    </a:lnTo>
                    <a:lnTo>
                      <a:pt x="42" y="7"/>
                    </a:lnTo>
                    <a:lnTo>
                      <a:pt x="46" y="6"/>
                    </a:lnTo>
                    <a:lnTo>
                      <a:pt x="49" y="7"/>
                    </a:lnTo>
                    <a:lnTo>
                      <a:pt x="50" y="6"/>
                    </a:lnTo>
                    <a:lnTo>
                      <a:pt x="52" y="6"/>
                    </a:lnTo>
                    <a:lnTo>
                      <a:pt x="52" y="7"/>
                    </a:lnTo>
                    <a:lnTo>
                      <a:pt x="53" y="8"/>
                    </a:lnTo>
                    <a:lnTo>
                      <a:pt x="57" y="8"/>
                    </a:lnTo>
                    <a:lnTo>
                      <a:pt x="57" y="9"/>
                    </a:lnTo>
                    <a:lnTo>
                      <a:pt x="57" y="8"/>
                    </a:lnTo>
                    <a:lnTo>
                      <a:pt x="56" y="6"/>
                    </a:lnTo>
                    <a:lnTo>
                      <a:pt x="58" y="8"/>
                    </a:lnTo>
                    <a:lnTo>
                      <a:pt x="58" y="6"/>
                    </a:lnTo>
                    <a:lnTo>
                      <a:pt x="60" y="12"/>
                    </a:lnTo>
                    <a:lnTo>
                      <a:pt x="61" y="10"/>
                    </a:lnTo>
                    <a:lnTo>
                      <a:pt x="61" y="8"/>
                    </a:lnTo>
                    <a:lnTo>
                      <a:pt x="64" y="10"/>
                    </a:lnTo>
                    <a:lnTo>
                      <a:pt x="65" y="8"/>
                    </a:lnTo>
                    <a:lnTo>
                      <a:pt x="69" y="10"/>
                    </a:lnTo>
                    <a:lnTo>
                      <a:pt x="68" y="9"/>
                    </a:lnTo>
                    <a:lnTo>
                      <a:pt x="68" y="8"/>
                    </a:lnTo>
                    <a:lnTo>
                      <a:pt x="68" y="8"/>
                    </a:lnTo>
                    <a:lnTo>
                      <a:pt x="75" y="10"/>
                    </a:lnTo>
                    <a:lnTo>
                      <a:pt x="75" y="5"/>
                    </a:lnTo>
                    <a:lnTo>
                      <a:pt x="78" y="10"/>
                    </a:lnTo>
                    <a:lnTo>
                      <a:pt x="78" y="7"/>
                    </a:lnTo>
                    <a:lnTo>
                      <a:pt x="81" y="7"/>
                    </a:lnTo>
                    <a:lnTo>
                      <a:pt x="84" y="13"/>
                    </a:lnTo>
                    <a:lnTo>
                      <a:pt x="84" y="16"/>
                    </a:lnTo>
                    <a:lnTo>
                      <a:pt x="86" y="16"/>
                    </a:lnTo>
                    <a:lnTo>
                      <a:pt x="86" y="16"/>
                    </a:lnTo>
                    <a:lnTo>
                      <a:pt x="86" y="15"/>
                    </a:lnTo>
                    <a:lnTo>
                      <a:pt x="86" y="16"/>
                    </a:lnTo>
                    <a:lnTo>
                      <a:pt x="89" y="15"/>
                    </a:lnTo>
                    <a:lnTo>
                      <a:pt x="89" y="15"/>
                    </a:lnTo>
                    <a:lnTo>
                      <a:pt x="89" y="14"/>
                    </a:lnTo>
                    <a:lnTo>
                      <a:pt x="89" y="15"/>
                    </a:lnTo>
                    <a:lnTo>
                      <a:pt x="89" y="12"/>
                    </a:lnTo>
                    <a:lnTo>
                      <a:pt x="91" y="17"/>
                    </a:lnTo>
                    <a:lnTo>
                      <a:pt x="91" y="15"/>
                    </a:lnTo>
                    <a:lnTo>
                      <a:pt x="92" y="15"/>
                    </a:lnTo>
                    <a:lnTo>
                      <a:pt x="93" y="12"/>
                    </a:lnTo>
                    <a:lnTo>
                      <a:pt x="93" y="13"/>
                    </a:lnTo>
                    <a:lnTo>
                      <a:pt x="94" y="13"/>
                    </a:lnTo>
                    <a:lnTo>
                      <a:pt x="94" y="12"/>
                    </a:lnTo>
                    <a:lnTo>
                      <a:pt x="96" y="14"/>
                    </a:lnTo>
                    <a:lnTo>
                      <a:pt x="97" y="13"/>
                    </a:lnTo>
                    <a:lnTo>
                      <a:pt x="96" y="10"/>
                    </a:lnTo>
                    <a:lnTo>
                      <a:pt x="97" y="12"/>
                    </a:lnTo>
                    <a:lnTo>
                      <a:pt x="97" y="10"/>
                    </a:lnTo>
                    <a:lnTo>
                      <a:pt x="98" y="9"/>
                    </a:lnTo>
                    <a:lnTo>
                      <a:pt x="97" y="9"/>
                    </a:lnTo>
                    <a:lnTo>
                      <a:pt x="98" y="8"/>
                    </a:lnTo>
                    <a:lnTo>
                      <a:pt x="99" y="5"/>
                    </a:lnTo>
                    <a:lnTo>
                      <a:pt x="99" y="5"/>
                    </a:lnTo>
                    <a:lnTo>
                      <a:pt x="100" y="6"/>
                    </a:lnTo>
                    <a:lnTo>
                      <a:pt x="101" y="6"/>
                    </a:lnTo>
                    <a:lnTo>
                      <a:pt x="99" y="5"/>
                    </a:lnTo>
                    <a:lnTo>
                      <a:pt x="99" y="5"/>
                    </a:lnTo>
                    <a:lnTo>
                      <a:pt x="99" y="5"/>
                    </a:lnTo>
                    <a:lnTo>
                      <a:pt x="94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E20074"/>
                  </a:buClr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0" cap="none" spc="0" normalizeH="0" baseline="0" noProof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4" name="Freeform 132"/>
              <p:cNvSpPr>
                <a:spLocks/>
              </p:cNvSpPr>
              <p:nvPr/>
            </p:nvSpPr>
            <p:spPr bwMode="auto">
              <a:xfrm>
                <a:off x="11731626" y="552451"/>
                <a:ext cx="187325" cy="822325"/>
              </a:xfrm>
              <a:custGeom>
                <a:avLst/>
                <a:gdLst>
                  <a:gd name="T0" fmla="*/ 12 w 118"/>
                  <a:gd name="T1" fmla="*/ 8 h 518"/>
                  <a:gd name="T2" fmla="*/ 21 w 118"/>
                  <a:gd name="T3" fmla="*/ 13 h 518"/>
                  <a:gd name="T4" fmla="*/ 25 w 118"/>
                  <a:gd name="T5" fmla="*/ 12 h 518"/>
                  <a:gd name="T6" fmla="*/ 32 w 118"/>
                  <a:gd name="T7" fmla="*/ 16 h 518"/>
                  <a:gd name="T8" fmla="*/ 38 w 118"/>
                  <a:gd name="T9" fmla="*/ 18 h 518"/>
                  <a:gd name="T10" fmla="*/ 48 w 118"/>
                  <a:gd name="T11" fmla="*/ 28 h 518"/>
                  <a:gd name="T12" fmla="*/ 54 w 118"/>
                  <a:gd name="T13" fmla="*/ 24 h 518"/>
                  <a:gd name="T14" fmla="*/ 59 w 118"/>
                  <a:gd name="T15" fmla="*/ 29 h 518"/>
                  <a:gd name="T16" fmla="*/ 64 w 118"/>
                  <a:gd name="T17" fmla="*/ 28 h 518"/>
                  <a:gd name="T18" fmla="*/ 67 w 118"/>
                  <a:gd name="T19" fmla="*/ 29 h 518"/>
                  <a:gd name="T20" fmla="*/ 71 w 118"/>
                  <a:gd name="T21" fmla="*/ 30 h 518"/>
                  <a:gd name="T22" fmla="*/ 73 w 118"/>
                  <a:gd name="T23" fmla="*/ 28 h 518"/>
                  <a:gd name="T24" fmla="*/ 79 w 118"/>
                  <a:gd name="T25" fmla="*/ 29 h 518"/>
                  <a:gd name="T26" fmla="*/ 84 w 118"/>
                  <a:gd name="T27" fmla="*/ 33 h 518"/>
                  <a:gd name="T28" fmla="*/ 89 w 118"/>
                  <a:gd name="T29" fmla="*/ 38 h 518"/>
                  <a:gd name="T30" fmla="*/ 94 w 118"/>
                  <a:gd name="T31" fmla="*/ 36 h 518"/>
                  <a:gd name="T32" fmla="*/ 100 w 118"/>
                  <a:gd name="T33" fmla="*/ 36 h 518"/>
                  <a:gd name="T34" fmla="*/ 106 w 118"/>
                  <a:gd name="T35" fmla="*/ 33 h 518"/>
                  <a:gd name="T36" fmla="*/ 112 w 118"/>
                  <a:gd name="T37" fmla="*/ 39 h 518"/>
                  <a:gd name="T38" fmla="*/ 117 w 118"/>
                  <a:gd name="T39" fmla="*/ 39 h 518"/>
                  <a:gd name="T40" fmla="*/ 118 w 118"/>
                  <a:gd name="T41" fmla="*/ 507 h 518"/>
                  <a:gd name="T42" fmla="*/ 110 w 118"/>
                  <a:gd name="T43" fmla="*/ 506 h 518"/>
                  <a:gd name="T44" fmla="*/ 105 w 118"/>
                  <a:gd name="T45" fmla="*/ 507 h 518"/>
                  <a:gd name="T46" fmla="*/ 105 w 118"/>
                  <a:gd name="T47" fmla="*/ 506 h 518"/>
                  <a:gd name="T48" fmla="*/ 100 w 118"/>
                  <a:gd name="T49" fmla="*/ 505 h 518"/>
                  <a:gd name="T50" fmla="*/ 99 w 118"/>
                  <a:gd name="T51" fmla="*/ 506 h 518"/>
                  <a:gd name="T52" fmla="*/ 94 w 118"/>
                  <a:gd name="T53" fmla="*/ 506 h 518"/>
                  <a:gd name="T54" fmla="*/ 92 w 118"/>
                  <a:gd name="T55" fmla="*/ 505 h 518"/>
                  <a:gd name="T56" fmla="*/ 88 w 118"/>
                  <a:gd name="T57" fmla="*/ 509 h 518"/>
                  <a:gd name="T58" fmla="*/ 84 w 118"/>
                  <a:gd name="T59" fmla="*/ 504 h 518"/>
                  <a:gd name="T60" fmla="*/ 82 w 118"/>
                  <a:gd name="T61" fmla="*/ 503 h 518"/>
                  <a:gd name="T62" fmla="*/ 79 w 118"/>
                  <a:gd name="T63" fmla="*/ 501 h 518"/>
                  <a:gd name="T64" fmla="*/ 73 w 118"/>
                  <a:gd name="T65" fmla="*/ 506 h 518"/>
                  <a:gd name="T66" fmla="*/ 65 w 118"/>
                  <a:gd name="T67" fmla="*/ 512 h 518"/>
                  <a:gd name="T68" fmla="*/ 59 w 118"/>
                  <a:gd name="T69" fmla="*/ 511 h 518"/>
                  <a:gd name="T70" fmla="*/ 57 w 118"/>
                  <a:gd name="T71" fmla="*/ 512 h 518"/>
                  <a:gd name="T72" fmla="*/ 50 w 118"/>
                  <a:gd name="T73" fmla="*/ 510 h 518"/>
                  <a:gd name="T74" fmla="*/ 47 w 118"/>
                  <a:gd name="T75" fmla="*/ 513 h 518"/>
                  <a:gd name="T76" fmla="*/ 42 w 118"/>
                  <a:gd name="T77" fmla="*/ 507 h 518"/>
                  <a:gd name="T78" fmla="*/ 40 w 118"/>
                  <a:gd name="T79" fmla="*/ 516 h 518"/>
                  <a:gd name="T80" fmla="*/ 37 w 118"/>
                  <a:gd name="T81" fmla="*/ 515 h 518"/>
                  <a:gd name="T82" fmla="*/ 31 w 118"/>
                  <a:gd name="T83" fmla="*/ 515 h 518"/>
                  <a:gd name="T84" fmla="*/ 23 w 118"/>
                  <a:gd name="T85" fmla="*/ 506 h 518"/>
                  <a:gd name="T86" fmla="*/ 21 w 118"/>
                  <a:gd name="T87" fmla="*/ 509 h 518"/>
                  <a:gd name="T88" fmla="*/ 17 w 118"/>
                  <a:gd name="T89" fmla="*/ 511 h 518"/>
                  <a:gd name="T90" fmla="*/ 9 w 118"/>
                  <a:gd name="T91" fmla="*/ 509 h 518"/>
                  <a:gd name="T92" fmla="*/ 8 w 118"/>
                  <a:gd name="T93" fmla="*/ 507 h 518"/>
                  <a:gd name="T94" fmla="*/ 2 w 118"/>
                  <a:gd name="T95" fmla="*/ 509 h 518"/>
                  <a:gd name="T96" fmla="*/ 6 w 118"/>
                  <a:gd name="T97" fmla="*/ 6 h 518"/>
                  <a:gd name="T98" fmla="*/ 7 w 118"/>
                  <a:gd name="T99" fmla="*/ 5 h 5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18" h="518">
                    <a:moveTo>
                      <a:pt x="4" y="0"/>
                    </a:moveTo>
                    <a:lnTo>
                      <a:pt x="12" y="8"/>
                    </a:lnTo>
                    <a:lnTo>
                      <a:pt x="12" y="9"/>
                    </a:lnTo>
                    <a:lnTo>
                      <a:pt x="12" y="8"/>
                    </a:lnTo>
                    <a:lnTo>
                      <a:pt x="20" y="12"/>
                    </a:lnTo>
                    <a:lnTo>
                      <a:pt x="18" y="13"/>
                    </a:lnTo>
                    <a:lnTo>
                      <a:pt x="21" y="12"/>
                    </a:lnTo>
                    <a:lnTo>
                      <a:pt x="21" y="13"/>
                    </a:lnTo>
                    <a:lnTo>
                      <a:pt x="22" y="13"/>
                    </a:lnTo>
                    <a:lnTo>
                      <a:pt x="23" y="11"/>
                    </a:lnTo>
                    <a:lnTo>
                      <a:pt x="23" y="12"/>
                    </a:lnTo>
                    <a:lnTo>
                      <a:pt x="25" y="12"/>
                    </a:lnTo>
                    <a:lnTo>
                      <a:pt x="24" y="11"/>
                    </a:lnTo>
                    <a:lnTo>
                      <a:pt x="27" y="11"/>
                    </a:lnTo>
                    <a:lnTo>
                      <a:pt x="32" y="17"/>
                    </a:lnTo>
                    <a:lnTo>
                      <a:pt x="32" y="16"/>
                    </a:lnTo>
                    <a:lnTo>
                      <a:pt x="33" y="18"/>
                    </a:lnTo>
                    <a:lnTo>
                      <a:pt x="33" y="19"/>
                    </a:lnTo>
                    <a:lnTo>
                      <a:pt x="37" y="20"/>
                    </a:lnTo>
                    <a:lnTo>
                      <a:pt x="38" y="18"/>
                    </a:lnTo>
                    <a:lnTo>
                      <a:pt x="40" y="21"/>
                    </a:lnTo>
                    <a:lnTo>
                      <a:pt x="41" y="19"/>
                    </a:lnTo>
                    <a:lnTo>
                      <a:pt x="42" y="21"/>
                    </a:lnTo>
                    <a:lnTo>
                      <a:pt x="48" y="28"/>
                    </a:lnTo>
                    <a:lnTo>
                      <a:pt x="51" y="26"/>
                    </a:lnTo>
                    <a:lnTo>
                      <a:pt x="51" y="24"/>
                    </a:lnTo>
                    <a:lnTo>
                      <a:pt x="52" y="27"/>
                    </a:lnTo>
                    <a:lnTo>
                      <a:pt x="54" y="24"/>
                    </a:lnTo>
                    <a:lnTo>
                      <a:pt x="55" y="28"/>
                    </a:lnTo>
                    <a:lnTo>
                      <a:pt x="55" y="25"/>
                    </a:lnTo>
                    <a:lnTo>
                      <a:pt x="58" y="29"/>
                    </a:lnTo>
                    <a:lnTo>
                      <a:pt x="59" y="29"/>
                    </a:lnTo>
                    <a:lnTo>
                      <a:pt x="59" y="31"/>
                    </a:lnTo>
                    <a:lnTo>
                      <a:pt x="60" y="31"/>
                    </a:lnTo>
                    <a:lnTo>
                      <a:pt x="60" y="27"/>
                    </a:lnTo>
                    <a:lnTo>
                      <a:pt x="64" y="28"/>
                    </a:lnTo>
                    <a:lnTo>
                      <a:pt x="64" y="30"/>
                    </a:lnTo>
                    <a:lnTo>
                      <a:pt x="65" y="31"/>
                    </a:lnTo>
                    <a:lnTo>
                      <a:pt x="65" y="29"/>
                    </a:lnTo>
                    <a:lnTo>
                      <a:pt x="67" y="29"/>
                    </a:lnTo>
                    <a:lnTo>
                      <a:pt x="68" y="30"/>
                    </a:lnTo>
                    <a:lnTo>
                      <a:pt x="70" y="27"/>
                    </a:lnTo>
                    <a:lnTo>
                      <a:pt x="70" y="28"/>
                    </a:lnTo>
                    <a:lnTo>
                      <a:pt x="71" y="30"/>
                    </a:lnTo>
                    <a:lnTo>
                      <a:pt x="71" y="28"/>
                    </a:lnTo>
                    <a:lnTo>
                      <a:pt x="72" y="30"/>
                    </a:lnTo>
                    <a:lnTo>
                      <a:pt x="72" y="28"/>
                    </a:lnTo>
                    <a:lnTo>
                      <a:pt x="73" y="28"/>
                    </a:lnTo>
                    <a:lnTo>
                      <a:pt x="75" y="30"/>
                    </a:lnTo>
                    <a:lnTo>
                      <a:pt x="75" y="28"/>
                    </a:lnTo>
                    <a:lnTo>
                      <a:pt x="77" y="30"/>
                    </a:lnTo>
                    <a:lnTo>
                      <a:pt x="79" y="29"/>
                    </a:lnTo>
                    <a:lnTo>
                      <a:pt x="80" y="33"/>
                    </a:lnTo>
                    <a:lnTo>
                      <a:pt x="81" y="30"/>
                    </a:lnTo>
                    <a:lnTo>
                      <a:pt x="82" y="33"/>
                    </a:lnTo>
                    <a:lnTo>
                      <a:pt x="84" y="33"/>
                    </a:lnTo>
                    <a:lnTo>
                      <a:pt x="82" y="30"/>
                    </a:lnTo>
                    <a:lnTo>
                      <a:pt x="83" y="29"/>
                    </a:lnTo>
                    <a:lnTo>
                      <a:pt x="88" y="31"/>
                    </a:lnTo>
                    <a:lnTo>
                      <a:pt x="89" y="38"/>
                    </a:lnTo>
                    <a:lnTo>
                      <a:pt x="89" y="31"/>
                    </a:lnTo>
                    <a:lnTo>
                      <a:pt x="92" y="37"/>
                    </a:lnTo>
                    <a:lnTo>
                      <a:pt x="93" y="31"/>
                    </a:lnTo>
                    <a:lnTo>
                      <a:pt x="94" y="36"/>
                    </a:lnTo>
                    <a:lnTo>
                      <a:pt x="97" y="34"/>
                    </a:lnTo>
                    <a:lnTo>
                      <a:pt x="99" y="36"/>
                    </a:lnTo>
                    <a:lnTo>
                      <a:pt x="98" y="30"/>
                    </a:lnTo>
                    <a:lnTo>
                      <a:pt x="100" y="36"/>
                    </a:lnTo>
                    <a:lnTo>
                      <a:pt x="102" y="36"/>
                    </a:lnTo>
                    <a:lnTo>
                      <a:pt x="101" y="33"/>
                    </a:lnTo>
                    <a:lnTo>
                      <a:pt x="105" y="34"/>
                    </a:lnTo>
                    <a:lnTo>
                      <a:pt x="106" y="33"/>
                    </a:lnTo>
                    <a:lnTo>
                      <a:pt x="109" y="37"/>
                    </a:lnTo>
                    <a:lnTo>
                      <a:pt x="109" y="35"/>
                    </a:lnTo>
                    <a:lnTo>
                      <a:pt x="112" y="36"/>
                    </a:lnTo>
                    <a:lnTo>
                      <a:pt x="112" y="39"/>
                    </a:lnTo>
                    <a:lnTo>
                      <a:pt x="113" y="39"/>
                    </a:lnTo>
                    <a:lnTo>
                      <a:pt x="113" y="37"/>
                    </a:lnTo>
                    <a:lnTo>
                      <a:pt x="115" y="41"/>
                    </a:lnTo>
                    <a:lnTo>
                      <a:pt x="117" y="39"/>
                    </a:lnTo>
                    <a:lnTo>
                      <a:pt x="115" y="33"/>
                    </a:lnTo>
                    <a:lnTo>
                      <a:pt x="116" y="33"/>
                    </a:lnTo>
                    <a:lnTo>
                      <a:pt x="118" y="37"/>
                    </a:lnTo>
                    <a:lnTo>
                      <a:pt x="118" y="507"/>
                    </a:lnTo>
                    <a:lnTo>
                      <a:pt x="117" y="506"/>
                    </a:lnTo>
                    <a:lnTo>
                      <a:pt x="114" y="511"/>
                    </a:lnTo>
                    <a:lnTo>
                      <a:pt x="112" y="507"/>
                    </a:lnTo>
                    <a:lnTo>
                      <a:pt x="110" y="506"/>
                    </a:lnTo>
                    <a:lnTo>
                      <a:pt x="109" y="509"/>
                    </a:lnTo>
                    <a:lnTo>
                      <a:pt x="107" y="505"/>
                    </a:lnTo>
                    <a:lnTo>
                      <a:pt x="106" y="505"/>
                    </a:lnTo>
                    <a:lnTo>
                      <a:pt x="105" y="507"/>
                    </a:lnTo>
                    <a:lnTo>
                      <a:pt x="105" y="509"/>
                    </a:lnTo>
                    <a:lnTo>
                      <a:pt x="105" y="509"/>
                    </a:lnTo>
                    <a:lnTo>
                      <a:pt x="105" y="507"/>
                    </a:lnTo>
                    <a:lnTo>
                      <a:pt x="105" y="506"/>
                    </a:lnTo>
                    <a:lnTo>
                      <a:pt x="105" y="505"/>
                    </a:lnTo>
                    <a:lnTo>
                      <a:pt x="105" y="504"/>
                    </a:lnTo>
                    <a:lnTo>
                      <a:pt x="100" y="504"/>
                    </a:lnTo>
                    <a:lnTo>
                      <a:pt x="100" y="505"/>
                    </a:lnTo>
                    <a:lnTo>
                      <a:pt x="99" y="506"/>
                    </a:lnTo>
                    <a:lnTo>
                      <a:pt x="98" y="506"/>
                    </a:lnTo>
                    <a:lnTo>
                      <a:pt x="99" y="506"/>
                    </a:lnTo>
                    <a:lnTo>
                      <a:pt x="99" y="506"/>
                    </a:lnTo>
                    <a:lnTo>
                      <a:pt x="101" y="506"/>
                    </a:lnTo>
                    <a:lnTo>
                      <a:pt x="101" y="509"/>
                    </a:lnTo>
                    <a:lnTo>
                      <a:pt x="96" y="505"/>
                    </a:lnTo>
                    <a:lnTo>
                      <a:pt x="94" y="506"/>
                    </a:lnTo>
                    <a:lnTo>
                      <a:pt x="94" y="504"/>
                    </a:lnTo>
                    <a:lnTo>
                      <a:pt x="93" y="507"/>
                    </a:lnTo>
                    <a:lnTo>
                      <a:pt x="92" y="507"/>
                    </a:lnTo>
                    <a:lnTo>
                      <a:pt x="92" y="505"/>
                    </a:lnTo>
                    <a:lnTo>
                      <a:pt x="91" y="507"/>
                    </a:lnTo>
                    <a:lnTo>
                      <a:pt x="91" y="506"/>
                    </a:lnTo>
                    <a:lnTo>
                      <a:pt x="91" y="510"/>
                    </a:lnTo>
                    <a:lnTo>
                      <a:pt x="88" y="509"/>
                    </a:lnTo>
                    <a:lnTo>
                      <a:pt x="88" y="505"/>
                    </a:lnTo>
                    <a:lnTo>
                      <a:pt x="87" y="506"/>
                    </a:lnTo>
                    <a:lnTo>
                      <a:pt x="85" y="503"/>
                    </a:lnTo>
                    <a:lnTo>
                      <a:pt x="84" y="504"/>
                    </a:lnTo>
                    <a:lnTo>
                      <a:pt x="84" y="501"/>
                    </a:lnTo>
                    <a:lnTo>
                      <a:pt x="82" y="501"/>
                    </a:lnTo>
                    <a:lnTo>
                      <a:pt x="83" y="503"/>
                    </a:lnTo>
                    <a:lnTo>
                      <a:pt x="82" y="503"/>
                    </a:lnTo>
                    <a:lnTo>
                      <a:pt x="81" y="501"/>
                    </a:lnTo>
                    <a:lnTo>
                      <a:pt x="80" y="501"/>
                    </a:lnTo>
                    <a:lnTo>
                      <a:pt x="79" y="502"/>
                    </a:lnTo>
                    <a:lnTo>
                      <a:pt x="79" y="501"/>
                    </a:lnTo>
                    <a:lnTo>
                      <a:pt x="77" y="501"/>
                    </a:lnTo>
                    <a:lnTo>
                      <a:pt x="77" y="503"/>
                    </a:lnTo>
                    <a:lnTo>
                      <a:pt x="76" y="502"/>
                    </a:lnTo>
                    <a:lnTo>
                      <a:pt x="73" y="506"/>
                    </a:lnTo>
                    <a:lnTo>
                      <a:pt x="74" y="502"/>
                    </a:lnTo>
                    <a:lnTo>
                      <a:pt x="68" y="511"/>
                    </a:lnTo>
                    <a:lnTo>
                      <a:pt x="67" y="512"/>
                    </a:lnTo>
                    <a:lnTo>
                      <a:pt x="65" y="512"/>
                    </a:lnTo>
                    <a:lnTo>
                      <a:pt x="62" y="515"/>
                    </a:lnTo>
                    <a:lnTo>
                      <a:pt x="62" y="512"/>
                    </a:lnTo>
                    <a:lnTo>
                      <a:pt x="59" y="512"/>
                    </a:lnTo>
                    <a:lnTo>
                      <a:pt x="59" y="511"/>
                    </a:lnTo>
                    <a:lnTo>
                      <a:pt x="59" y="512"/>
                    </a:lnTo>
                    <a:lnTo>
                      <a:pt x="59" y="512"/>
                    </a:lnTo>
                    <a:lnTo>
                      <a:pt x="58" y="514"/>
                    </a:lnTo>
                    <a:lnTo>
                      <a:pt x="57" y="512"/>
                    </a:lnTo>
                    <a:lnTo>
                      <a:pt x="55" y="513"/>
                    </a:lnTo>
                    <a:lnTo>
                      <a:pt x="54" y="512"/>
                    </a:lnTo>
                    <a:lnTo>
                      <a:pt x="52" y="510"/>
                    </a:lnTo>
                    <a:lnTo>
                      <a:pt x="50" y="510"/>
                    </a:lnTo>
                    <a:lnTo>
                      <a:pt x="47" y="507"/>
                    </a:lnTo>
                    <a:lnTo>
                      <a:pt x="48" y="510"/>
                    </a:lnTo>
                    <a:lnTo>
                      <a:pt x="46" y="509"/>
                    </a:lnTo>
                    <a:lnTo>
                      <a:pt x="47" y="513"/>
                    </a:lnTo>
                    <a:lnTo>
                      <a:pt x="45" y="509"/>
                    </a:lnTo>
                    <a:lnTo>
                      <a:pt x="43" y="510"/>
                    </a:lnTo>
                    <a:lnTo>
                      <a:pt x="43" y="509"/>
                    </a:lnTo>
                    <a:lnTo>
                      <a:pt x="42" y="507"/>
                    </a:lnTo>
                    <a:lnTo>
                      <a:pt x="42" y="513"/>
                    </a:lnTo>
                    <a:lnTo>
                      <a:pt x="42" y="509"/>
                    </a:lnTo>
                    <a:lnTo>
                      <a:pt x="42" y="515"/>
                    </a:lnTo>
                    <a:lnTo>
                      <a:pt x="40" y="516"/>
                    </a:lnTo>
                    <a:lnTo>
                      <a:pt x="39" y="516"/>
                    </a:lnTo>
                    <a:lnTo>
                      <a:pt x="37" y="515"/>
                    </a:lnTo>
                    <a:lnTo>
                      <a:pt x="37" y="514"/>
                    </a:lnTo>
                    <a:lnTo>
                      <a:pt x="37" y="515"/>
                    </a:lnTo>
                    <a:lnTo>
                      <a:pt x="37" y="515"/>
                    </a:lnTo>
                    <a:lnTo>
                      <a:pt x="37" y="518"/>
                    </a:lnTo>
                    <a:lnTo>
                      <a:pt x="35" y="516"/>
                    </a:lnTo>
                    <a:lnTo>
                      <a:pt x="31" y="515"/>
                    </a:lnTo>
                    <a:lnTo>
                      <a:pt x="31" y="511"/>
                    </a:lnTo>
                    <a:lnTo>
                      <a:pt x="25" y="510"/>
                    </a:lnTo>
                    <a:lnTo>
                      <a:pt x="25" y="512"/>
                    </a:lnTo>
                    <a:lnTo>
                      <a:pt x="23" y="506"/>
                    </a:lnTo>
                    <a:lnTo>
                      <a:pt x="23" y="507"/>
                    </a:lnTo>
                    <a:lnTo>
                      <a:pt x="21" y="507"/>
                    </a:lnTo>
                    <a:lnTo>
                      <a:pt x="22" y="510"/>
                    </a:lnTo>
                    <a:lnTo>
                      <a:pt x="21" y="509"/>
                    </a:lnTo>
                    <a:lnTo>
                      <a:pt x="21" y="511"/>
                    </a:lnTo>
                    <a:lnTo>
                      <a:pt x="20" y="509"/>
                    </a:lnTo>
                    <a:lnTo>
                      <a:pt x="17" y="509"/>
                    </a:lnTo>
                    <a:lnTo>
                      <a:pt x="17" y="511"/>
                    </a:lnTo>
                    <a:lnTo>
                      <a:pt x="16" y="509"/>
                    </a:lnTo>
                    <a:lnTo>
                      <a:pt x="14" y="511"/>
                    </a:lnTo>
                    <a:lnTo>
                      <a:pt x="10" y="506"/>
                    </a:lnTo>
                    <a:lnTo>
                      <a:pt x="9" y="509"/>
                    </a:lnTo>
                    <a:lnTo>
                      <a:pt x="8" y="507"/>
                    </a:lnTo>
                    <a:lnTo>
                      <a:pt x="8" y="506"/>
                    </a:lnTo>
                    <a:lnTo>
                      <a:pt x="7" y="506"/>
                    </a:lnTo>
                    <a:lnTo>
                      <a:pt x="8" y="507"/>
                    </a:lnTo>
                    <a:lnTo>
                      <a:pt x="8" y="509"/>
                    </a:lnTo>
                    <a:lnTo>
                      <a:pt x="6" y="506"/>
                    </a:lnTo>
                    <a:lnTo>
                      <a:pt x="5" y="512"/>
                    </a:lnTo>
                    <a:lnTo>
                      <a:pt x="2" y="509"/>
                    </a:lnTo>
                    <a:lnTo>
                      <a:pt x="1" y="511"/>
                    </a:lnTo>
                    <a:lnTo>
                      <a:pt x="0" y="511"/>
                    </a:lnTo>
                    <a:lnTo>
                      <a:pt x="0" y="4"/>
                    </a:lnTo>
                    <a:lnTo>
                      <a:pt x="6" y="6"/>
                    </a:lnTo>
                    <a:lnTo>
                      <a:pt x="8" y="9"/>
                    </a:lnTo>
                    <a:lnTo>
                      <a:pt x="8" y="8"/>
                    </a:lnTo>
                    <a:lnTo>
                      <a:pt x="6" y="6"/>
                    </a:lnTo>
                    <a:lnTo>
                      <a:pt x="7" y="5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E20074"/>
                  </a:buClr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0" cap="none" spc="0" normalizeH="0" baseline="0" noProof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5" name="Freeform 133"/>
              <p:cNvSpPr>
                <a:spLocks/>
              </p:cNvSpPr>
              <p:nvPr/>
            </p:nvSpPr>
            <p:spPr bwMode="auto">
              <a:xfrm>
                <a:off x="11918951" y="609601"/>
                <a:ext cx="187325" cy="758825"/>
              </a:xfrm>
              <a:custGeom>
                <a:avLst/>
                <a:gdLst>
                  <a:gd name="T0" fmla="*/ 15 w 118"/>
                  <a:gd name="T1" fmla="*/ 3 h 478"/>
                  <a:gd name="T2" fmla="*/ 21 w 118"/>
                  <a:gd name="T3" fmla="*/ 7 h 478"/>
                  <a:gd name="T4" fmla="*/ 23 w 118"/>
                  <a:gd name="T5" fmla="*/ 6 h 478"/>
                  <a:gd name="T6" fmla="*/ 28 w 118"/>
                  <a:gd name="T7" fmla="*/ 1 h 478"/>
                  <a:gd name="T8" fmla="*/ 29 w 118"/>
                  <a:gd name="T9" fmla="*/ 3 h 478"/>
                  <a:gd name="T10" fmla="*/ 33 w 118"/>
                  <a:gd name="T11" fmla="*/ 5 h 478"/>
                  <a:gd name="T12" fmla="*/ 34 w 118"/>
                  <a:gd name="T13" fmla="*/ 8 h 478"/>
                  <a:gd name="T14" fmla="*/ 37 w 118"/>
                  <a:gd name="T15" fmla="*/ 6 h 478"/>
                  <a:gd name="T16" fmla="*/ 41 w 118"/>
                  <a:gd name="T17" fmla="*/ 3 h 478"/>
                  <a:gd name="T18" fmla="*/ 45 w 118"/>
                  <a:gd name="T19" fmla="*/ 5 h 478"/>
                  <a:gd name="T20" fmla="*/ 47 w 118"/>
                  <a:gd name="T21" fmla="*/ 6 h 478"/>
                  <a:gd name="T22" fmla="*/ 51 w 118"/>
                  <a:gd name="T23" fmla="*/ 5 h 478"/>
                  <a:gd name="T24" fmla="*/ 55 w 118"/>
                  <a:gd name="T25" fmla="*/ 9 h 478"/>
                  <a:gd name="T26" fmla="*/ 58 w 118"/>
                  <a:gd name="T27" fmla="*/ 7 h 478"/>
                  <a:gd name="T28" fmla="*/ 68 w 118"/>
                  <a:gd name="T29" fmla="*/ 3 h 478"/>
                  <a:gd name="T30" fmla="*/ 72 w 118"/>
                  <a:gd name="T31" fmla="*/ 5 h 478"/>
                  <a:gd name="T32" fmla="*/ 76 w 118"/>
                  <a:gd name="T33" fmla="*/ 3 h 478"/>
                  <a:gd name="T34" fmla="*/ 81 w 118"/>
                  <a:gd name="T35" fmla="*/ 6 h 478"/>
                  <a:gd name="T36" fmla="*/ 86 w 118"/>
                  <a:gd name="T37" fmla="*/ 5 h 478"/>
                  <a:gd name="T38" fmla="*/ 90 w 118"/>
                  <a:gd name="T39" fmla="*/ 5 h 478"/>
                  <a:gd name="T40" fmla="*/ 91 w 118"/>
                  <a:gd name="T41" fmla="*/ 6 h 478"/>
                  <a:gd name="T42" fmla="*/ 99 w 118"/>
                  <a:gd name="T43" fmla="*/ 6 h 478"/>
                  <a:gd name="T44" fmla="*/ 105 w 118"/>
                  <a:gd name="T45" fmla="*/ 2 h 478"/>
                  <a:gd name="T46" fmla="*/ 118 w 118"/>
                  <a:gd name="T47" fmla="*/ 6 h 478"/>
                  <a:gd name="T48" fmla="*/ 118 w 118"/>
                  <a:gd name="T49" fmla="*/ 473 h 478"/>
                  <a:gd name="T50" fmla="*/ 108 w 118"/>
                  <a:gd name="T51" fmla="*/ 471 h 478"/>
                  <a:gd name="T52" fmla="*/ 104 w 118"/>
                  <a:gd name="T53" fmla="*/ 473 h 478"/>
                  <a:gd name="T54" fmla="*/ 103 w 118"/>
                  <a:gd name="T55" fmla="*/ 474 h 478"/>
                  <a:gd name="T56" fmla="*/ 92 w 118"/>
                  <a:gd name="T57" fmla="*/ 473 h 478"/>
                  <a:gd name="T58" fmla="*/ 89 w 118"/>
                  <a:gd name="T59" fmla="*/ 468 h 478"/>
                  <a:gd name="T60" fmla="*/ 84 w 118"/>
                  <a:gd name="T61" fmla="*/ 463 h 478"/>
                  <a:gd name="T62" fmla="*/ 82 w 118"/>
                  <a:gd name="T63" fmla="*/ 465 h 478"/>
                  <a:gd name="T64" fmla="*/ 76 w 118"/>
                  <a:gd name="T65" fmla="*/ 468 h 478"/>
                  <a:gd name="T66" fmla="*/ 73 w 118"/>
                  <a:gd name="T67" fmla="*/ 467 h 478"/>
                  <a:gd name="T68" fmla="*/ 64 w 118"/>
                  <a:gd name="T69" fmla="*/ 466 h 478"/>
                  <a:gd name="T70" fmla="*/ 62 w 118"/>
                  <a:gd name="T71" fmla="*/ 468 h 478"/>
                  <a:gd name="T72" fmla="*/ 53 w 118"/>
                  <a:gd name="T73" fmla="*/ 470 h 478"/>
                  <a:gd name="T74" fmla="*/ 50 w 118"/>
                  <a:gd name="T75" fmla="*/ 466 h 478"/>
                  <a:gd name="T76" fmla="*/ 45 w 118"/>
                  <a:gd name="T77" fmla="*/ 463 h 478"/>
                  <a:gd name="T78" fmla="*/ 40 w 118"/>
                  <a:gd name="T79" fmla="*/ 462 h 478"/>
                  <a:gd name="T80" fmla="*/ 38 w 118"/>
                  <a:gd name="T81" fmla="*/ 465 h 478"/>
                  <a:gd name="T82" fmla="*/ 37 w 118"/>
                  <a:gd name="T83" fmla="*/ 465 h 478"/>
                  <a:gd name="T84" fmla="*/ 33 w 118"/>
                  <a:gd name="T85" fmla="*/ 465 h 478"/>
                  <a:gd name="T86" fmla="*/ 30 w 118"/>
                  <a:gd name="T87" fmla="*/ 466 h 478"/>
                  <a:gd name="T88" fmla="*/ 26 w 118"/>
                  <a:gd name="T89" fmla="*/ 466 h 478"/>
                  <a:gd name="T90" fmla="*/ 22 w 118"/>
                  <a:gd name="T91" fmla="*/ 471 h 478"/>
                  <a:gd name="T92" fmla="*/ 17 w 118"/>
                  <a:gd name="T93" fmla="*/ 469 h 478"/>
                  <a:gd name="T94" fmla="*/ 16 w 118"/>
                  <a:gd name="T95" fmla="*/ 478 h 478"/>
                  <a:gd name="T96" fmla="*/ 7 w 118"/>
                  <a:gd name="T97" fmla="*/ 473 h 478"/>
                  <a:gd name="T98" fmla="*/ 4 w 118"/>
                  <a:gd name="T99" fmla="*/ 473 h 478"/>
                  <a:gd name="T100" fmla="*/ 0 w 118"/>
                  <a:gd name="T101" fmla="*/ 1 h 478"/>
                  <a:gd name="T102" fmla="*/ 4 w 118"/>
                  <a:gd name="T103" fmla="*/ 5 h 478"/>
                  <a:gd name="T104" fmla="*/ 5 w 118"/>
                  <a:gd name="T105" fmla="*/ 5 h 478"/>
                  <a:gd name="T106" fmla="*/ 7 w 118"/>
                  <a:gd name="T107" fmla="*/ 0 h 478"/>
                  <a:gd name="T108" fmla="*/ 8 w 118"/>
                  <a:gd name="T109" fmla="*/ 2 h 4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18" h="478">
                    <a:moveTo>
                      <a:pt x="9" y="0"/>
                    </a:moveTo>
                    <a:lnTo>
                      <a:pt x="13" y="6"/>
                    </a:lnTo>
                    <a:lnTo>
                      <a:pt x="15" y="3"/>
                    </a:lnTo>
                    <a:lnTo>
                      <a:pt x="16" y="7"/>
                    </a:lnTo>
                    <a:lnTo>
                      <a:pt x="20" y="9"/>
                    </a:lnTo>
                    <a:lnTo>
                      <a:pt x="21" y="7"/>
                    </a:lnTo>
                    <a:lnTo>
                      <a:pt x="20" y="3"/>
                    </a:lnTo>
                    <a:lnTo>
                      <a:pt x="22" y="6"/>
                    </a:lnTo>
                    <a:lnTo>
                      <a:pt x="23" y="6"/>
                    </a:lnTo>
                    <a:lnTo>
                      <a:pt x="25" y="2"/>
                    </a:lnTo>
                    <a:lnTo>
                      <a:pt x="25" y="5"/>
                    </a:lnTo>
                    <a:lnTo>
                      <a:pt x="28" y="1"/>
                    </a:lnTo>
                    <a:lnTo>
                      <a:pt x="26" y="3"/>
                    </a:lnTo>
                    <a:lnTo>
                      <a:pt x="29" y="6"/>
                    </a:lnTo>
                    <a:lnTo>
                      <a:pt x="29" y="3"/>
                    </a:lnTo>
                    <a:lnTo>
                      <a:pt x="31" y="5"/>
                    </a:lnTo>
                    <a:lnTo>
                      <a:pt x="31" y="7"/>
                    </a:lnTo>
                    <a:lnTo>
                      <a:pt x="33" y="5"/>
                    </a:lnTo>
                    <a:lnTo>
                      <a:pt x="33" y="6"/>
                    </a:lnTo>
                    <a:lnTo>
                      <a:pt x="32" y="7"/>
                    </a:lnTo>
                    <a:lnTo>
                      <a:pt x="34" y="8"/>
                    </a:lnTo>
                    <a:lnTo>
                      <a:pt x="36" y="6"/>
                    </a:lnTo>
                    <a:lnTo>
                      <a:pt x="37" y="7"/>
                    </a:lnTo>
                    <a:lnTo>
                      <a:pt x="37" y="6"/>
                    </a:lnTo>
                    <a:lnTo>
                      <a:pt x="38" y="7"/>
                    </a:lnTo>
                    <a:lnTo>
                      <a:pt x="39" y="5"/>
                    </a:lnTo>
                    <a:lnTo>
                      <a:pt x="41" y="3"/>
                    </a:lnTo>
                    <a:lnTo>
                      <a:pt x="41" y="7"/>
                    </a:lnTo>
                    <a:lnTo>
                      <a:pt x="44" y="5"/>
                    </a:lnTo>
                    <a:lnTo>
                      <a:pt x="45" y="5"/>
                    </a:lnTo>
                    <a:lnTo>
                      <a:pt x="45" y="8"/>
                    </a:lnTo>
                    <a:lnTo>
                      <a:pt x="48" y="8"/>
                    </a:lnTo>
                    <a:lnTo>
                      <a:pt x="47" y="6"/>
                    </a:lnTo>
                    <a:lnTo>
                      <a:pt x="48" y="6"/>
                    </a:lnTo>
                    <a:lnTo>
                      <a:pt x="50" y="8"/>
                    </a:lnTo>
                    <a:lnTo>
                      <a:pt x="51" y="5"/>
                    </a:lnTo>
                    <a:lnTo>
                      <a:pt x="53" y="5"/>
                    </a:lnTo>
                    <a:lnTo>
                      <a:pt x="53" y="8"/>
                    </a:lnTo>
                    <a:lnTo>
                      <a:pt x="55" y="9"/>
                    </a:lnTo>
                    <a:lnTo>
                      <a:pt x="55" y="7"/>
                    </a:lnTo>
                    <a:lnTo>
                      <a:pt x="56" y="8"/>
                    </a:lnTo>
                    <a:lnTo>
                      <a:pt x="58" y="7"/>
                    </a:lnTo>
                    <a:lnTo>
                      <a:pt x="58" y="6"/>
                    </a:lnTo>
                    <a:lnTo>
                      <a:pt x="66" y="3"/>
                    </a:lnTo>
                    <a:lnTo>
                      <a:pt x="68" y="3"/>
                    </a:lnTo>
                    <a:lnTo>
                      <a:pt x="68" y="5"/>
                    </a:lnTo>
                    <a:lnTo>
                      <a:pt x="71" y="3"/>
                    </a:lnTo>
                    <a:lnTo>
                      <a:pt x="72" y="5"/>
                    </a:lnTo>
                    <a:lnTo>
                      <a:pt x="72" y="2"/>
                    </a:lnTo>
                    <a:lnTo>
                      <a:pt x="76" y="5"/>
                    </a:lnTo>
                    <a:lnTo>
                      <a:pt x="76" y="3"/>
                    </a:lnTo>
                    <a:lnTo>
                      <a:pt x="76" y="5"/>
                    </a:lnTo>
                    <a:lnTo>
                      <a:pt x="81" y="5"/>
                    </a:lnTo>
                    <a:lnTo>
                      <a:pt x="81" y="6"/>
                    </a:lnTo>
                    <a:lnTo>
                      <a:pt x="83" y="6"/>
                    </a:lnTo>
                    <a:lnTo>
                      <a:pt x="82" y="6"/>
                    </a:lnTo>
                    <a:lnTo>
                      <a:pt x="86" y="5"/>
                    </a:lnTo>
                    <a:lnTo>
                      <a:pt x="86" y="6"/>
                    </a:lnTo>
                    <a:lnTo>
                      <a:pt x="87" y="5"/>
                    </a:lnTo>
                    <a:lnTo>
                      <a:pt x="90" y="5"/>
                    </a:lnTo>
                    <a:lnTo>
                      <a:pt x="92" y="1"/>
                    </a:lnTo>
                    <a:lnTo>
                      <a:pt x="91" y="5"/>
                    </a:lnTo>
                    <a:lnTo>
                      <a:pt x="91" y="6"/>
                    </a:lnTo>
                    <a:lnTo>
                      <a:pt x="95" y="5"/>
                    </a:lnTo>
                    <a:lnTo>
                      <a:pt x="95" y="7"/>
                    </a:lnTo>
                    <a:lnTo>
                      <a:pt x="99" y="6"/>
                    </a:lnTo>
                    <a:lnTo>
                      <a:pt x="100" y="2"/>
                    </a:lnTo>
                    <a:lnTo>
                      <a:pt x="104" y="0"/>
                    </a:lnTo>
                    <a:lnTo>
                      <a:pt x="105" y="2"/>
                    </a:lnTo>
                    <a:lnTo>
                      <a:pt x="115" y="6"/>
                    </a:lnTo>
                    <a:lnTo>
                      <a:pt x="115" y="3"/>
                    </a:lnTo>
                    <a:lnTo>
                      <a:pt x="118" y="6"/>
                    </a:lnTo>
                    <a:lnTo>
                      <a:pt x="118" y="469"/>
                    </a:lnTo>
                    <a:lnTo>
                      <a:pt x="114" y="469"/>
                    </a:lnTo>
                    <a:lnTo>
                      <a:pt x="118" y="473"/>
                    </a:lnTo>
                    <a:lnTo>
                      <a:pt x="109" y="467"/>
                    </a:lnTo>
                    <a:lnTo>
                      <a:pt x="112" y="474"/>
                    </a:lnTo>
                    <a:lnTo>
                      <a:pt x="108" y="471"/>
                    </a:lnTo>
                    <a:lnTo>
                      <a:pt x="107" y="473"/>
                    </a:lnTo>
                    <a:lnTo>
                      <a:pt x="108" y="475"/>
                    </a:lnTo>
                    <a:lnTo>
                      <a:pt x="104" y="473"/>
                    </a:lnTo>
                    <a:lnTo>
                      <a:pt x="104" y="474"/>
                    </a:lnTo>
                    <a:lnTo>
                      <a:pt x="100" y="474"/>
                    </a:lnTo>
                    <a:lnTo>
                      <a:pt x="103" y="474"/>
                    </a:lnTo>
                    <a:lnTo>
                      <a:pt x="103" y="475"/>
                    </a:lnTo>
                    <a:lnTo>
                      <a:pt x="99" y="476"/>
                    </a:lnTo>
                    <a:lnTo>
                      <a:pt x="92" y="473"/>
                    </a:lnTo>
                    <a:lnTo>
                      <a:pt x="90" y="470"/>
                    </a:lnTo>
                    <a:lnTo>
                      <a:pt x="90" y="473"/>
                    </a:lnTo>
                    <a:lnTo>
                      <a:pt x="89" y="468"/>
                    </a:lnTo>
                    <a:lnTo>
                      <a:pt x="88" y="470"/>
                    </a:lnTo>
                    <a:lnTo>
                      <a:pt x="84" y="461"/>
                    </a:lnTo>
                    <a:lnTo>
                      <a:pt x="84" y="463"/>
                    </a:lnTo>
                    <a:lnTo>
                      <a:pt x="83" y="462"/>
                    </a:lnTo>
                    <a:lnTo>
                      <a:pt x="82" y="462"/>
                    </a:lnTo>
                    <a:lnTo>
                      <a:pt x="82" y="465"/>
                    </a:lnTo>
                    <a:lnTo>
                      <a:pt x="79" y="465"/>
                    </a:lnTo>
                    <a:lnTo>
                      <a:pt x="76" y="463"/>
                    </a:lnTo>
                    <a:lnTo>
                      <a:pt x="76" y="468"/>
                    </a:lnTo>
                    <a:lnTo>
                      <a:pt x="74" y="465"/>
                    </a:lnTo>
                    <a:lnTo>
                      <a:pt x="74" y="468"/>
                    </a:lnTo>
                    <a:lnTo>
                      <a:pt x="73" y="467"/>
                    </a:lnTo>
                    <a:lnTo>
                      <a:pt x="71" y="468"/>
                    </a:lnTo>
                    <a:lnTo>
                      <a:pt x="66" y="465"/>
                    </a:lnTo>
                    <a:lnTo>
                      <a:pt x="64" y="466"/>
                    </a:lnTo>
                    <a:lnTo>
                      <a:pt x="65" y="467"/>
                    </a:lnTo>
                    <a:lnTo>
                      <a:pt x="63" y="468"/>
                    </a:lnTo>
                    <a:lnTo>
                      <a:pt x="62" y="468"/>
                    </a:lnTo>
                    <a:lnTo>
                      <a:pt x="56" y="470"/>
                    </a:lnTo>
                    <a:lnTo>
                      <a:pt x="56" y="468"/>
                    </a:lnTo>
                    <a:lnTo>
                      <a:pt x="53" y="470"/>
                    </a:lnTo>
                    <a:lnTo>
                      <a:pt x="54" y="468"/>
                    </a:lnTo>
                    <a:lnTo>
                      <a:pt x="53" y="466"/>
                    </a:lnTo>
                    <a:lnTo>
                      <a:pt x="50" y="466"/>
                    </a:lnTo>
                    <a:lnTo>
                      <a:pt x="48" y="463"/>
                    </a:lnTo>
                    <a:lnTo>
                      <a:pt x="48" y="466"/>
                    </a:lnTo>
                    <a:lnTo>
                      <a:pt x="45" y="463"/>
                    </a:lnTo>
                    <a:lnTo>
                      <a:pt x="44" y="461"/>
                    </a:lnTo>
                    <a:lnTo>
                      <a:pt x="41" y="465"/>
                    </a:lnTo>
                    <a:lnTo>
                      <a:pt x="40" y="462"/>
                    </a:lnTo>
                    <a:lnTo>
                      <a:pt x="38" y="462"/>
                    </a:lnTo>
                    <a:lnTo>
                      <a:pt x="40" y="465"/>
                    </a:lnTo>
                    <a:lnTo>
                      <a:pt x="38" y="465"/>
                    </a:lnTo>
                    <a:lnTo>
                      <a:pt x="40" y="466"/>
                    </a:lnTo>
                    <a:lnTo>
                      <a:pt x="37" y="466"/>
                    </a:lnTo>
                    <a:lnTo>
                      <a:pt x="37" y="465"/>
                    </a:lnTo>
                    <a:lnTo>
                      <a:pt x="36" y="466"/>
                    </a:lnTo>
                    <a:lnTo>
                      <a:pt x="34" y="465"/>
                    </a:lnTo>
                    <a:lnTo>
                      <a:pt x="33" y="465"/>
                    </a:lnTo>
                    <a:lnTo>
                      <a:pt x="32" y="468"/>
                    </a:lnTo>
                    <a:lnTo>
                      <a:pt x="30" y="465"/>
                    </a:lnTo>
                    <a:lnTo>
                      <a:pt x="30" y="466"/>
                    </a:lnTo>
                    <a:lnTo>
                      <a:pt x="28" y="465"/>
                    </a:lnTo>
                    <a:lnTo>
                      <a:pt x="28" y="468"/>
                    </a:lnTo>
                    <a:lnTo>
                      <a:pt x="26" y="466"/>
                    </a:lnTo>
                    <a:lnTo>
                      <a:pt x="23" y="467"/>
                    </a:lnTo>
                    <a:lnTo>
                      <a:pt x="23" y="470"/>
                    </a:lnTo>
                    <a:lnTo>
                      <a:pt x="22" y="471"/>
                    </a:lnTo>
                    <a:lnTo>
                      <a:pt x="20" y="471"/>
                    </a:lnTo>
                    <a:lnTo>
                      <a:pt x="19" y="469"/>
                    </a:lnTo>
                    <a:lnTo>
                      <a:pt x="17" y="469"/>
                    </a:lnTo>
                    <a:lnTo>
                      <a:pt x="17" y="471"/>
                    </a:lnTo>
                    <a:lnTo>
                      <a:pt x="16" y="469"/>
                    </a:lnTo>
                    <a:lnTo>
                      <a:pt x="16" y="478"/>
                    </a:lnTo>
                    <a:lnTo>
                      <a:pt x="12" y="473"/>
                    </a:lnTo>
                    <a:lnTo>
                      <a:pt x="8" y="471"/>
                    </a:lnTo>
                    <a:lnTo>
                      <a:pt x="7" y="473"/>
                    </a:lnTo>
                    <a:lnTo>
                      <a:pt x="11" y="474"/>
                    </a:lnTo>
                    <a:lnTo>
                      <a:pt x="7" y="473"/>
                    </a:lnTo>
                    <a:lnTo>
                      <a:pt x="4" y="473"/>
                    </a:lnTo>
                    <a:lnTo>
                      <a:pt x="1" y="471"/>
                    </a:lnTo>
                    <a:lnTo>
                      <a:pt x="0" y="471"/>
                    </a:lnTo>
                    <a:lnTo>
                      <a:pt x="0" y="1"/>
                    </a:lnTo>
                    <a:lnTo>
                      <a:pt x="1" y="5"/>
                    </a:lnTo>
                    <a:lnTo>
                      <a:pt x="3" y="1"/>
                    </a:lnTo>
                    <a:lnTo>
                      <a:pt x="4" y="5"/>
                    </a:lnTo>
                    <a:lnTo>
                      <a:pt x="5" y="2"/>
                    </a:lnTo>
                    <a:lnTo>
                      <a:pt x="6" y="2"/>
                    </a:lnTo>
                    <a:lnTo>
                      <a:pt x="5" y="5"/>
                    </a:lnTo>
                    <a:lnTo>
                      <a:pt x="6" y="0"/>
                    </a:lnTo>
                    <a:lnTo>
                      <a:pt x="6" y="1"/>
                    </a:lnTo>
                    <a:lnTo>
                      <a:pt x="7" y="0"/>
                    </a:lnTo>
                    <a:lnTo>
                      <a:pt x="8" y="1"/>
                    </a:lnTo>
                    <a:lnTo>
                      <a:pt x="8" y="1"/>
                    </a:lnTo>
                    <a:lnTo>
                      <a:pt x="8" y="2"/>
                    </a:lnTo>
                    <a:lnTo>
                      <a:pt x="9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E20074"/>
                  </a:buClr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0" cap="none" spc="0" normalizeH="0" baseline="0" noProof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6" name="Freeform 134"/>
              <p:cNvSpPr>
                <a:spLocks noEditPoints="1"/>
              </p:cNvSpPr>
              <p:nvPr/>
            </p:nvSpPr>
            <p:spPr bwMode="auto">
              <a:xfrm>
                <a:off x="12106276" y="612776"/>
                <a:ext cx="185738" cy="742950"/>
              </a:xfrm>
              <a:custGeom>
                <a:avLst/>
                <a:gdLst>
                  <a:gd name="T0" fmla="*/ 61 w 117"/>
                  <a:gd name="T1" fmla="*/ 459 h 468"/>
                  <a:gd name="T2" fmla="*/ 56 w 117"/>
                  <a:gd name="T3" fmla="*/ 458 h 468"/>
                  <a:gd name="T4" fmla="*/ 54 w 117"/>
                  <a:gd name="T5" fmla="*/ 459 h 468"/>
                  <a:gd name="T6" fmla="*/ 98 w 117"/>
                  <a:gd name="T7" fmla="*/ 15 h 468"/>
                  <a:gd name="T8" fmla="*/ 113 w 117"/>
                  <a:gd name="T9" fmla="*/ 12 h 468"/>
                  <a:gd name="T10" fmla="*/ 17 w 117"/>
                  <a:gd name="T11" fmla="*/ 8 h 468"/>
                  <a:gd name="T12" fmla="*/ 4 w 117"/>
                  <a:gd name="T13" fmla="*/ 5 h 468"/>
                  <a:gd name="T14" fmla="*/ 5 w 117"/>
                  <a:gd name="T15" fmla="*/ 4 h 468"/>
                  <a:gd name="T16" fmla="*/ 25 w 117"/>
                  <a:gd name="T17" fmla="*/ 3 h 468"/>
                  <a:gd name="T18" fmla="*/ 28 w 117"/>
                  <a:gd name="T19" fmla="*/ 5 h 468"/>
                  <a:gd name="T20" fmla="*/ 42 w 117"/>
                  <a:gd name="T21" fmla="*/ 13 h 468"/>
                  <a:gd name="T22" fmla="*/ 45 w 117"/>
                  <a:gd name="T23" fmla="*/ 15 h 468"/>
                  <a:gd name="T24" fmla="*/ 54 w 117"/>
                  <a:gd name="T25" fmla="*/ 17 h 468"/>
                  <a:gd name="T26" fmla="*/ 60 w 117"/>
                  <a:gd name="T27" fmla="*/ 18 h 468"/>
                  <a:gd name="T28" fmla="*/ 66 w 117"/>
                  <a:gd name="T29" fmla="*/ 22 h 468"/>
                  <a:gd name="T30" fmla="*/ 73 w 117"/>
                  <a:gd name="T31" fmla="*/ 17 h 468"/>
                  <a:gd name="T32" fmla="*/ 79 w 117"/>
                  <a:gd name="T33" fmla="*/ 17 h 468"/>
                  <a:gd name="T34" fmla="*/ 86 w 117"/>
                  <a:gd name="T35" fmla="*/ 20 h 468"/>
                  <a:gd name="T36" fmla="*/ 91 w 117"/>
                  <a:gd name="T37" fmla="*/ 14 h 468"/>
                  <a:gd name="T38" fmla="*/ 98 w 117"/>
                  <a:gd name="T39" fmla="*/ 17 h 468"/>
                  <a:gd name="T40" fmla="*/ 100 w 117"/>
                  <a:gd name="T41" fmla="*/ 15 h 468"/>
                  <a:gd name="T42" fmla="*/ 106 w 117"/>
                  <a:gd name="T43" fmla="*/ 13 h 468"/>
                  <a:gd name="T44" fmla="*/ 115 w 117"/>
                  <a:gd name="T45" fmla="*/ 12 h 468"/>
                  <a:gd name="T46" fmla="*/ 117 w 117"/>
                  <a:gd name="T47" fmla="*/ 12 h 468"/>
                  <a:gd name="T48" fmla="*/ 116 w 117"/>
                  <a:gd name="T49" fmla="*/ 458 h 468"/>
                  <a:gd name="T50" fmla="*/ 115 w 117"/>
                  <a:gd name="T51" fmla="*/ 461 h 468"/>
                  <a:gd name="T52" fmla="*/ 113 w 117"/>
                  <a:gd name="T53" fmla="*/ 461 h 468"/>
                  <a:gd name="T54" fmla="*/ 107 w 117"/>
                  <a:gd name="T55" fmla="*/ 459 h 468"/>
                  <a:gd name="T56" fmla="*/ 105 w 117"/>
                  <a:gd name="T57" fmla="*/ 463 h 468"/>
                  <a:gd name="T58" fmla="*/ 102 w 117"/>
                  <a:gd name="T59" fmla="*/ 458 h 468"/>
                  <a:gd name="T60" fmla="*/ 99 w 117"/>
                  <a:gd name="T61" fmla="*/ 458 h 468"/>
                  <a:gd name="T62" fmla="*/ 96 w 117"/>
                  <a:gd name="T63" fmla="*/ 457 h 468"/>
                  <a:gd name="T64" fmla="*/ 92 w 117"/>
                  <a:gd name="T65" fmla="*/ 456 h 468"/>
                  <a:gd name="T66" fmla="*/ 94 w 117"/>
                  <a:gd name="T67" fmla="*/ 458 h 468"/>
                  <a:gd name="T68" fmla="*/ 87 w 117"/>
                  <a:gd name="T69" fmla="*/ 458 h 468"/>
                  <a:gd name="T70" fmla="*/ 79 w 117"/>
                  <a:gd name="T71" fmla="*/ 460 h 468"/>
                  <a:gd name="T72" fmla="*/ 72 w 117"/>
                  <a:gd name="T73" fmla="*/ 457 h 468"/>
                  <a:gd name="T74" fmla="*/ 62 w 117"/>
                  <a:gd name="T75" fmla="*/ 458 h 468"/>
                  <a:gd name="T76" fmla="*/ 60 w 117"/>
                  <a:gd name="T77" fmla="*/ 456 h 468"/>
                  <a:gd name="T78" fmla="*/ 58 w 117"/>
                  <a:gd name="T79" fmla="*/ 459 h 468"/>
                  <a:gd name="T80" fmla="*/ 53 w 117"/>
                  <a:gd name="T81" fmla="*/ 460 h 468"/>
                  <a:gd name="T82" fmla="*/ 44 w 117"/>
                  <a:gd name="T83" fmla="*/ 457 h 468"/>
                  <a:gd name="T84" fmla="*/ 38 w 117"/>
                  <a:gd name="T85" fmla="*/ 452 h 468"/>
                  <a:gd name="T86" fmla="*/ 35 w 117"/>
                  <a:gd name="T87" fmla="*/ 456 h 468"/>
                  <a:gd name="T88" fmla="*/ 20 w 117"/>
                  <a:gd name="T89" fmla="*/ 460 h 468"/>
                  <a:gd name="T90" fmla="*/ 19 w 117"/>
                  <a:gd name="T91" fmla="*/ 464 h 468"/>
                  <a:gd name="T92" fmla="*/ 11 w 117"/>
                  <a:gd name="T93" fmla="*/ 464 h 468"/>
                  <a:gd name="T94" fmla="*/ 10 w 117"/>
                  <a:gd name="T95" fmla="*/ 467 h 468"/>
                  <a:gd name="T96" fmla="*/ 2 w 117"/>
                  <a:gd name="T97" fmla="*/ 467 h 468"/>
                  <a:gd name="T98" fmla="*/ 3 w 117"/>
                  <a:gd name="T99" fmla="*/ 6 h 468"/>
                  <a:gd name="T100" fmla="*/ 10 w 117"/>
                  <a:gd name="T101" fmla="*/ 7 h 468"/>
                  <a:gd name="T102" fmla="*/ 17 w 117"/>
                  <a:gd name="T103" fmla="*/ 9 h 468"/>
                  <a:gd name="T104" fmla="*/ 19 w 117"/>
                  <a:gd name="T105" fmla="*/ 7 h 468"/>
                  <a:gd name="T106" fmla="*/ 20 w 117"/>
                  <a:gd name="T107" fmla="*/ 5 h 468"/>
                  <a:gd name="T108" fmla="*/ 29 w 117"/>
                  <a:gd name="T109" fmla="*/ 0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17" h="468">
                    <a:moveTo>
                      <a:pt x="61" y="459"/>
                    </a:moveTo>
                    <a:lnTo>
                      <a:pt x="62" y="460"/>
                    </a:lnTo>
                    <a:lnTo>
                      <a:pt x="61" y="460"/>
                    </a:lnTo>
                    <a:lnTo>
                      <a:pt x="61" y="459"/>
                    </a:lnTo>
                    <a:close/>
                    <a:moveTo>
                      <a:pt x="56" y="458"/>
                    </a:moveTo>
                    <a:lnTo>
                      <a:pt x="57" y="458"/>
                    </a:lnTo>
                    <a:lnTo>
                      <a:pt x="57" y="459"/>
                    </a:lnTo>
                    <a:lnTo>
                      <a:pt x="56" y="458"/>
                    </a:lnTo>
                    <a:close/>
                    <a:moveTo>
                      <a:pt x="54" y="457"/>
                    </a:moveTo>
                    <a:lnTo>
                      <a:pt x="56" y="458"/>
                    </a:lnTo>
                    <a:lnTo>
                      <a:pt x="55" y="458"/>
                    </a:lnTo>
                    <a:lnTo>
                      <a:pt x="54" y="459"/>
                    </a:lnTo>
                    <a:lnTo>
                      <a:pt x="54" y="457"/>
                    </a:lnTo>
                    <a:close/>
                    <a:moveTo>
                      <a:pt x="97" y="15"/>
                    </a:moveTo>
                    <a:lnTo>
                      <a:pt x="98" y="15"/>
                    </a:lnTo>
                    <a:lnTo>
                      <a:pt x="98" y="15"/>
                    </a:lnTo>
                    <a:lnTo>
                      <a:pt x="97" y="15"/>
                    </a:lnTo>
                    <a:close/>
                    <a:moveTo>
                      <a:pt x="113" y="11"/>
                    </a:moveTo>
                    <a:lnTo>
                      <a:pt x="113" y="12"/>
                    </a:lnTo>
                    <a:lnTo>
                      <a:pt x="113" y="12"/>
                    </a:lnTo>
                    <a:lnTo>
                      <a:pt x="113" y="11"/>
                    </a:lnTo>
                    <a:close/>
                    <a:moveTo>
                      <a:pt x="17" y="8"/>
                    </a:moveTo>
                    <a:lnTo>
                      <a:pt x="17" y="8"/>
                    </a:lnTo>
                    <a:lnTo>
                      <a:pt x="17" y="8"/>
                    </a:lnTo>
                    <a:lnTo>
                      <a:pt x="17" y="8"/>
                    </a:lnTo>
                    <a:close/>
                    <a:moveTo>
                      <a:pt x="4" y="4"/>
                    </a:moveTo>
                    <a:lnTo>
                      <a:pt x="5" y="4"/>
                    </a:lnTo>
                    <a:lnTo>
                      <a:pt x="4" y="5"/>
                    </a:lnTo>
                    <a:lnTo>
                      <a:pt x="4" y="4"/>
                    </a:lnTo>
                    <a:close/>
                    <a:moveTo>
                      <a:pt x="5" y="3"/>
                    </a:moveTo>
                    <a:lnTo>
                      <a:pt x="5" y="5"/>
                    </a:lnTo>
                    <a:lnTo>
                      <a:pt x="5" y="4"/>
                    </a:lnTo>
                    <a:lnTo>
                      <a:pt x="5" y="3"/>
                    </a:lnTo>
                    <a:close/>
                    <a:moveTo>
                      <a:pt x="27" y="1"/>
                    </a:moveTo>
                    <a:lnTo>
                      <a:pt x="25" y="3"/>
                    </a:lnTo>
                    <a:lnTo>
                      <a:pt x="25" y="3"/>
                    </a:lnTo>
                    <a:lnTo>
                      <a:pt x="27" y="1"/>
                    </a:lnTo>
                    <a:close/>
                    <a:moveTo>
                      <a:pt x="29" y="0"/>
                    </a:moveTo>
                    <a:lnTo>
                      <a:pt x="25" y="5"/>
                    </a:lnTo>
                    <a:lnTo>
                      <a:pt x="28" y="5"/>
                    </a:lnTo>
                    <a:lnTo>
                      <a:pt x="35" y="5"/>
                    </a:lnTo>
                    <a:lnTo>
                      <a:pt x="37" y="7"/>
                    </a:lnTo>
                    <a:lnTo>
                      <a:pt x="37" y="8"/>
                    </a:lnTo>
                    <a:lnTo>
                      <a:pt x="42" y="13"/>
                    </a:lnTo>
                    <a:lnTo>
                      <a:pt x="44" y="18"/>
                    </a:lnTo>
                    <a:lnTo>
                      <a:pt x="44" y="15"/>
                    </a:lnTo>
                    <a:lnTo>
                      <a:pt x="45" y="17"/>
                    </a:lnTo>
                    <a:lnTo>
                      <a:pt x="45" y="15"/>
                    </a:lnTo>
                    <a:lnTo>
                      <a:pt x="47" y="14"/>
                    </a:lnTo>
                    <a:lnTo>
                      <a:pt x="48" y="15"/>
                    </a:lnTo>
                    <a:lnTo>
                      <a:pt x="49" y="18"/>
                    </a:lnTo>
                    <a:lnTo>
                      <a:pt x="54" y="17"/>
                    </a:lnTo>
                    <a:lnTo>
                      <a:pt x="53" y="18"/>
                    </a:lnTo>
                    <a:lnTo>
                      <a:pt x="55" y="18"/>
                    </a:lnTo>
                    <a:lnTo>
                      <a:pt x="55" y="21"/>
                    </a:lnTo>
                    <a:lnTo>
                      <a:pt x="60" y="18"/>
                    </a:lnTo>
                    <a:lnTo>
                      <a:pt x="61" y="16"/>
                    </a:lnTo>
                    <a:lnTo>
                      <a:pt x="62" y="21"/>
                    </a:lnTo>
                    <a:lnTo>
                      <a:pt x="65" y="20"/>
                    </a:lnTo>
                    <a:lnTo>
                      <a:pt x="66" y="22"/>
                    </a:lnTo>
                    <a:lnTo>
                      <a:pt x="66" y="18"/>
                    </a:lnTo>
                    <a:lnTo>
                      <a:pt x="71" y="22"/>
                    </a:lnTo>
                    <a:lnTo>
                      <a:pt x="73" y="21"/>
                    </a:lnTo>
                    <a:lnTo>
                      <a:pt x="73" y="17"/>
                    </a:lnTo>
                    <a:lnTo>
                      <a:pt x="74" y="17"/>
                    </a:lnTo>
                    <a:lnTo>
                      <a:pt x="75" y="20"/>
                    </a:lnTo>
                    <a:lnTo>
                      <a:pt x="80" y="20"/>
                    </a:lnTo>
                    <a:lnTo>
                      <a:pt x="79" y="17"/>
                    </a:lnTo>
                    <a:lnTo>
                      <a:pt x="80" y="20"/>
                    </a:lnTo>
                    <a:lnTo>
                      <a:pt x="83" y="20"/>
                    </a:lnTo>
                    <a:lnTo>
                      <a:pt x="82" y="18"/>
                    </a:lnTo>
                    <a:lnTo>
                      <a:pt x="86" y="20"/>
                    </a:lnTo>
                    <a:lnTo>
                      <a:pt x="87" y="18"/>
                    </a:lnTo>
                    <a:lnTo>
                      <a:pt x="87" y="16"/>
                    </a:lnTo>
                    <a:lnTo>
                      <a:pt x="90" y="14"/>
                    </a:lnTo>
                    <a:lnTo>
                      <a:pt x="91" y="14"/>
                    </a:lnTo>
                    <a:lnTo>
                      <a:pt x="96" y="17"/>
                    </a:lnTo>
                    <a:lnTo>
                      <a:pt x="96" y="15"/>
                    </a:lnTo>
                    <a:lnTo>
                      <a:pt x="96" y="14"/>
                    </a:lnTo>
                    <a:lnTo>
                      <a:pt x="98" y="17"/>
                    </a:lnTo>
                    <a:lnTo>
                      <a:pt x="98" y="15"/>
                    </a:lnTo>
                    <a:lnTo>
                      <a:pt x="99" y="16"/>
                    </a:lnTo>
                    <a:lnTo>
                      <a:pt x="98" y="15"/>
                    </a:lnTo>
                    <a:lnTo>
                      <a:pt x="100" y="15"/>
                    </a:lnTo>
                    <a:lnTo>
                      <a:pt x="102" y="11"/>
                    </a:lnTo>
                    <a:lnTo>
                      <a:pt x="104" y="11"/>
                    </a:lnTo>
                    <a:lnTo>
                      <a:pt x="104" y="13"/>
                    </a:lnTo>
                    <a:lnTo>
                      <a:pt x="106" y="13"/>
                    </a:lnTo>
                    <a:lnTo>
                      <a:pt x="107" y="14"/>
                    </a:lnTo>
                    <a:lnTo>
                      <a:pt x="112" y="13"/>
                    </a:lnTo>
                    <a:lnTo>
                      <a:pt x="113" y="12"/>
                    </a:lnTo>
                    <a:lnTo>
                      <a:pt x="115" y="12"/>
                    </a:lnTo>
                    <a:lnTo>
                      <a:pt x="115" y="12"/>
                    </a:lnTo>
                    <a:lnTo>
                      <a:pt x="115" y="12"/>
                    </a:lnTo>
                    <a:lnTo>
                      <a:pt x="116" y="13"/>
                    </a:lnTo>
                    <a:lnTo>
                      <a:pt x="117" y="12"/>
                    </a:lnTo>
                    <a:lnTo>
                      <a:pt x="117" y="458"/>
                    </a:lnTo>
                    <a:lnTo>
                      <a:pt x="117" y="457"/>
                    </a:lnTo>
                    <a:lnTo>
                      <a:pt x="117" y="461"/>
                    </a:lnTo>
                    <a:lnTo>
                      <a:pt x="116" y="458"/>
                    </a:lnTo>
                    <a:lnTo>
                      <a:pt x="116" y="463"/>
                    </a:lnTo>
                    <a:lnTo>
                      <a:pt x="115" y="460"/>
                    </a:lnTo>
                    <a:lnTo>
                      <a:pt x="114" y="460"/>
                    </a:lnTo>
                    <a:lnTo>
                      <a:pt x="115" y="461"/>
                    </a:lnTo>
                    <a:lnTo>
                      <a:pt x="115" y="463"/>
                    </a:lnTo>
                    <a:lnTo>
                      <a:pt x="115" y="463"/>
                    </a:lnTo>
                    <a:lnTo>
                      <a:pt x="111" y="463"/>
                    </a:lnTo>
                    <a:lnTo>
                      <a:pt x="113" y="461"/>
                    </a:lnTo>
                    <a:lnTo>
                      <a:pt x="111" y="459"/>
                    </a:lnTo>
                    <a:lnTo>
                      <a:pt x="111" y="461"/>
                    </a:lnTo>
                    <a:lnTo>
                      <a:pt x="108" y="463"/>
                    </a:lnTo>
                    <a:lnTo>
                      <a:pt x="107" y="459"/>
                    </a:lnTo>
                    <a:lnTo>
                      <a:pt x="106" y="461"/>
                    </a:lnTo>
                    <a:lnTo>
                      <a:pt x="107" y="464"/>
                    </a:lnTo>
                    <a:lnTo>
                      <a:pt x="105" y="461"/>
                    </a:lnTo>
                    <a:lnTo>
                      <a:pt x="105" y="463"/>
                    </a:lnTo>
                    <a:lnTo>
                      <a:pt x="104" y="461"/>
                    </a:lnTo>
                    <a:lnTo>
                      <a:pt x="104" y="458"/>
                    </a:lnTo>
                    <a:lnTo>
                      <a:pt x="102" y="460"/>
                    </a:lnTo>
                    <a:lnTo>
                      <a:pt x="102" y="458"/>
                    </a:lnTo>
                    <a:lnTo>
                      <a:pt x="99" y="459"/>
                    </a:lnTo>
                    <a:lnTo>
                      <a:pt x="100" y="457"/>
                    </a:lnTo>
                    <a:lnTo>
                      <a:pt x="100" y="456"/>
                    </a:lnTo>
                    <a:lnTo>
                      <a:pt x="99" y="458"/>
                    </a:lnTo>
                    <a:lnTo>
                      <a:pt x="97" y="456"/>
                    </a:lnTo>
                    <a:lnTo>
                      <a:pt x="96" y="456"/>
                    </a:lnTo>
                    <a:lnTo>
                      <a:pt x="98" y="459"/>
                    </a:lnTo>
                    <a:lnTo>
                      <a:pt x="96" y="457"/>
                    </a:lnTo>
                    <a:lnTo>
                      <a:pt x="95" y="455"/>
                    </a:lnTo>
                    <a:lnTo>
                      <a:pt x="94" y="456"/>
                    </a:lnTo>
                    <a:lnTo>
                      <a:pt x="94" y="453"/>
                    </a:lnTo>
                    <a:lnTo>
                      <a:pt x="92" y="456"/>
                    </a:lnTo>
                    <a:lnTo>
                      <a:pt x="90" y="453"/>
                    </a:lnTo>
                    <a:lnTo>
                      <a:pt x="92" y="457"/>
                    </a:lnTo>
                    <a:lnTo>
                      <a:pt x="94" y="457"/>
                    </a:lnTo>
                    <a:lnTo>
                      <a:pt x="94" y="458"/>
                    </a:lnTo>
                    <a:lnTo>
                      <a:pt x="89" y="456"/>
                    </a:lnTo>
                    <a:lnTo>
                      <a:pt x="90" y="457"/>
                    </a:lnTo>
                    <a:lnTo>
                      <a:pt x="87" y="456"/>
                    </a:lnTo>
                    <a:lnTo>
                      <a:pt x="87" y="458"/>
                    </a:lnTo>
                    <a:lnTo>
                      <a:pt x="86" y="456"/>
                    </a:lnTo>
                    <a:lnTo>
                      <a:pt x="85" y="461"/>
                    </a:lnTo>
                    <a:lnTo>
                      <a:pt x="80" y="458"/>
                    </a:lnTo>
                    <a:lnTo>
                      <a:pt x="79" y="460"/>
                    </a:lnTo>
                    <a:lnTo>
                      <a:pt x="77" y="458"/>
                    </a:lnTo>
                    <a:lnTo>
                      <a:pt x="74" y="459"/>
                    </a:lnTo>
                    <a:lnTo>
                      <a:pt x="73" y="457"/>
                    </a:lnTo>
                    <a:lnTo>
                      <a:pt x="72" y="457"/>
                    </a:lnTo>
                    <a:lnTo>
                      <a:pt x="72" y="459"/>
                    </a:lnTo>
                    <a:lnTo>
                      <a:pt x="70" y="457"/>
                    </a:lnTo>
                    <a:lnTo>
                      <a:pt x="70" y="458"/>
                    </a:lnTo>
                    <a:lnTo>
                      <a:pt x="62" y="458"/>
                    </a:lnTo>
                    <a:lnTo>
                      <a:pt x="63" y="459"/>
                    </a:lnTo>
                    <a:lnTo>
                      <a:pt x="61" y="457"/>
                    </a:lnTo>
                    <a:lnTo>
                      <a:pt x="62" y="458"/>
                    </a:lnTo>
                    <a:lnTo>
                      <a:pt x="60" y="456"/>
                    </a:lnTo>
                    <a:lnTo>
                      <a:pt x="60" y="459"/>
                    </a:lnTo>
                    <a:lnTo>
                      <a:pt x="61" y="460"/>
                    </a:lnTo>
                    <a:lnTo>
                      <a:pt x="61" y="460"/>
                    </a:lnTo>
                    <a:lnTo>
                      <a:pt x="58" y="459"/>
                    </a:lnTo>
                    <a:lnTo>
                      <a:pt x="57" y="458"/>
                    </a:lnTo>
                    <a:lnTo>
                      <a:pt x="54" y="455"/>
                    </a:lnTo>
                    <a:lnTo>
                      <a:pt x="53" y="457"/>
                    </a:lnTo>
                    <a:lnTo>
                      <a:pt x="53" y="460"/>
                    </a:lnTo>
                    <a:lnTo>
                      <a:pt x="52" y="457"/>
                    </a:lnTo>
                    <a:lnTo>
                      <a:pt x="50" y="456"/>
                    </a:lnTo>
                    <a:lnTo>
                      <a:pt x="45" y="458"/>
                    </a:lnTo>
                    <a:lnTo>
                      <a:pt x="44" y="457"/>
                    </a:lnTo>
                    <a:lnTo>
                      <a:pt x="44" y="452"/>
                    </a:lnTo>
                    <a:lnTo>
                      <a:pt x="39" y="451"/>
                    </a:lnTo>
                    <a:lnTo>
                      <a:pt x="40" y="453"/>
                    </a:lnTo>
                    <a:lnTo>
                      <a:pt x="38" y="452"/>
                    </a:lnTo>
                    <a:lnTo>
                      <a:pt x="37" y="455"/>
                    </a:lnTo>
                    <a:lnTo>
                      <a:pt x="38" y="456"/>
                    </a:lnTo>
                    <a:lnTo>
                      <a:pt x="35" y="453"/>
                    </a:lnTo>
                    <a:lnTo>
                      <a:pt x="35" y="456"/>
                    </a:lnTo>
                    <a:lnTo>
                      <a:pt x="32" y="455"/>
                    </a:lnTo>
                    <a:lnTo>
                      <a:pt x="33" y="457"/>
                    </a:lnTo>
                    <a:lnTo>
                      <a:pt x="24" y="458"/>
                    </a:lnTo>
                    <a:lnTo>
                      <a:pt x="20" y="460"/>
                    </a:lnTo>
                    <a:lnTo>
                      <a:pt x="20" y="461"/>
                    </a:lnTo>
                    <a:lnTo>
                      <a:pt x="19" y="459"/>
                    </a:lnTo>
                    <a:lnTo>
                      <a:pt x="17" y="461"/>
                    </a:lnTo>
                    <a:lnTo>
                      <a:pt x="19" y="464"/>
                    </a:lnTo>
                    <a:lnTo>
                      <a:pt x="15" y="461"/>
                    </a:lnTo>
                    <a:lnTo>
                      <a:pt x="14" y="464"/>
                    </a:lnTo>
                    <a:lnTo>
                      <a:pt x="13" y="463"/>
                    </a:lnTo>
                    <a:lnTo>
                      <a:pt x="11" y="464"/>
                    </a:lnTo>
                    <a:lnTo>
                      <a:pt x="12" y="464"/>
                    </a:lnTo>
                    <a:lnTo>
                      <a:pt x="12" y="468"/>
                    </a:lnTo>
                    <a:lnTo>
                      <a:pt x="11" y="466"/>
                    </a:lnTo>
                    <a:lnTo>
                      <a:pt x="10" y="467"/>
                    </a:lnTo>
                    <a:lnTo>
                      <a:pt x="10" y="466"/>
                    </a:lnTo>
                    <a:lnTo>
                      <a:pt x="10" y="468"/>
                    </a:lnTo>
                    <a:lnTo>
                      <a:pt x="7" y="468"/>
                    </a:lnTo>
                    <a:lnTo>
                      <a:pt x="2" y="467"/>
                    </a:lnTo>
                    <a:lnTo>
                      <a:pt x="0" y="467"/>
                    </a:lnTo>
                    <a:lnTo>
                      <a:pt x="0" y="4"/>
                    </a:lnTo>
                    <a:lnTo>
                      <a:pt x="2" y="5"/>
                    </a:lnTo>
                    <a:lnTo>
                      <a:pt x="3" y="6"/>
                    </a:lnTo>
                    <a:lnTo>
                      <a:pt x="4" y="6"/>
                    </a:lnTo>
                    <a:lnTo>
                      <a:pt x="4" y="5"/>
                    </a:lnTo>
                    <a:lnTo>
                      <a:pt x="5" y="6"/>
                    </a:lnTo>
                    <a:lnTo>
                      <a:pt x="10" y="7"/>
                    </a:lnTo>
                    <a:lnTo>
                      <a:pt x="12" y="5"/>
                    </a:lnTo>
                    <a:lnTo>
                      <a:pt x="15" y="9"/>
                    </a:lnTo>
                    <a:lnTo>
                      <a:pt x="16" y="7"/>
                    </a:lnTo>
                    <a:lnTo>
                      <a:pt x="17" y="9"/>
                    </a:lnTo>
                    <a:lnTo>
                      <a:pt x="19" y="8"/>
                    </a:lnTo>
                    <a:lnTo>
                      <a:pt x="17" y="8"/>
                    </a:lnTo>
                    <a:lnTo>
                      <a:pt x="19" y="7"/>
                    </a:lnTo>
                    <a:lnTo>
                      <a:pt x="19" y="7"/>
                    </a:lnTo>
                    <a:lnTo>
                      <a:pt x="20" y="5"/>
                    </a:lnTo>
                    <a:lnTo>
                      <a:pt x="20" y="5"/>
                    </a:lnTo>
                    <a:lnTo>
                      <a:pt x="20" y="4"/>
                    </a:lnTo>
                    <a:lnTo>
                      <a:pt x="20" y="5"/>
                    </a:lnTo>
                    <a:lnTo>
                      <a:pt x="20" y="6"/>
                    </a:lnTo>
                    <a:lnTo>
                      <a:pt x="25" y="3"/>
                    </a:lnTo>
                    <a:lnTo>
                      <a:pt x="25" y="4"/>
                    </a:lnTo>
                    <a:lnTo>
                      <a:pt x="29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E20074"/>
                  </a:buClr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0" cap="none" spc="0" normalizeH="0" baseline="0" noProof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7" name="Freeform 135"/>
              <p:cNvSpPr>
                <a:spLocks noEditPoints="1"/>
              </p:cNvSpPr>
              <p:nvPr/>
            </p:nvSpPr>
            <p:spPr bwMode="auto">
              <a:xfrm>
                <a:off x="12292014" y="609601"/>
                <a:ext cx="188913" cy="750888"/>
              </a:xfrm>
              <a:custGeom>
                <a:avLst/>
                <a:gdLst>
                  <a:gd name="T0" fmla="*/ 116 w 119"/>
                  <a:gd name="T1" fmla="*/ 5 h 473"/>
                  <a:gd name="T2" fmla="*/ 99 w 119"/>
                  <a:gd name="T3" fmla="*/ 1 h 473"/>
                  <a:gd name="T4" fmla="*/ 113 w 119"/>
                  <a:gd name="T5" fmla="*/ 3 h 473"/>
                  <a:gd name="T6" fmla="*/ 117 w 119"/>
                  <a:gd name="T7" fmla="*/ 7 h 473"/>
                  <a:gd name="T8" fmla="*/ 119 w 119"/>
                  <a:gd name="T9" fmla="*/ 3 h 473"/>
                  <a:gd name="T10" fmla="*/ 119 w 119"/>
                  <a:gd name="T11" fmla="*/ 465 h 473"/>
                  <a:gd name="T12" fmla="*/ 105 w 119"/>
                  <a:gd name="T13" fmla="*/ 466 h 473"/>
                  <a:gd name="T14" fmla="*/ 102 w 119"/>
                  <a:gd name="T15" fmla="*/ 462 h 473"/>
                  <a:gd name="T16" fmla="*/ 92 w 119"/>
                  <a:gd name="T17" fmla="*/ 466 h 473"/>
                  <a:gd name="T18" fmla="*/ 81 w 119"/>
                  <a:gd name="T19" fmla="*/ 465 h 473"/>
                  <a:gd name="T20" fmla="*/ 73 w 119"/>
                  <a:gd name="T21" fmla="*/ 462 h 473"/>
                  <a:gd name="T22" fmla="*/ 69 w 119"/>
                  <a:gd name="T23" fmla="*/ 465 h 473"/>
                  <a:gd name="T24" fmla="*/ 67 w 119"/>
                  <a:gd name="T25" fmla="*/ 467 h 473"/>
                  <a:gd name="T26" fmla="*/ 65 w 119"/>
                  <a:gd name="T27" fmla="*/ 467 h 473"/>
                  <a:gd name="T28" fmla="*/ 56 w 119"/>
                  <a:gd name="T29" fmla="*/ 465 h 473"/>
                  <a:gd name="T30" fmla="*/ 54 w 119"/>
                  <a:gd name="T31" fmla="*/ 465 h 473"/>
                  <a:gd name="T32" fmla="*/ 49 w 119"/>
                  <a:gd name="T33" fmla="*/ 466 h 473"/>
                  <a:gd name="T34" fmla="*/ 38 w 119"/>
                  <a:gd name="T35" fmla="*/ 468 h 473"/>
                  <a:gd name="T36" fmla="*/ 35 w 119"/>
                  <a:gd name="T37" fmla="*/ 470 h 473"/>
                  <a:gd name="T38" fmla="*/ 30 w 119"/>
                  <a:gd name="T39" fmla="*/ 470 h 473"/>
                  <a:gd name="T40" fmla="*/ 24 w 119"/>
                  <a:gd name="T41" fmla="*/ 467 h 473"/>
                  <a:gd name="T42" fmla="*/ 21 w 119"/>
                  <a:gd name="T43" fmla="*/ 466 h 473"/>
                  <a:gd name="T44" fmla="*/ 16 w 119"/>
                  <a:gd name="T45" fmla="*/ 463 h 473"/>
                  <a:gd name="T46" fmla="*/ 13 w 119"/>
                  <a:gd name="T47" fmla="*/ 466 h 473"/>
                  <a:gd name="T48" fmla="*/ 8 w 119"/>
                  <a:gd name="T49" fmla="*/ 465 h 473"/>
                  <a:gd name="T50" fmla="*/ 6 w 119"/>
                  <a:gd name="T51" fmla="*/ 461 h 473"/>
                  <a:gd name="T52" fmla="*/ 4 w 119"/>
                  <a:gd name="T53" fmla="*/ 465 h 473"/>
                  <a:gd name="T54" fmla="*/ 3 w 119"/>
                  <a:gd name="T55" fmla="*/ 15 h 473"/>
                  <a:gd name="T56" fmla="*/ 7 w 119"/>
                  <a:gd name="T57" fmla="*/ 15 h 473"/>
                  <a:gd name="T58" fmla="*/ 10 w 119"/>
                  <a:gd name="T59" fmla="*/ 14 h 473"/>
                  <a:gd name="T60" fmla="*/ 13 w 119"/>
                  <a:gd name="T61" fmla="*/ 14 h 473"/>
                  <a:gd name="T62" fmla="*/ 16 w 119"/>
                  <a:gd name="T63" fmla="*/ 15 h 473"/>
                  <a:gd name="T64" fmla="*/ 24 w 119"/>
                  <a:gd name="T65" fmla="*/ 15 h 473"/>
                  <a:gd name="T66" fmla="*/ 28 w 119"/>
                  <a:gd name="T67" fmla="*/ 16 h 473"/>
                  <a:gd name="T68" fmla="*/ 32 w 119"/>
                  <a:gd name="T69" fmla="*/ 16 h 473"/>
                  <a:gd name="T70" fmla="*/ 37 w 119"/>
                  <a:gd name="T71" fmla="*/ 18 h 473"/>
                  <a:gd name="T72" fmla="*/ 38 w 119"/>
                  <a:gd name="T73" fmla="*/ 18 h 473"/>
                  <a:gd name="T74" fmla="*/ 46 w 119"/>
                  <a:gd name="T75" fmla="*/ 20 h 473"/>
                  <a:gd name="T76" fmla="*/ 54 w 119"/>
                  <a:gd name="T77" fmla="*/ 8 h 473"/>
                  <a:gd name="T78" fmla="*/ 61 w 119"/>
                  <a:gd name="T79" fmla="*/ 9 h 473"/>
                  <a:gd name="T80" fmla="*/ 63 w 119"/>
                  <a:gd name="T81" fmla="*/ 9 h 473"/>
                  <a:gd name="T82" fmla="*/ 64 w 119"/>
                  <a:gd name="T83" fmla="*/ 9 h 473"/>
                  <a:gd name="T84" fmla="*/ 72 w 119"/>
                  <a:gd name="T85" fmla="*/ 5 h 473"/>
                  <a:gd name="T86" fmla="*/ 78 w 119"/>
                  <a:gd name="T87" fmla="*/ 5 h 473"/>
                  <a:gd name="T88" fmla="*/ 86 w 119"/>
                  <a:gd name="T89" fmla="*/ 6 h 473"/>
                  <a:gd name="T90" fmla="*/ 89 w 119"/>
                  <a:gd name="T91" fmla="*/ 2 h 473"/>
                  <a:gd name="T92" fmla="*/ 91 w 119"/>
                  <a:gd name="T93" fmla="*/ 6 h 473"/>
                  <a:gd name="T94" fmla="*/ 97 w 119"/>
                  <a:gd name="T95" fmla="*/ 3 h 473"/>
                  <a:gd name="T96" fmla="*/ 102 w 119"/>
                  <a:gd name="T97" fmla="*/ 9 h 473"/>
                  <a:gd name="T98" fmla="*/ 102 w 119"/>
                  <a:gd name="T99" fmla="*/ 3 h 473"/>
                  <a:gd name="T100" fmla="*/ 107 w 119"/>
                  <a:gd name="T101" fmla="*/ 3 h 4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19" h="473">
                    <a:moveTo>
                      <a:pt x="116" y="5"/>
                    </a:moveTo>
                    <a:lnTo>
                      <a:pt x="117" y="5"/>
                    </a:lnTo>
                    <a:lnTo>
                      <a:pt x="117" y="5"/>
                    </a:lnTo>
                    <a:lnTo>
                      <a:pt x="116" y="5"/>
                    </a:lnTo>
                    <a:close/>
                    <a:moveTo>
                      <a:pt x="99" y="1"/>
                    </a:moveTo>
                    <a:lnTo>
                      <a:pt x="97" y="3"/>
                    </a:lnTo>
                    <a:lnTo>
                      <a:pt x="97" y="2"/>
                    </a:lnTo>
                    <a:lnTo>
                      <a:pt x="99" y="1"/>
                    </a:lnTo>
                    <a:close/>
                    <a:moveTo>
                      <a:pt x="109" y="0"/>
                    </a:moveTo>
                    <a:lnTo>
                      <a:pt x="111" y="1"/>
                    </a:lnTo>
                    <a:lnTo>
                      <a:pt x="113" y="5"/>
                    </a:lnTo>
                    <a:lnTo>
                      <a:pt x="113" y="3"/>
                    </a:lnTo>
                    <a:lnTo>
                      <a:pt x="114" y="6"/>
                    </a:lnTo>
                    <a:lnTo>
                      <a:pt x="115" y="2"/>
                    </a:lnTo>
                    <a:lnTo>
                      <a:pt x="116" y="7"/>
                    </a:lnTo>
                    <a:lnTo>
                      <a:pt x="117" y="7"/>
                    </a:lnTo>
                    <a:lnTo>
                      <a:pt x="117" y="5"/>
                    </a:lnTo>
                    <a:lnTo>
                      <a:pt x="119" y="5"/>
                    </a:lnTo>
                    <a:lnTo>
                      <a:pt x="119" y="3"/>
                    </a:lnTo>
                    <a:lnTo>
                      <a:pt x="119" y="3"/>
                    </a:lnTo>
                    <a:lnTo>
                      <a:pt x="119" y="463"/>
                    </a:lnTo>
                    <a:lnTo>
                      <a:pt x="119" y="463"/>
                    </a:lnTo>
                    <a:lnTo>
                      <a:pt x="119" y="465"/>
                    </a:lnTo>
                    <a:lnTo>
                      <a:pt x="119" y="465"/>
                    </a:lnTo>
                    <a:lnTo>
                      <a:pt x="109" y="466"/>
                    </a:lnTo>
                    <a:lnTo>
                      <a:pt x="106" y="465"/>
                    </a:lnTo>
                    <a:lnTo>
                      <a:pt x="104" y="463"/>
                    </a:lnTo>
                    <a:lnTo>
                      <a:pt x="105" y="466"/>
                    </a:lnTo>
                    <a:lnTo>
                      <a:pt x="104" y="465"/>
                    </a:lnTo>
                    <a:lnTo>
                      <a:pt x="104" y="463"/>
                    </a:lnTo>
                    <a:lnTo>
                      <a:pt x="103" y="465"/>
                    </a:lnTo>
                    <a:lnTo>
                      <a:pt x="102" y="462"/>
                    </a:lnTo>
                    <a:lnTo>
                      <a:pt x="100" y="466"/>
                    </a:lnTo>
                    <a:lnTo>
                      <a:pt x="98" y="463"/>
                    </a:lnTo>
                    <a:lnTo>
                      <a:pt x="98" y="467"/>
                    </a:lnTo>
                    <a:lnTo>
                      <a:pt x="92" y="466"/>
                    </a:lnTo>
                    <a:lnTo>
                      <a:pt x="94" y="469"/>
                    </a:lnTo>
                    <a:lnTo>
                      <a:pt x="88" y="468"/>
                    </a:lnTo>
                    <a:lnTo>
                      <a:pt x="82" y="468"/>
                    </a:lnTo>
                    <a:lnTo>
                      <a:pt x="81" y="465"/>
                    </a:lnTo>
                    <a:lnTo>
                      <a:pt x="78" y="462"/>
                    </a:lnTo>
                    <a:lnTo>
                      <a:pt x="75" y="461"/>
                    </a:lnTo>
                    <a:lnTo>
                      <a:pt x="74" y="465"/>
                    </a:lnTo>
                    <a:lnTo>
                      <a:pt x="73" y="462"/>
                    </a:lnTo>
                    <a:lnTo>
                      <a:pt x="69" y="465"/>
                    </a:lnTo>
                    <a:lnTo>
                      <a:pt x="69" y="463"/>
                    </a:lnTo>
                    <a:lnTo>
                      <a:pt x="69" y="465"/>
                    </a:lnTo>
                    <a:lnTo>
                      <a:pt x="69" y="465"/>
                    </a:lnTo>
                    <a:lnTo>
                      <a:pt x="70" y="466"/>
                    </a:lnTo>
                    <a:lnTo>
                      <a:pt x="69" y="466"/>
                    </a:lnTo>
                    <a:lnTo>
                      <a:pt x="69" y="467"/>
                    </a:lnTo>
                    <a:lnTo>
                      <a:pt x="67" y="467"/>
                    </a:lnTo>
                    <a:lnTo>
                      <a:pt x="67" y="465"/>
                    </a:lnTo>
                    <a:lnTo>
                      <a:pt x="66" y="463"/>
                    </a:lnTo>
                    <a:lnTo>
                      <a:pt x="66" y="466"/>
                    </a:lnTo>
                    <a:lnTo>
                      <a:pt x="65" y="467"/>
                    </a:lnTo>
                    <a:lnTo>
                      <a:pt x="63" y="465"/>
                    </a:lnTo>
                    <a:lnTo>
                      <a:pt x="57" y="463"/>
                    </a:lnTo>
                    <a:lnTo>
                      <a:pt x="58" y="465"/>
                    </a:lnTo>
                    <a:lnTo>
                      <a:pt x="56" y="465"/>
                    </a:lnTo>
                    <a:lnTo>
                      <a:pt x="56" y="467"/>
                    </a:lnTo>
                    <a:lnTo>
                      <a:pt x="55" y="465"/>
                    </a:lnTo>
                    <a:lnTo>
                      <a:pt x="55" y="467"/>
                    </a:lnTo>
                    <a:lnTo>
                      <a:pt x="54" y="465"/>
                    </a:lnTo>
                    <a:lnTo>
                      <a:pt x="53" y="466"/>
                    </a:lnTo>
                    <a:lnTo>
                      <a:pt x="53" y="465"/>
                    </a:lnTo>
                    <a:lnTo>
                      <a:pt x="52" y="466"/>
                    </a:lnTo>
                    <a:lnTo>
                      <a:pt x="49" y="466"/>
                    </a:lnTo>
                    <a:lnTo>
                      <a:pt x="48" y="467"/>
                    </a:lnTo>
                    <a:lnTo>
                      <a:pt x="45" y="473"/>
                    </a:lnTo>
                    <a:lnTo>
                      <a:pt x="39" y="471"/>
                    </a:lnTo>
                    <a:lnTo>
                      <a:pt x="38" y="468"/>
                    </a:lnTo>
                    <a:lnTo>
                      <a:pt x="38" y="468"/>
                    </a:lnTo>
                    <a:lnTo>
                      <a:pt x="37" y="469"/>
                    </a:lnTo>
                    <a:lnTo>
                      <a:pt x="37" y="473"/>
                    </a:lnTo>
                    <a:lnTo>
                      <a:pt x="35" y="470"/>
                    </a:lnTo>
                    <a:lnTo>
                      <a:pt x="35" y="473"/>
                    </a:lnTo>
                    <a:lnTo>
                      <a:pt x="31" y="469"/>
                    </a:lnTo>
                    <a:lnTo>
                      <a:pt x="31" y="471"/>
                    </a:lnTo>
                    <a:lnTo>
                      <a:pt x="30" y="470"/>
                    </a:lnTo>
                    <a:lnTo>
                      <a:pt x="30" y="471"/>
                    </a:lnTo>
                    <a:lnTo>
                      <a:pt x="27" y="470"/>
                    </a:lnTo>
                    <a:lnTo>
                      <a:pt x="28" y="473"/>
                    </a:lnTo>
                    <a:lnTo>
                      <a:pt x="24" y="467"/>
                    </a:lnTo>
                    <a:lnTo>
                      <a:pt x="22" y="468"/>
                    </a:lnTo>
                    <a:lnTo>
                      <a:pt x="23" y="465"/>
                    </a:lnTo>
                    <a:lnTo>
                      <a:pt x="22" y="465"/>
                    </a:lnTo>
                    <a:lnTo>
                      <a:pt x="21" y="466"/>
                    </a:lnTo>
                    <a:lnTo>
                      <a:pt x="20" y="465"/>
                    </a:lnTo>
                    <a:lnTo>
                      <a:pt x="19" y="466"/>
                    </a:lnTo>
                    <a:lnTo>
                      <a:pt x="17" y="466"/>
                    </a:lnTo>
                    <a:lnTo>
                      <a:pt x="16" y="463"/>
                    </a:lnTo>
                    <a:lnTo>
                      <a:pt x="17" y="467"/>
                    </a:lnTo>
                    <a:lnTo>
                      <a:pt x="15" y="463"/>
                    </a:lnTo>
                    <a:lnTo>
                      <a:pt x="14" y="463"/>
                    </a:lnTo>
                    <a:lnTo>
                      <a:pt x="13" y="466"/>
                    </a:lnTo>
                    <a:lnTo>
                      <a:pt x="12" y="465"/>
                    </a:lnTo>
                    <a:lnTo>
                      <a:pt x="12" y="467"/>
                    </a:lnTo>
                    <a:lnTo>
                      <a:pt x="8" y="466"/>
                    </a:lnTo>
                    <a:lnTo>
                      <a:pt x="8" y="465"/>
                    </a:lnTo>
                    <a:lnTo>
                      <a:pt x="7" y="463"/>
                    </a:lnTo>
                    <a:lnTo>
                      <a:pt x="5" y="465"/>
                    </a:lnTo>
                    <a:lnTo>
                      <a:pt x="6" y="465"/>
                    </a:lnTo>
                    <a:lnTo>
                      <a:pt x="6" y="461"/>
                    </a:lnTo>
                    <a:lnTo>
                      <a:pt x="5" y="465"/>
                    </a:lnTo>
                    <a:lnTo>
                      <a:pt x="3" y="459"/>
                    </a:lnTo>
                    <a:lnTo>
                      <a:pt x="2" y="460"/>
                    </a:lnTo>
                    <a:lnTo>
                      <a:pt x="4" y="465"/>
                    </a:lnTo>
                    <a:lnTo>
                      <a:pt x="0" y="460"/>
                    </a:lnTo>
                    <a:lnTo>
                      <a:pt x="0" y="14"/>
                    </a:lnTo>
                    <a:lnTo>
                      <a:pt x="2" y="14"/>
                    </a:lnTo>
                    <a:lnTo>
                      <a:pt x="3" y="15"/>
                    </a:lnTo>
                    <a:lnTo>
                      <a:pt x="5" y="15"/>
                    </a:lnTo>
                    <a:lnTo>
                      <a:pt x="5" y="11"/>
                    </a:lnTo>
                    <a:lnTo>
                      <a:pt x="6" y="15"/>
                    </a:lnTo>
                    <a:lnTo>
                      <a:pt x="7" y="15"/>
                    </a:lnTo>
                    <a:lnTo>
                      <a:pt x="6" y="13"/>
                    </a:lnTo>
                    <a:lnTo>
                      <a:pt x="6" y="10"/>
                    </a:lnTo>
                    <a:lnTo>
                      <a:pt x="8" y="14"/>
                    </a:lnTo>
                    <a:lnTo>
                      <a:pt x="10" y="14"/>
                    </a:lnTo>
                    <a:lnTo>
                      <a:pt x="10" y="15"/>
                    </a:lnTo>
                    <a:lnTo>
                      <a:pt x="11" y="17"/>
                    </a:lnTo>
                    <a:lnTo>
                      <a:pt x="13" y="17"/>
                    </a:lnTo>
                    <a:lnTo>
                      <a:pt x="13" y="14"/>
                    </a:lnTo>
                    <a:lnTo>
                      <a:pt x="15" y="15"/>
                    </a:lnTo>
                    <a:lnTo>
                      <a:pt x="15" y="11"/>
                    </a:lnTo>
                    <a:lnTo>
                      <a:pt x="15" y="14"/>
                    </a:lnTo>
                    <a:lnTo>
                      <a:pt x="16" y="15"/>
                    </a:lnTo>
                    <a:lnTo>
                      <a:pt x="21" y="11"/>
                    </a:lnTo>
                    <a:lnTo>
                      <a:pt x="23" y="16"/>
                    </a:lnTo>
                    <a:lnTo>
                      <a:pt x="24" y="13"/>
                    </a:lnTo>
                    <a:lnTo>
                      <a:pt x="24" y="15"/>
                    </a:lnTo>
                    <a:lnTo>
                      <a:pt x="25" y="16"/>
                    </a:lnTo>
                    <a:lnTo>
                      <a:pt x="27" y="14"/>
                    </a:lnTo>
                    <a:lnTo>
                      <a:pt x="29" y="13"/>
                    </a:lnTo>
                    <a:lnTo>
                      <a:pt x="28" y="16"/>
                    </a:lnTo>
                    <a:lnTo>
                      <a:pt x="29" y="14"/>
                    </a:lnTo>
                    <a:lnTo>
                      <a:pt x="30" y="16"/>
                    </a:lnTo>
                    <a:lnTo>
                      <a:pt x="30" y="15"/>
                    </a:lnTo>
                    <a:lnTo>
                      <a:pt x="32" y="16"/>
                    </a:lnTo>
                    <a:lnTo>
                      <a:pt x="30" y="16"/>
                    </a:lnTo>
                    <a:lnTo>
                      <a:pt x="33" y="18"/>
                    </a:lnTo>
                    <a:lnTo>
                      <a:pt x="32" y="17"/>
                    </a:lnTo>
                    <a:lnTo>
                      <a:pt x="37" y="18"/>
                    </a:lnTo>
                    <a:lnTo>
                      <a:pt x="38" y="22"/>
                    </a:lnTo>
                    <a:lnTo>
                      <a:pt x="38" y="19"/>
                    </a:lnTo>
                    <a:lnTo>
                      <a:pt x="38" y="19"/>
                    </a:lnTo>
                    <a:lnTo>
                      <a:pt x="38" y="18"/>
                    </a:lnTo>
                    <a:lnTo>
                      <a:pt x="39" y="20"/>
                    </a:lnTo>
                    <a:lnTo>
                      <a:pt x="40" y="19"/>
                    </a:lnTo>
                    <a:lnTo>
                      <a:pt x="45" y="22"/>
                    </a:lnTo>
                    <a:lnTo>
                      <a:pt x="46" y="20"/>
                    </a:lnTo>
                    <a:lnTo>
                      <a:pt x="47" y="19"/>
                    </a:lnTo>
                    <a:lnTo>
                      <a:pt x="48" y="17"/>
                    </a:lnTo>
                    <a:lnTo>
                      <a:pt x="54" y="7"/>
                    </a:lnTo>
                    <a:lnTo>
                      <a:pt x="54" y="8"/>
                    </a:lnTo>
                    <a:lnTo>
                      <a:pt x="54" y="10"/>
                    </a:lnTo>
                    <a:lnTo>
                      <a:pt x="55" y="7"/>
                    </a:lnTo>
                    <a:lnTo>
                      <a:pt x="58" y="11"/>
                    </a:lnTo>
                    <a:lnTo>
                      <a:pt x="61" y="9"/>
                    </a:lnTo>
                    <a:lnTo>
                      <a:pt x="61" y="10"/>
                    </a:lnTo>
                    <a:lnTo>
                      <a:pt x="62" y="9"/>
                    </a:lnTo>
                    <a:lnTo>
                      <a:pt x="62" y="11"/>
                    </a:lnTo>
                    <a:lnTo>
                      <a:pt x="63" y="9"/>
                    </a:lnTo>
                    <a:lnTo>
                      <a:pt x="62" y="9"/>
                    </a:lnTo>
                    <a:lnTo>
                      <a:pt x="63" y="7"/>
                    </a:lnTo>
                    <a:lnTo>
                      <a:pt x="64" y="10"/>
                    </a:lnTo>
                    <a:lnTo>
                      <a:pt x="64" y="9"/>
                    </a:lnTo>
                    <a:lnTo>
                      <a:pt x="65" y="10"/>
                    </a:lnTo>
                    <a:lnTo>
                      <a:pt x="67" y="8"/>
                    </a:lnTo>
                    <a:lnTo>
                      <a:pt x="73" y="6"/>
                    </a:lnTo>
                    <a:lnTo>
                      <a:pt x="72" y="5"/>
                    </a:lnTo>
                    <a:lnTo>
                      <a:pt x="74" y="3"/>
                    </a:lnTo>
                    <a:lnTo>
                      <a:pt x="75" y="8"/>
                    </a:lnTo>
                    <a:lnTo>
                      <a:pt x="78" y="2"/>
                    </a:lnTo>
                    <a:lnTo>
                      <a:pt x="78" y="5"/>
                    </a:lnTo>
                    <a:lnTo>
                      <a:pt x="79" y="3"/>
                    </a:lnTo>
                    <a:lnTo>
                      <a:pt x="81" y="1"/>
                    </a:lnTo>
                    <a:lnTo>
                      <a:pt x="82" y="5"/>
                    </a:lnTo>
                    <a:lnTo>
                      <a:pt x="86" y="6"/>
                    </a:lnTo>
                    <a:lnTo>
                      <a:pt x="87" y="5"/>
                    </a:lnTo>
                    <a:lnTo>
                      <a:pt x="88" y="7"/>
                    </a:lnTo>
                    <a:lnTo>
                      <a:pt x="89" y="7"/>
                    </a:lnTo>
                    <a:lnTo>
                      <a:pt x="89" y="2"/>
                    </a:lnTo>
                    <a:lnTo>
                      <a:pt x="90" y="6"/>
                    </a:lnTo>
                    <a:lnTo>
                      <a:pt x="91" y="2"/>
                    </a:lnTo>
                    <a:lnTo>
                      <a:pt x="92" y="3"/>
                    </a:lnTo>
                    <a:lnTo>
                      <a:pt x="91" y="6"/>
                    </a:lnTo>
                    <a:lnTo>
                      <a:pt x="94" y="5"/>
                    </a:lnTo>
                    <a:lnTo>
                      <a:pt x="94" y="2"/>
                    </a:lnTo>
                    <a:lnTo>
                      <a:pt x="95" y="5"/>
                    </a:lnTo>
                    <a:lnTo>
                      <a:pt x="97" y="3"/>
                    </a:lnTo>
                    <a:lnTo>
                      <a:pt x="97" y="5"/>
                    </a:lnTo>
                    <a:lnTo>
                      <a:pt x="98" y="6"/>
                    </a:lnTo>
                    <a:lnTo>
                      <a:pt x="99" y="3"/>
                    </a:lnTo>
                    <a:lnTo>
                      <a:pt x="102" y="9"/>
                    </a:lnTo>
                    <a:lnTo>
                      <a:pt x="102" y="8"/>
                    </a:lnTo>
                    <a:lnTo>
                      <a:pt x="99" y="5"/>
                    </a:lnTo>
                    <a:lnTo>
                      <a:pt x="103" y="5"/>
                    </a:lnTo>
                    <a:lnTo>
                      <a:pt x="102" y="3"/>
                    </a:lnTo>
                    <a:lnTo>
                      <a:pt x="105" y="7"/>
                    </a:lnTo>
                    <a:lnTo>
                      <a:pt x="105" y="6"/>
                    </a:lnTo>
                    <a:lnTo>
                      <a:pt x="106" y="7"/>
                    </a:lnTo>
                    <a:lnTo>
                      <a:pt x="107" y="3"/>
                    </a:lnTo>
                    <a:lnTo>
                      <a:pt x="111" y="3"/>
                    </a:lnTo>
                    <a:lnTo>
                      <a:pt x="111" y="3"/>
                    </a:lnTo>
                    <a:lnTo>
                      <a:pt x="109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E20074"/>
                  </a:buClr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0" cap="none" spc="0" normalizeH="0" baseline="0" noProof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8" name="Freeform 136"/>
              <p:cNvSpPr>
                <a:spLocks noEditPoints="1"/>
              </p:cNvSpPr>
              <p:nvPr/>
            </p:nvSpPr>
            <p:spPr bwMode="auto">
              <a:xfrm>
                <a:off x="12480926" y="593726"/>
                <a:ext cx="187325" cy="790575"/>
              </a:xfrm>
              <a:custGeom>
                <a:avLst/>
                <a:gdLst>
                  <a:gd name="T0" fmla="*/ 0 w 118"/>
                  <a:gd name="T1" fmla="*/ 475 h 498"/>
                  <a:gd name="T2" fmla="*/ 68 w 118"/>
                  <a:gd name="T3" fmla="*/ 8 h 498"/>
                  <a:gd name="T4" fmla="*/ 109 w 118"/>
                  <a:gd name="T5" fmla="*/ 4 h 498"/>
                  <a:gd name="T6" fmla="*/ 113 w 118"/>
                  <a:gd name="T7" fmla="*/ 1 h 498"/>
                  <a:gd name="T8" fmla="*/ 117 w 118"/>
                  <a:gd name="T9" fmla="*/ 2 h 498"/>
                  <a:gd name="T10" fmla="*/ 118 w 118"/>
                  <a:gd name="T11" fmla="*/ 497 h 498"/>
                  <a:gd name="T12" fmla="*/ 112 w 118"/>
                  <a:gd name="T13" fmla="*/ 495 h 498"/>
                  <a:gd name="T14" fmla="*/ 109 w 118"/>
                  <a:gd name="T15" fmla="*/ 496 h 498"/>
                  <a:gd name="T16" fmla="*/ 103 w 118"/>
                  <a:gd name="T17" fmla="*/ 487 h 498"/>
                  <a:gd name="T18" fmla="*/ 98 w 118"/>
                  <a:gd name="T19" fmla="*/ 485 h 498"/>
                  <a:gd name="T20" fmla="*/ 96 w 118"/>
                  <a:gd name="T21" fmla="*/ 487 h 498"/>
                  <a:gd name="T22" fmla="*/ 92 w 118"/>
                  <a:gd name="T23" fmla="*/ 484 h 498"/>
                  <a:gd name="T24" fmla="*/ 86 w 118"/>
                  <a:gd name="T25" fmla="*/ 484 h 498"/>
                  <a:gd name="T26" fmla="*/ 81 w 118"/>
                  <a:gd name="T27" fmla="*/ 481 h 498"/>
                  <a:gd name="T28" fmla="*/ 79 w 118"/>
                  <a:gd name="T29" fmla="*/ 483 h 498"/>
                  <a:gd name="T30" fmla="*/ 73 w 118"/>
                  <a:gd name="T31" fmla="*/ 483 h 498"/>
                  <a:gd name="T32" fmla="*/ 57 w 118"/>
                  <a:gd name="T33" fmla="*/ 475 h 498"/>
                  <a:gd name="T34" fmla="*/ 53 w 118"/>
                  <a:gd name="T35" fmla="*/ 473 h 498"/>
                  <a:gd name="T36" fmla="*/ 51 w 118"/>
                  <a:gd name="T37" fmla="*/ 471 h 498"/>
                  <a:gd name="T38" fmla="*/ 46 w 118"/>
                  <a:gd name="T39" fmla="*/ 472 h 498"/>
                  <a:gd name="T40" fmla="*/ 42 w 118"/>
                  <a:gd name="T41" fmla="*/ 468 h 498"/>
                  <a:gd name="T42" fmla="*/ 38 w 118"/>
                  <a:gd name="T43" fmla="*/ 470 h 498"/>
                  <a:gd name="T44" fmla="*/ 31 w 118"/>
                  <a:gd name="T45" fmla="*/ 472 h 498"/>
                  <a:gd name="T46" fmla="*/ 23 w 118"/>
                  <a:gd name="T47" fmla="*/ 476 h 498"/>
                  <a:gd name="T48" fmla="*/ 18 w 118"/>
                  <a:gd name="T49" fmla="*/ 472 h 498"/>
                  <a:gd name="T50" fmla="*/ 11 w 118"/>
                  <a:gd name="T51" fmla="*/ 473 h 498"/>
                  <a:gd name="T52" fmla="*/ 1 w 118"/>
                  <a:gd name="T53" fmla="*/ 473 h 498"/>
                  <a:gd name="T54" fmla="*/ 3 w 118"/>
                  <a:gd name="T55" fmla="*/ 12 h 498"/>
                  <a:gd name="T56" fmla="*/ 10 w 118"/>
                  <a:gd name="T57" fmla="*/ 7 h 498"/>
                  <a:gd name="T58" fmla="*/ 18 w 118"/>
                  <a:gd name="T59" fmla="*/ 16 h 498"/>
                  <a:gd name="T60" fmla="*/ 19 w 118"/>
                  <a:gd name="T61" fmla="*/ 16 h 498"/>
                  <a:gd name="T62" fmla="*/ 25 w 118"/>
                  <a:gd name="T63" fmla="*/ 17 h 498"/>
                  <a:gd name="T64" fmla="*/ 30 w 118"/>
                  <a:gd name="T65" fmla="*/ 13 h 498"/>
                  <a:gd name="T66" fmla="*/ 35 w 118"/>
                  <a:gd name="T67" fmla="*/ 10 h 498"/>
                  <a:gd name="T68" fmla="*/ 39 w 118"/>
                  <a:gd name="T69" fmla="*/ 12 h 498"/>
                  <a:gd name="T70" fmla="*/ 45 w 118"/>
                  <a:gd name="T71" fmla="*/ 13 h 498"/>
                  <a:gd name="T72" fmla="*/ 51 w 118"/>
                  <a:gd name="T73" fmla="*/ 8 h 498"/>
                  <a:gd name="T74" fmla="*/ 55 w 118"/>
                  <a:gd name="T75" fmla="*/ 13 h 498"/>
                  <a:gd name="T76" fmla="*/ 60 w 118"/>
                  <a:gd name="T77" fmla="*/ 9 h 498"/>
                  <a:gd name="T78" fmla="*/ 68 w 118"/>
                  <a:gd name="T79" fmla="*/ 9 h 498"/>
                  <a:gd name="T80" fmla="*/ 72 w 118"/>
                  <a:gd name="T81" fmla="*/ 12 h 498"/>
                  <a:gd name="T82" fmla="*/ 80 w 118"/>
                  <a:gd name="T83" fmla="*/ 16 h 498"/>
                  <a:gd name="T84" fmla="*/ 86 w 118"/>
                  <a:gd name="T85" fmla="*/ 12 h 498"/>
                  <a:gd name="T86" fmla="*/ 90 w 118"/>
                  <a:gd name="T87" fmla="*/ 13 h 498"/>
                  <a:gd name="T88" fmla="*/ 94 w 118"/>
                  <a:gd name="T89" fmla="*/ 9 h 498"/>
                  <a:gd name="T90" fmla="*/ 100 w 118"/>
                  <a:gd name="T91" fmla="*/ 11 h 498"/>
                  <a:gd name="T92" fmla="*/ 107 w 118"/>
                  <a:gd name="T93" fmla="*/ 7 h 498"/>
                  <a:gd name="T94" fmla="*/ 109 w 118"/>
                  <a:gd name="T95" fmla="*/ 0 h 4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18" h="498">
                    <a:moveTo>
                      <a:pt x="0" y="475"/>
                    </a:moveTo>
                    <a:lnTo>
                      <a:pt x="0" y="475"/>
                    </a:lnTo>
                    <a:lnTo>
                      <a:pt x="0" y="475"/>
                    </a:lnTo>
                    <a:lnTo>
                      <a:pt x="0" y="475"/>
                    </a:lnTo>
                    <a:close/>
                    <a:moveTo>
                      <a:pt x="68" y="8"/>
                    </a:moveTo>
                    <a:lnTo>
                      <a:pt x="68" y="10"/>
                    </a:lnTo>
                    <a:lnTo>
                      <a:pt x="68" y="9"/>
                    </a:lnTo>
                    <a:lnTo>
                      <a:pt x="68" y="8"/>
                    </a:lnTo>
                    <a:close/>
                    <a:moveTo>
                      <a:pt x="109" y="0"/>
                    </a:moveTo>
                    <a:lnTo>
                      <a:pt x="109" y="0"/>
                    </a:lnTo>
                    <a:lnTo>
                      <a:pt x="109" y="2"/>
                    </a:lnTo>
                    <a:lnTo>
                      <a:pt x="109" y="4"/>
                    </a:lnTo>
                    <a:lnTo>
                      <a:pt x="110" y="2"/>
                    </a:lnTo>
                    <a:lnTo>
                      <a:pt x="111" y="2"/>
                    </a:lnTo>
                    <a:lnTo>
                      <a:pt x="112" y="2"/>
                    </a:lnTo>
                    <a:lnTo>
                      <a:pt x="113" y="1"/>
                    </a:lnTo>
                    <a:lnTo>
                      <a:pt x="114" y="1"/>
                    </a:lnTo>
                    <a:lnTo>
                      <a:pt x="115" y="4"/>
                    </a:lnTo>
                    <a:lnTo>
                      <a:pt x="115" y="2"/>
                    </a:lnTo>
                    <a:lnTo>
                      <a:pt x="117" y="2"/>
                    </a:lnTo>
                    <a:lnTo>
                      <a:pt x="117" y="0"/>
                    </a:lnTo>
                    <a:lnTo>
                      <a:pt x="118" y="2"/>
                    </a:lnTo>
                    <a:lnTo>
                      <a:pt x="118" y="496"/>
                    </a:lnTo>
                    <a:lnTo>
                      <a:pt x="118" y="497"/>
                    </a:lnTo>
                    <a:lnTo>
                      <a:pt x="118" y="498"/>
                    </a:lnTo>
                    <a:lnTo>
                      <a:pt x="114" y="495"/>
                    </a:lnTo>
                    <a:lnTo>
                      <a:pt x="113" y="493"/>
                    </a:lnTo>
                    <a:lnTo>
                      <a:pt x="112" y="495"/>
                    </a:lnTo>
                    <a:lnTo>
                      <a:pt x="111" y="492"/>
                    </a:lnTo>
                    <a:lnTo>
                      <a:pt x="110" y="494"/>
                    </a:lnTo>
                    <a:lnTo>
                      <a:pt x="109" y="492"/>
                    </a:lnTo>
                    <a:lnTo>
                      <a:pt x="109" y="496"/>
                    </a:lnTo>
                    <a:lnTo>
                      <a:pt x="107" y="490"/>
                    </a:lnTo>
                    <a:lnTo>
                      <a:pt x="106" y="492"/>
                    </a:lnTo>
                    <a:lnTo>
                      <a:pt x="105" y="488"/>
                    </a:lnTo>
                    <a:lnTo>
                      <a:pt x="103" y="487"/>
                    </a:lnTo>
                    <a:lnTo>
                      <a:pt x="104" y="492"/>
                    </a:lnTo>
                    <a:lnTo>
                      <a:pt x="102" y="489"/>
                    </a:lnTo>
                    <a:lnTo>
                      <a:pt x="103" y="490"/>
                    </a:lnTo>
                    <a:lnTo>
                      <a:pt x="98" y="485"/>
                    </a:lnTo>
                    <a:lnTo>
                      <a:pt x="98" y="488"/>
                    </a:lnTo>
                    <a:lnTo>
                      <a:pt x="97" y="492"/>
                    </a:lnTo>
                    <a:lnTo>
                      <a:pt x="96" y="483"/>
                    </a:lnTo>
                    <a:lnTo>
                      <a:pt x="96" y="487"/>
                    </a:lnTo>
                    <a:lnTo>
                      <a:pt x="95" y="484"/>
                    </a:lnTo>
                    <a:lnTo>
                      <a:pt x="94" y="485"/>
                    </a:lnTo>
                    <a:lnTo>
                      <a:pt x="93" y="483"/>
                    </a:lnTo>
                    <a:lnTo>
                      <a:pt x="92" y="484"/>
                    </a:lnTo>
                    <a:lnTo>
                      <a:pt x="93" y="486"/>
                    </a:lnTo>
                    <a:lnTo>
                      <a:pt x="89" y="483"/>
                    </a:lnTo>
                    <a:lnTo>
                      <a:pt x="88" y="483"/>
                    </a:lnTo>
                    <a:lnTo>
                      <a:pt x="86" y="484"/>
                    </a:lnTo>
                    <a:lnTo>
                      <a:pt x="87" y="485"/>
                    </a:lnTo>
                    <a:lnTo>
                      <a:pt x="85" y="485"/>
                    </a:lnTo>
                    <a:lnTo>
                      <a:pt x="85" y="483"/>
                    </a:lnTo>
                    <a:lnTo>
                      <a:pt x="81" y="481"/>
                    </a:lnTo>
                    <a:lnTo>
                      <a:pt x="80" y="484"/>
                    </a:lnTo>
                    <a:lnTo>
                      <a:pt x="80" y="481"/>
                    </a:lnTo>
                    <a:lnTo>
                      <a:pt x="79" y="485"/>
                    </a:lnTo>
                    <a:lnTo>
                      <a:pt x="79" y="483"/>
                    </a:lnTo>
                    <a:lnTo>
                      <a:pt x="78" y="481"/>
                    </a:lnTo>
                    <a:lnTo>
                      <a:pt x="77" y="483"/>
                    </a:lnTo>
                    <a:lnTo>
                      <a:pt x="75" y="481"/>
                    </a:lnTo>
                    <a:lnTo>
                      <a:pt x="73" y="483"/>
                    </a:lnTo>
                    <a:lnTo>
                      <a:pt x="70" y="483"/>
                    </a:lnTo>
                    <a:lnTo>
                      <a:pt x="65" y="476"/>
                    </a:lnTo>
                    <a:lnTo>
                      <a:pt x="64" y="477"/>
                    </a:lnTo>
                    <a:lnTo>
                      <a:pt x="57" y="475"/>
                    </a:lnTo>
                    <a:lnTo>
                      <a:pt x="56" y="477"/>
                    </a:lnTo>
                    <a:lnTo>
                      <a:pt x="54" y="477"/>
                    </a:lnTo>
                    <a:lnTo>
                      <a:pt x="52" y="473"/>
                    </a:lnTo>
                    <a:lnTo>
                      <a:pt x="53" y="473"/>
                    </a:lnTo>
                    <a:lnTo>
                      <a:pt x="53" y="472"/>
                    </a:lnTo>
                    <a:lnTo>
                      <a:pt x="51" y="475"/>
                    </a:lnTo>
                    <a:lnTo>
                      <a:pt x="51" y="472"/>
                    </a:lnTo>
                    <a:lnTo>
                      <a:pt x="51" y="471"/>
                    </a:lnTo>
                    <a:lnTo>
                      <a:pt x="48" y="469"/>
                    </a:lnTo>
                    <a:lnTo>
                      <a:pt x="47" y="477"/>
                    </a:lnTo>
                    <a:lnTo>
                      <a:pt x="47" y="471"/>
                    </a:lnTo>
                    <a:lnTo>
                      <a:pt x="46" y="472"/>
                    </a:lnTo>
                    <a:lnTo>
                      <a:pt x="44" y="469"/>
                    </a:lnTo>
                    <a:lnTo>
                      <a:pt x="43" y="470"/>
                    </a:lnTo>
                    <a:lnTo>
                      <a:pt x="43" y="468"/>
                    </a:lnTo>
                    <a:lnTo>
                      <a:pt x="42" y="468"/>
                    </a:lnTo>
                    <a:lnTo>
                      <a:pt x="42" y="470"/>
                    </a:lnTo>
                    <a:lnTo>
                      <a:pt x="40" y="472"/>
                    </a:lnTo>
                    <a:lnTo>
                      <a:pt x="39" y="470"/>
                    </a:lnTo>
                    <a:lnTo>
                      <a:pt x="38" y="470"/>
                    </a:lnTo>
                    <a:lnTo>
                      <a:pt x="39" y="473"/>
                    </a:lnTo>
                    <a:lnTo>
                      <a:pt x="34" y="469"/>
                    </a:lnTo>
                    <a:lnTo>
                      <a:pt x="34" y="468"/>
                    </a:lnTo>
                    <a:lnTo>
                      <a:pt x="31" y="472"/>
                    </a:lnTo>
                    <a:lnTo>
                      <a:pt x="30" y="470"/>
                    </a:lnTo>
                    <a:lnTo>
                      <a:pt x="29" y="475"/>
                    </a:lnTo>
                    <a:lnTo>
                      <a:pt x="27" y="476"/>
                    </a:lnTo>
                    <a:lnTo>
                      <a:pt x="23" y="476"/>
                    </a:lnTo>
                    <a:lnTo>
                      <a:pt x="20" y="472"/>
                    </a:lnTo>
                    <a:lnTo>
                      <a:pt x="20" y="469"/>
                    </a:lnTo>
                    <a:lnTo>
                      <a:pt x="20" y="471"/>
                    </a:lnTo>
                    <a:lnTo>
                      <a:pt x="18" y="472"/>
                    </a:lnTo>
                    <a:lnTo>
                      <a:pt x="17" y="471"/>
                    </a:lnTo>
                    <a:lnTo>
                      <a:pt x="17" y="472"/>
                    </a:lnTo>
                    <a:lnTo>
                      <a:pt x="14" y="475"/>
                    </a:lnTo>
                    <a:lnTo>
                      <a:pt x="11" y="473"/>
                    </a:lnTo>
                    <a:lnTo>
                      <a:pt x="11" y="475"/>
                    </a:lnTo>
                    <a:lnTo>
                      <a:pt x="11" y="472"/>
                    </a:lnTo>
                    <a:lnTo>
                      <a:pt x="3" y="473"/>
                    </a:lnTo>
                    <a:lnTo>
                      <a:pt x="1" y="473"/>
                    </a:lnTo>
                    <a:lnTo>
                      <a:pt x="2" y="475"/>
                    </a:lnTo>
                    <a:lnTo>
                      <a:pt x="0" y="473"/>
                    </a:lnTo>
                    <a:lnTo>
                      <a:pt x="0" y="13"/>
                    </a:lnTo>
                    <a:lnTo>
                      <a:pt x="3" y="12"/>
                    </a:lnTo>
                    <a:lnTo>
                      <a:pt x="3" y="11"/>
                    </a:lnTo>
                    <a:lnTo>
                      <a:pt x="8" y="9"/>
                    </a:lnTo>
                    <a:lnTo>
                      <a:pt x="9" y="10"/>
                    </a:lnTo>
                    <a:lnTo>
                      <a:pt x="10" y="7"/>
                    </a:lnTo>
                    <a:lnTo>
                      <a:pt x="11" y="10"/>
                    </a:lnTo>
                    <a:lnTo>
                      <a:pt x="12" y="9"/>
                    </a:lnTo>
                    <a:lnTo>
                      <a:pt x="15" y="12"/>
                    </a:lnTo>
                    <a:lnTo>
                      <a:pt x="18" y="16"/>
                    </a:lnTo>
                    <a:lnTo>
                      <a:pt x="17" y="12"/>
                    </a:lnTo>
                    <a:lnTo>
                      <a:pt x="18" y="13"/>
                    </a:lnTo>
                    <a:lnTo>
                      <a:pt x="20" y="13"/>
                    </a:lnTo>
                    <a:lnTo>
                      <a:pt x="19" y="16"/>
                    </a:lnTo>
                    <a:lnTo>
                      <a:pt x="20" y="13"/>
                    </a:lnTo>
                    <a:lnTo>
                      <a:pt x="21" y="16"/>
                    </a:lnTo>
                    <a:lnTo>
                      <a:pt x="22" y="13"/>
                    </a:lnTo>
                    <a:lnTo>
                      <a:pt x="25" y="17"/>
                    </a:lnTo>
                    <a:lnTo>
                      <a:pt x="28" y="17"/>
                    </a:lnTo>
                    <a:lnTo>
                      <a:pt x="28" y="15"/>
                    </a:lnTo>
                    <a:lnTo>
                      <a:pt x="29" y="12"/>
                    </a:lnTo>
                    <a:lnTo>
                      <a:pt x="30" y="13"/>
                    </a:lnTo>
                    <a:lnTo>
                      <a:pt x="31" y="11"/>
                    </a:lnTo>
                    <a:lnTo>
                      <a:pt x="32" y="12"/>
                    </a:lnTo>
                    <a:lnTo>
                      <a:pt x="35" y="12"/>
                    </a:lnTo>
                    <a:lnTo>
                      <a:pt x="35" y="10"/>
                    </a:lnTo>
                    <a:lnTo>
                      <a:pt x="34" y="9"/>
                    </a:lnTo>
                    <a:lnTo>
                      <a:pt x="38" y="13"/>
                    </a:lnTo>
                    <a:lnTo>
                      <a:pt x="38" y="10"/>
                    </a:lnTo>
                    <a:lnTo>
                      <a:pt x="39" y="12"/>
                    </a:lnTo>
                    <a:lnTo>
                      <a:pt x="40" y="11"/>
                    </a:lnTo>
                    <a:lnTo>
                      <a:pt x="43" y="13"/>
                    </a:lnTo>
                    <a:lnTo>
                      <a:pt x="44" y="11"/>
                    </a:lnTo>
                    <a:lnTo>
                      <a:pt x="45" y="13"/>
                    </a:lnTo>
                    <a:lnTo>
                      <a:pt x="47" y="9"/>
                    </a:lnTo>
                    <a:lnTo>
                      <a:pt x="48" y="11"/>
                    </a:lnTo>
                    <a:lnTo>
                      <a:pt x="48" y="8"/>
                    </a:lnTo>
                    <a:lnTo>
                      <a:pt x="51" y="8"/>
                    </a:lnTo>
                    <a:lnTo>
                      <a:pt x="52" y="11"/>
                    </a:lnTo>
                    <a:lnTo>
                      <a:pt x="54" y="11"/>
                    </a:lnTo>
                    <a:lnTo>
                      <a:pt x="54" y="12"/>
                    </a:lnTo>
                    <a:lnTo>
                      <a:pt x="55" y="13"/>
                    </a:lnTo>
                    <a:lnTo>
                      <a:pt x="57" y="10"/>
                    </a:lnTo>
                    <a:lnTo>
                      <a:pt x="57" y="11"/>
                    </a:lnTo>
                    <a:lnTo>
                      <a:pt x="60" y="12"/>
                    </a:lnTo>
                    <a:lnTo>
                      <a:pt x="60" y="9"/>
                    </a:lnTo>
                    <a:lnTo>
                      <a:pt x="61" y="9"/>
                    </a:lnTo>
                    <a:lnTo>
                      <a:pt x="63" y="11"/>
                    </a:lnTo>
                    <a:lnTo>
                      <a:pt x="64" y="8"/>
                    </a:lnTo>
                    <a:lnTo>
                      <a:pt x="68" y="9"/>
                    </a:lnTo>
                    <a:lnTo>
                      <a:pt x="68" y="10"/>
                    </a:lnTo>
                    <a:lnTo>
                      <a:pt x="71" y="12"/>
                    </a:lnTo>
                    <a:lnTo>
                      <a:pt x="71" y="13"/>
                    </a:lnTo>
                    <a:lnTo>
                      <a:pt x="72" y="12"/>
                    </a:lnTo>
                    <a:lnTo>
                      <a:pt x="76" y="15"/>
                    </a:lnTo>
                    <a:lnTo>
                      <a:pt x="76" y="13"/>
                    </a:lnTo>
                    <a:lnTo>
                      <a:pt x="78" y="13"/>
                    </a:lnTo>
                    <a:lnTo>
                      <a:pt x="80" y="16"/>
                    </a:lnTo>
                    <a:lnTo>
                      <a:pt x="82" y="11"/>
                    </a:lnTo>
                    <a:lnTo>
                      <a:pt x="82" y="15"/>
                    </a:lnTo>
                    <a:lnTo>
                      <a:pt x="85" y="15"/>
                    </a:lnTo>
                    <a:lnTo>
                      <a:pt x="86" y="12"/>
                    </a:lnTo>
                    <a:lnTo>
                      <a:pt x="87" y="15"/>
                    </a:lnTo>
                    <a:lnTo>
                      <a:pt x="87" y="13"/>
                    </a:lnTo>
                    <a:lnTo>
                      <a:pt x="90" y="11"/>
                    </a:lnTo>
                    <a:lnTo>
                      <a:pt x="90" y="13"/>
                    </a:lnTo>
                    <a:lnTo>
                      <a:pt x="92" y="13"/>
                    </a:lnTo>
                    <a:lnTo>
                      <a:pt x="93" y="11"/>
                    </a:lnTo>
                    <a:lnTo>
                      <a:pt x="94" y="12"/>
                    </a:lnTo>
                    <a:lnTo>
                      <a:pt x="94" y="9"/>
                    </a:lnTo>
                    <a:lnTo>
                      <a:pt x="97" y="10"/>
                    </a:lnTo>
                    <a:lnTo>
                      <a:pt x="98" y="9"/>
                    </a:lnTo>
                    <a:lnTo>
                      <a:pt x="98" y="9"/>
                    </a:lnTo>
                    <a:lnTo>
                      <a:pt x="100" y="11"/>
                    </a:lnTo>
                    <a:lnTo>
                      <a:pt x="100" y="9"/>
                    </a:lnTo>
                    <a:lnTo>
                      <a:pt x="102" y="7"/>
                    </a:lnTo>
                    <a:lnTo>
                      <a:pt x="103" y="8"/>
                    </a:lnTo>
                    <a:lnTo>
                      <a:pt x="107" y="7"/>
                    </a:lnTo>
                    <a:lnTo>
                      <a:pt x="109" y="4"/>
                    </a:lnTo>
                    <a:lnTo>
                      <a:pt x="109" y="2"/>
                    </a:lnTo>
                    <a:lnTo>
                      <a:pt x="109" y="1"/>
                    </a:lnTo>
                    <a:lnTo>
                      <a:pt x="109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E20074"/>
                  </a:buClr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0" cap="none" spc="0" normalizeH="0" baseline="0" noProof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69" name="Freeform 137"/>
              <p:cNvSpPr>
                <a:spLocks noEditPoints="1"/>
              </p:cNvSpPr>
              <p:nvPr/>
            </p:nvSpPr>
            <p:spPr bwMode="auto">
              <a:xfrm>
                <a:off x="12668251" y="592139"/>
                <a:ext cx="187325" cy="804863"/>
              </a:xfrm>
              <a:custGeom>
                <a:avLst/>
                <a:gdLst>
                  <a:gd name="T0" fmla="*/ 71 w 118"/>
                  <a:gd name="T1" fmla="*/ 2 h 507"/>
                  <a:gd name="T2" fmla="*/ 116 w 118"/>
                  <a:gd name="T3" fmla="*/ 502 h 507"/>
                  <a:gd name="T4" fmla="*/ 112 w 118"/>
                  <a:gd name="T5" fmla="*/ 503 h 507"/>
                  <a:gd name="T6" fmla="*/ 109 w 118"/>
                  <a:gd name="T7" fmla="*/ 503 h 507"/>
                  <a:gd name="T8" fmla="*/ 106 w 118"/>
                  <a:gd name="T9" fmla="*/ 506 h 507"/>
                  <a:gd name="T10" fmla="*/ 101 w 118"/>
                  <a:gd name="T11" fmla="*/ 507 h 507"/>
                  <a:gd name="T12" fmla="*/ 95 w 118"/>
                  <a:gd name="T13" fmla="*/ 504 h 507"/>
                  <a:gd name="T14" fmla="*/ 93 w 118"/>
                  <a:gd name="T15" fmla="*/ 503 h 507"/>
                  <a:gd name="T16" fmla="*/ 85 w 118"/>
                  <a:gd name="T17" fmla="*/ 498 h 507"/>
                  <a:gd name="T18" fmla="*/ 79 w 118"/>
                  <a:gd name="T19" fmla="*/ 503 h 507"/>
                  <a:gd name="T20" fmla="*/ 70 w 118"/>
                  <a:gd name="T21" fmla="*/ 499 h 507"/>
                  <a:gd name="T22" fmla="*/ 67 w 118"/>
                  <a:gd name="T23" fmla="*/ 499 h 507"/>
                  <a:gd name="T24" fmla="*/ 64 w 118"/>
                  <a:gd name="T25" fmla="*/ 498 h 507"/>
                  <a:gd name="T26" fmla="*/ 60 w 118"/>
                  <a:gd name="T27" fmla="*/ 502 h 507"/>
                  <a:gd name="T28" fmla="*/ 54 w 118"/>
                  <a:gd name="T29" fmla="*/ 498 h 507"/>
                  <a:gd name="T30" fmla="*/ 52 w 118"/>
                  <a:gd name="T31" fmla="*/ 499 h 507"/>
                  <a:gd name="T32" fmla="*/ 47 w 118"/>
                  <a:gd name="T33" fmla="*/ 499 h 507"/>
                  <a:gd name="T34" fmla="*/ 42 w 118"/>
                  <a:gd name="T35" fmla="*/ 497 h 507"/>
                  <a:gd name="T36" fmla="*/ 38 w 118"/>
                  <a:gd name="T37" fmla="*/ 495 h 507"/>
                  <a:gd name="T38" fmla="*/ 38 w 118"/>
                  <a:gd name="T39" fmla="*/ 499 h 507"/>
                  <a:gd name="T40" fmla="*/ 37 w 118"/>
                  <a:gd name="T41" fmla="*/ 495 h 507"/>
                  <a:gd name="T42" fmla="*/ 30 w 118"/>
                  <a:gd name="T43" fmla="*/ 486 h 507"/>
                  <a:gd name="T44" fmla="*/ 28 w 118"/>
                  <a:gd name="T45" fmla="*/ 488 h 507"/>
                  <a:gd name="T46" fmla="*/ 25 w 118"/>
                  <a:gd name="T47" fmla="*/ 489 h 507"/>
                  <a:gd name="T48" fmla="*/ 20 w 118"/>
                  <a:gd name="T49" fmla="*/ 485 h 507"/>
                  <a:gd name="T50" fmla="*/ 18 w 118"/>
                  <a:gd name="T51" fmla="*/ 491 h 507"/>
                  <a:gd name="T52" fmla="*/ 16 w 118"/>
                  <a:gd name="T53" fmla="*/ 495 h 507"/>
                  <a:gd name="T54" fmla="*/ 11 w 118"/>
                  <a:gd name="T55" fmla="*/ 496 h 507"/>
                  <a:gd name="T56" fmla="*/ 4 w 118"/>
                  <a:gd name="T57" fmla="*/ 497 h 507"/>
                  <a:gd name="T58" fmla="*/ 0 w 118"/>
                  <a:gd name="T59" fmla="*/ 3 h 507"/>
                  <a:gd name="T60" fmla="*/ 5 w 118"/>
                  <a:gd name="T61" fmla="*/ 9 h 507"/>
                  <a:gd name="T62" fmla="*/ 11 w 118"/>
                  <a:gd name="T63" fmla="*/ 8 h 507"/>
                  <a:gd name="T64" fmla="*/ 14 w 118"/>
                  <a:gd name="T65" fmla="*/ 8 h 507"/>
                  <a:gd name="T66" fmla="*/ 19 w 118"/>
                  <a:gd name="T67" fmla="*/ 9 h 507"/>
                  <a:gd name="T68" fmla="*/ 24 w 118"/>
                  <a:gd name="T69" fmla="*/ 8 h 507"/>
                  <a:gd name="T70" fmla="*/ 31 w 118"/>
                  <a:gd name="T71" fmla="*/ 10 h 507"/>
                  <a:gd name="T72" fmla="*/ 34 w 118"/>
                  <a:gd name="T73" fmla="*/ 8 h 507"/>
                  <a:gd name="T74" fmla="*/ 41 w 118"/>
                  <a:gd name="T75" fmla="*/ 5 h 507"/>
                  <a:gd name="T76" fmla="*/ 45 w 118"/>
                  <a:gd name="T77" fmla="*/ 6 h 507"/>
                  <a:gd name="T78" fmla="*/ 47 w 118"/>
                  <a:gd name="T79" fmla="*/ 3 h 507"/>
                  <a:gd name="T80" fmla="*/ 52 w 118"/>
                  <a:gd name="T81" fmla="*/ 2 h 507"/>
                  <a:gd name="T82" fmla="*/ 54 w 118"/>
                  <a:gd name="T83" fmla="*/ 2 h 507"/>
                  <a:gd name="T84" fmla="*/ 61 w 118"/>
                  <a:gd name="T85" fmla="*/ 1 h 507"/>
                  <a:gd name="T86" fmla="*/ 62 w 118"/>
                  <a:gd name="T87" fmla="*/ 0 h 507"/>
                  <a:gd name="T88" fmla="*/ 69 w 118"/>
                  <a:gd name="T89" fmla="*/ 1 h 507"/>
                  <a:gd name="T90" fmla="*/ 71 w 118"/>
                  <a:gd name="T91" fmla="*/ 5 h 507"/>
                  <a:gd name="T92" fmla="*/ 77 w 118"/>
                  <a:gd name="T93" fmla="*/ 8 h 507"/>
                  <a:gd name="T94" fmla="*/ 77 w 118"/>
                  <a:gd name="T95" fmla="*/ 6 h 507"/>
                  <a:gd name="T96" fmla="*/ 78 w 118"/>
                  <a:gd name="T97" fmla="*/ 10 h 507"/>
                  <a:gd name="T98" fmla="*/ 84 w 118"/>
                  <a:gd name="T99" fmla="*/ 8 h 507"/>
                  <a:gd name="T100" fmla="*/ 97 w 118"/>
                  <a:gd name="T101" fmla="*/ 8 h 507"/>
                  <a:gd name="T102" fmla="*/ 102 w 118"/>
                  <a:gd name="T103" fmla="*/ 4 h 507"/>
                  <a:gd name="T104" fmla="*/ 108 w 118"/>
                  <a:gd name="T105" fmla="*/ 3 h 507"/>
                  <a:gd name="T106" fmla="*/ 111 w 118"/>
                  <a:gd name="T107" fmla="*/ 2 h 507"/>
                  <a:gd name="T108" fmla="*/ 117 w 118"/>
                  <a:gd name="T109" fmla="*/ 1 h 5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18" h="507">
                    <a:moveTo>
                      <a:pt x="71" y="2"/>
                    </a:moveTo>
                    <a:lnTo>
                      <a:pt x="71" y="4"/>
                    </a:lnTo>
                    <a:lnTo>
                      <a:pt x="71" y="4"/>
                    </a:lnTo>
                    <a:lnTo>
                      <a:pt x="71" y="2"/>
                    </a:lnTo>
                    <a:close/>
                    <a:moveTo>
                      <a:pt x="118" y="0"/>
                    </a:moveTo>
                    <a:lnTo>
                      <a:pt x="118" y="499"/>
                    </a:lnTo>
                    <a:lnTo>
                      <a:pt x="117" y="498"/>
                    </a:lnTo>
                    <a:lnTo>
                      <a:pt x="116" y="502"/>
                    </a:lnTo>
                    <a:lnTo>
                      <a:pt x="114" y="501"/>
                    </a:lnTo>
                    <a:lnTo>
                      <a:pt x="114" y="503"/>
                    </a:lnTo>
                    <a:lnTo>
                      <a:pt x="111" y="502"/>
                    </a:lnTo>
                    <a:lnTo>
                      <a:pt x="112" y="503"/>
                    </a:lnTo>
                    <a:lnTo>
                      <a:pt x="110" y="503"/>
                    </a:lnTo>
                    <a:lnTo>
                      <a:pt x="110" y="504"/>
                    </a:lnTo>
                    <a:lnTo>
                      <a:pt x="109" y="506"/>
                    </a:lnTo>
                    <a:lnTo>
                      <a:pt x="109" y="503"/>
                    </a:lnTo>
                    <a:lnTo>
                      <a:pt x="108" y="504"/>
                    </a:lnTo>
                    <a:lnTo>
                      <a:pt x="105" y="504"/>
                    </a:lnTo>
                    <a:lnTo>
                      <a:pt x="108" y="506"/>
                    </a:lnTo>
                    <a:lnTo>
                      <a:pt x="106" y="506"/>
                    </a:lnTo>
                    <a:lnTo>
                      <a:pt x="105" y="505"/>
                    </a:lnTo>
                    <a:lnTo>
                      <a:pt x="104" y="505"/>
                    </a:lnTo>
                    <a:lnTo>
                      <a:pt x="103" y="507"/>
                    </a:lnTo>
                    <a:lnTo>
                      <a:pt x="101" y="507"/>
                    </a:lnTo>
                    <a:lnTo>
                      <a:pt x="95" y="502"/>
                    </a:lnTo>
                    <a:lnTo>
                      <a:pt x="96" y="504"/>
                    </a:lnTo>
                    <a:lnTo>
                      <a:pt x="95" y="503"/>
                    </a:lnTo>
                    <a:lnTo>
                      <a:pt x="95" y="504"/>
                    </a:lnTo>
                    <a:lnTo>
                      <a:pt x="96" y="506"/>
                    </a:lnTo>
                    <a:lnTo>
                      <a:pt x="94" y="506"/>
                    </a:lnTo>
                    <a:lnTo>
                      <a:pt x="94" y="505"/>
                    </a:lnTo>
                    <a:lnTo>
                      <a:pt x="93" y="503"/>
                    </a:lnTo>
                    <a:lnTo>
                      <a:pt x="93" y="505"/>
                    </a:lnTo>
                    <a:lnTo>
                      <a:pt x="86" y="498"/>
                    </a:lnTo>
                    <a:lnTo>
                      <a:pt x="86" y="502"/>
                    </a:lnTo>
                    <a:lnTo>
                      <a:pt x="85" y="498"/>
                    </a:lnTo>
                    <a:lnTo>
                      <a:pt x="84" y="502"/>
                    </a:lnTo>
                    <a:lnTo>
                      <a:pt x="83" y="501"/>
                    </a:lnTo>
                    <a:lnTo>
                      <a:pt x="83" y="504"/>
                    </a:lnTo>
                    <a:lnTo>
                      <a:pt x="79" y="503"/>
                    </a:lnTo>
                    <a:lnTo>
                      <a:pt x="76" y="502"/>
                    </a:lnTo>
                    <a:lnTo>
                      <a:pt x="74" y="506"/>
                    </a:lnTo>
                    <a:lnTo>
                      <a:pt x="69" y="497"/>
                    </a:lnTo>
                    <a:lnTo>
                      <a:pt x="70" y="499"/>
                    </a:lnTo>
                    <a:lnTo>
                      <a:pt x="68" y="498"/>
                    </a:lnTo>
                    <a:lnTo>
                      <a:pt x="67" y="498"/>
                    </a:lnTo>
                    <a:lnTo>
                      <a:pt x="68" y="499"/>
                    </a:lnTo>
                    <a:lnTo>
                      <a:pt x="67" y="499"/>
                    </a:lnTo>
                    <a:lnTo>
                      <a:pt x="67" y="501"/>
                    </a:lnTo>
                    <a:lnTo>
                      <a:pt x="67" y="502"/>
                    </a:lnTo>
                    <a:lnTo>
                      <a:pt x="63" y="502"/>
                    </a:lnTo>
                    <a:lnTo>
                      <a:pt x="64" y="498"/>
                    </a:lnTo>
                    <a:lnTo>
                      <a:pt x="62" y="499"/>
                    </a:lnTo>
                    <a:lnTo>
                      <a:pt x="62" y="503"/>
                    </a:lnTo>
                    <a:lnTo>
                      <a:pt x="59" y="499"/>
                    </a:lnTo>
                    <a:lnTo>
                      <a:pt x="60" y="502"/>
                    </a:lnTo>
                    <a:lnTo>
                      <a:pt x="56" y="497"/>
                    </a:lnTo>
                    <a:lnTo>
                      <a:pt x="56" y="499"/>
                    </a:lnTo>
                    <a:lnTo>
                      <a:pt x="55" y="501"/>
                    </a:lnTo>
                    <a:lnTo>
                      <a:pt x="54" y="498"/>
                    </a:lnTo>
                    <a:lnTo>
                      <a:pt x="56" y="501"/>
                    </a:lnTo>
                    <a:lnTo>
                      <a:pt x="56" y="503"/>
                    </a:lnTo>
                    <a:lnTo>
                      <a:pt x="55" y="502"/>
                    </a:lnTo>
                    <a:lnTo>
                      <a:pt x="52" y="499"/>
                    </a:lnTo>
                    <a:lnTo>
                      <a:pt x="54" y="502"/>
                    </a:lnTo>
                    <a:lnTo>
                      <a:pt x="51" y="501"/>
                    </a:lnTo>
                    <a:lnTo>
                      <a:pt x="52" y="503"/>
                    </a:lnTo>
                    <a:lnTo>
                      <a:pt x="47" y="499"/>
                    </a:lnTo>
                    <a:lnTo>
                      <a:pt x="49" y="501"/>
                    </a:lnTo>
                    <a:lnTo>
                      <a:pt x="47" y="502"/>
                    </a:lnTo>
                    <a:lnTo>
                      <a:pt x="43" y="498"/>
                    </a:lnTo>
                    <a:lnTo>
                      <a:pt x="42" y="497"/>
                    </a:lnTo>
                    <a:lnTo>
                      <a:pt x="43" y="501"/>
                    </a:lnTo>
                    <a:lnTo>
                      <a:pt x="41" y="502"/>
                    </a:lnTo>
                    <a:lnTo>
                      <a:pt x="39" y="498"/>
                    </a:lnTo>
                    <a:lnTo>
                      <a:pt x="38" y="495"/>
                    </a:lnTo>
                    <a:lnTo>
                      <a:pt x="38" y="496"/>
                    </a:lnTo>
                    <a:lnTo>
                      <a:pt x="38" y="497"/>
                    </a:lnTo>
                    <a:lnTo>
                      <a:pt x="38" y="499"/>
                    </a:lnTo>
                    <a:lnTo>
                      <a:pt x="38" y="499"/>
                    </a:lnTo>
                    <a:lnTo>
                      <a:pt x="38" y="501"/>
                    </a:lnTo>
                    <a:lnTo>
                      <a:pt x="38" y="499"/>
                    </a:lnTo>
                    <a:lnTo>
                      <a:pt x="38" y="497"/>
                    </a:lnTo>
                    <a:lnTo>
                      <a:pt x="37" y="495"/>
                    </a:lnTo>
                    <a:lnTo>
                      <a:pt x="34" y="495"/>
                    </a:lnTo>
                    <a:lnTo>
                      <a:pt x="31" y="486"/>
                    </a:lnTo>
                    <a:lnTo>
                      <a:pt x="31" y="487"/>
                    </a:lnTo>
                    <a:lnTo>
                      <a:pt x="30" y="486"/>
                    </a:lnTo>
                    <a:lnTo>
                      <a:pt x="30" y="484"/>
                    </a:lnTo>
                    <a:lnTo>
                      <a:pt x="29" y="484"/>
                    </a:lnTo>
                    <a:lnTo>
                      <a:pt x="28" y="487"/>
                    </a:lnTo>
                    <a:lnTo>
                      <a:pt x="28" y="488"/>
                    </a:lnTo>
                    <a:lnTo>
                      <a:pt x="26" y="486"/>
                    </a:lnTo>
                    <a:lnTo>
                      <a:pt x="26" y="486"/>
                    </a:lnTo>
                    <a:lnTo>
                      <a:pt x="26" y="487"/>
                    </a:lnTo>
                    <a:lnTo>
                      <a:pt x="25" y="489"/>
                    </a:lnTo>
                    <a:lnTo>
                      <a:pt x="24" y="487"/>
                    </a:lnTo>
                    <a:lnTo>
                      <a:pt x="25" y="485"/>
                    </a:lnTo>
                    <a:lnTo>
                      <a:pt x="22" y="485"/>
                    </a:lnTo>
                    <a:lnTo>
                      <a:pt x="20" y="485"/>
                    </a:lnTo>
                    <a:lnTo>
                      <a:pt x="21" y="488"/>
                    </a:lnTo>
                    <a:lnTo>
                      <a:pt x="19" y="488"/>
                    </a:lnTo>
                    <a:lnTo>
                      <a:pt x="19" y="493"/>
                    </a:lnTo>
                    <a:lnTo>
                      <a:pt x="18" y="491"/>
                    </a:lnTo>
                    <a:lnTo>
                      <a:pt x="17" y="493"/>
                    </a:lnTo>
                    <a:lnTo>
                      <a:pt x="17" y="489"/>
                    </a:lnTo>
                    <a:lnTo>
                      <a:pt x="14" y="493"/>
                    </a:lnTo>
                    <a:lnTo>
                      <a:pt x="16" y="495"/>
                    </a:lnTo>
                    <a:lnTo>
                      <a:pt x="12" y="495"/>
                    </a:lnTo>
                    <a:lnTo>
                      <a:pt x="13" y="496"/>
                    </a:lnTo>
                    <a:lnTo>
                      <a:pt x="12" y="495"/>
                    </a:lnTo>
                    <a:lnTo>
                      <a:pt x="11" y="496"/>
                    </a:lnTo>
                    <a:lnTo>
                      <a:pt x="6" y="496"/>
                    </a:lnTo>
                    <a:lnTo>
                      <a:pt x="6" y="497"/>
                    </a:lnTo>
                    <a:lnTo>
                      <a:pt x="5" y="497"/>
                    </a:lnTo>
                    <a:lnTo>
                      <a:pt x="4" y="497"/>
                    </a:lnTo>
                    <a:lnTo>
                      <a:pt x="3" y="499"/>
                    </a:lnTo>
                    <a:lnTo>
                      <a:pt x="2" y="496"/>
                    </a:lnTo>
                    <a:lnTo>
                      <a:pt x="0" y="497"/>
                    </a:lnTo>
                    <a:lnTo>
                      <a:pt x="0" y="3"/>
                    </a:lnTo>
                    <a:lnTo>
                      <a:pt x="2" y="9"/>
                    </a:lnTo>
                    <a:lnTo>
                      <a:pt x="3" y="10"/>
                    </a:lnTo>
                    <a:lnTo>
                      <a:pt x="4" y="11"/>
                    </a:lnTo>
                    <a:lnTo>
                      <a:pt x="5" y="9"/>
                    </a:lnTo>
                    <a:lnTo>
                      <a:pt x="6" y="11"/>
                    </a:lnTo>
                    <a:lnTo>
                      <a:pt x="6" y="9"/>
                    </a:lnTo>
                    <a:lnTo>
                      <a:pt x="9" y="10"/>
                    </a:lnTo>
                    <a:lnTo>
                      <a:pt x="11" y="8"/>
                    </a:lnTo>
                    <a:lnTo>
                      <a:pt x="11" y="10"/>
                    </a:lnTo>
                    <a:lnTo>
                      <a:pt x="12" y="9"/>
                    </a:lnTo>
                    <a:lnTo>
                      <a:pt x="13" y="10"/>
                    </a:lnTo>
                    <a:lnTo>
                      <a:pt x="14" y="8"/>
                    </a:lnTo>
                    <a:lnTo>
                      <a:pt x="14" y="10"/>
                    </a:lnTo>
                    <a:lnTo>
                      <a:pt x="16" y="9"/>
                    </a:lnTo>
                    <a:lnTo>
                      <a:pt x="18" y="10"/>
                    </a:lnTo>
                    <a:lnTo>
                      <a:pt x="19" y="9"/>
                    </a:lnTo>
                    <a:lnTo>
                      <a:pt x="20" y="10"/>
                    </a:lnTo>
                    <a:lnTo>
                      <a:pt x="20" y="9"/>
                    </a:lnTo>
                    <a:lnTo>
                      <a:pt x="21" y="5"/>
                    </a:lnTo>
                    <a:lnTo>
                      <a:pt x="24" y="8"/>
                    </a:lnTo>
                    <a:lnTo>
                      <a:pt x="24" y="4"/>
                    </a:lnTo>
                    <a:lnTo>
                      <a:pt x="26" y="8"/>
                    </a:lnTo>
                    <a:lnTo>
                      <a:pt x="30" y="6"/>
                    </a:lnTo>
                    <a:lnTo>
                      <a:pt x="31" y="10"/>
                    </a:lnTo>
                    <a:lnTo>
                      <a:pt x="34" y="8"/>
                    </a:lnTo>
                    <a:lnTo>
                      <a:pt x="33" y="9"/>
                    </a:lnTo>
                    <a:lnTo>
                      <a:pt x="35" y="9"/>
                    </a:lnTo>
                    <a:lnTo>
                      <a:pt x="34" y="8"/>
                    </a:lnTo>
                    <a:lnTo>
                      <a:pt x="35" y="6"/>
                    </a:lnTo>
                    <a:lnTo>
                      <a:pt x="37" y="8"/>
                    </a:lnTo>
                    <a:lnTo>
                      <a:pt x="39" y="8"/>
                    </a:lnTo>
                    <a:lnTo>
                      <a:pt x="41" y="5"/>
                    </a:lnTo>
                    <a:lnTo>
                      <a:pt x="42" y="8"/>
                    </a:lnTo>
                    <a:lnTo>
                      <a:pt x="44" y="6"/>
                    </a:lnTo>
                    <a:lnTo>
                      <a:pt x="44" y="4"/>
                    </a:lnTo>
                    <a:lnTo>
                      <a:pt x="45" y="6"/>
                    </a:lnTo>
                    <a:lnTo>
                      <a:pt x="46" y="3"/>
                    </a:lnTo>
                    <a:lnTo>
                      <a:pt x="46" y="5"/>
                    </a:lnTo>
                    <a:lnTo>
                      <a:pt x="47" y="4"/>
                    </a:lnTo>
                    <a:lnTo>
                      <a:pt x="47" y="3"/>
                    </a:lnTo>
                    <a:lnTo>
                      <a:pt x="49" y="4"/>
                    </a:lnTo>
                    <a:lnTo>
                      <a:pt x="49" y="2"/>
                    </a:lnTo>
                    <a:lnTo>
                      <a:pt x="50" y="4"/>
                    </a:lnTo>
                    <a:lnTo>
                      <a:pt x="52" y="2"/>
                    </a:lnTo>
                    <a:lnTo>
                      <a:pt x="52" y="2"/>
                    </a:lnTo>
                    <a:lnTo>
                      <a:pt x="53" y="3"/>
                    </a:lnTo>
                    <a:lnTo>
                      <a:pt x="56" y="3"/>
                    </a:lnTo>
                    <a:lnTo>
                      <a:pt x="54" y="2"/>
                    </a:lnTo>
                    <a:lnTo>
                      <a:pt x="59" y="2"/>
                    </a:lnTo>
                    <a:lnTo>
                      <a:pt x="58" y="4"/>
                    </a:lnTo>
                    <a:lnTo>
                      <a:pt x="59" y="5"/>
                    </a:lnTo>
                    <a:lnTo>
                      <a:pt x="61" y="1"/>
                    </a:lnTo>
                    <a:lnTo>
                      <a:pt x="60" y="4"/>
                    </a:lnTo>
                    <a:lnTo>
                      <a:pt x="62" y="2"/>
                    </a:lnTo>
                    <a:lnTo>
                      <a:pt x="61" y="2"/>
                    </a:lnTo>
                    <a:lnTo>
                      <a:pt x="62" y="0"/>
                    </a:lnTo>
                    <a:lnTo>
                      <a:pt x="63" y="3"/>
                    </a:lnTo>
                    <a:lnTo>
                      <a:pt x="64" y="3"/>
                    </a:lnTo>
                    <a:lnTo>
                      <a:pt x="68" y="3"/>
                    </a:lnTo>
                    <a:lnTo>
                      <a:pt x="69" y="1"/>
                    </a:lnTo>
                    <a:lnTo>
                      <a:pt x="70" y="2"/>
                    </a:lnTo>
                    <a:lnTo>
                      <a:pt x="70" y="4"/>
                    </a:lnTo>
                    <a:lnTo>
                      <a:pt x="71" y="4"/>
                    </a:lnTo>
                    <a:lnTo>
                      <a:pt x="71" y="5"/>
                    </a:lnTo>
                    <a:lnTo>
                      <a:pt x="74" y="4"/>
                    </a:lnTo>
                    <a:lnTo>
                      <a:pt x="76" y="10"/>
                    </a:lnTo>
                    <a:lnTo>
                      <a:pt x="76" y="9"/>
                    </a:lnTo>
                    <a:lnTo>
                      <a:pt x="77" y="8"/>
                    </a:lnTo>
                    <a:lnTo>
                      <a:pt x="77" y="6"/>
                    </a:lnTo>
                    <a:lnTo>
                      <a:pt x="77" y="5"/>
                    </a:lnTo>
                    <a:lnTo>
                      <a:pt x="77" y="5"/>
                    </a:lnTo>
                    <a:lnTo>
                      <a:pt x="77" y="6"/>
                    </a:lnTo>
                    <a:lnTo>
                      <a:pt x="77" y="8"/>
                    </a:lnTo>
                    <a:lnTo>
                      <a:pt x="78" y="9"/>
                    </a:lnTo>
                    <a:lnTo>
                      <a:pt x="77" y="9"/>
                    </a:lnTo>
                    <a:lnTo>
                      <a:pt x="78" y="10"/>
                    </a:lnTo>
                    <a:lnTo>
                      <a:pt x="79" y="10"/>
                    </a:lnTo>
                    <a:lnTo>
                      <a:pt x="80" y="9"/>
                    </a:lnTo>
                    <a:lnTo>
                      <a:pt x="81" y="11"/>
                    </a:lnTo>
                    <a:lnTo>
                      <a:pt x="84" y="8"/>
                    </a:lnTo>
                    <a:lnTo>
                      <a:pt x="86" y="9"/>
                    </a:lnTo>
                    <a:lnTo>
                      <a:pt x="96" y="8"/>
                    </a:lnTo>
                    <a:lnTo>
                      <a:pt x="96" y="6"/>
                    </a:lnTo>
                    <a:lnTo>
                      <a:pt x="97" y="8"/>
                    </a:lnTo>
                    <a:lnTo>
                      <a:pt x="101" y="8"/>
                    </a:lnTo>
                    <a:lnTo>
                      <a:pt x="101" y="4"/>
                    </a:lnTo>
                    <a:lnTo>
                      <a:pt x="102" y="6"/>
                    </a:lnTo>
                    <a:lnTo>
                      <a:pt x="102" y="4"/>
                    </a:lnTo>
                    <a:lnTo>
                      <a:pt x="103" y="5"/>
                    </a:lnTo>
                    <a:lnTo>
                      <a:pt x="103" y="4"/>
                    </a:lnTo>
                    <a:lnTo>
                      <a:pt x="108" y="5"/>
                    </a:lnTo>
                    <a:lnTo>
                      <a:pt x="108" y="3"/>
                    </a:lnTo>
                    <a:lnTo>
                      <a:pt x="110" y="3"/>
                    </a:lnTo>
                    <a:lnTo>
                      <a:pt x="109" y="1"/>
                    </a:lnTo>
                    <a:lnTo>
                      <a:pt x="111" y="3"/>
                    </a:lnTo>
                    <a:lnTo>
                      <a:pt x="111" y="2"/>
                    </a:lnTo>
                    <a:lnTo>
                      <a:pt x="111" y="1"/>
                    </a:lnTo>
                    <a:lnTo>
                      <a:pt x="112" y="1"/>
                    </a:lnTo>
                    <a:lnTo>
                      <a:pt x="114" y="3"/>
                    </a:lnTo>
                    <a:lnTo>
                      <a:pt x="117" y="1"/>
                    </a:lnTo>
                    <a:lnTo>
                      <a:pt x="118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E20074"/>
                  </a:buClr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0" cap="none" spc="0" normalizeH="0" baseline="0" noProof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73" name="Freeform 138"/>
              <p:cNvSpPr>
                <a:spLocks noEditPoints="1"/>
              </p:cNvSpPr>
              <p:nvPr/>
            </p:nvSpPr>
            <p:spPr bwMode="auto">
              <a:xfrm>
                <a:off x="12855576" y="560389"/>
                <a:ext cx="187325" cy="849313"/>
              </a:xfrm>
              <a:custGeom>
                <a:avLst/>
                <a:gdLst>
                  <a:gd name="T0" fmla="*/ 45 w 118"/>
                  <a:gd name="T1" fmla="*/ 521 h 535"/>
                  <a:gd name="T2" fmla="*/ 118 w 118"/>
                  <a:gd name="T3" fmla="*/ 517 h 535"/>
                  <a:gd name="T4" fmla="*/ 115 w 118"/>
                  <a:gd name="T5" fmla="*/ 522 h 535"/>
                  <a:gd name="T6" fmla="*/ 110 w 118"/>
                  <a:gd name="T7" fmla="*/ 523 h 535"/>
                  <a:gd name="T8" fmla="*/ 109 w 118"/>
                  <a:gd name="T9" fmla="*/ 535 h 535"/>
                  <a:gd name="T10" fmla="*/ 101 w 118"/>
                  <a:gd name="T11" fmla="*/ 532 h 535"/>
                  <a:gd name="T12" fmla="*/ 95 w 118"/>
                  <a:gd name="T13" fmla="*/ 528 h 535"/>
                  <a:gd name="T14" fmla="*/ 91 w 118"/>
                  <a:gd name="T15" fmla="*/ 526 h 535"/>
                  <a:gd name="T16" fmla="*/ 86 w 118"/>
                  <a:gd name="T17" fmla="*/ 527 h 535"/>
                  <a:gd name="T18" fmla="*/ 86 w 118"/>
                  <a:gd name="T19" fmla="*/ 531 h 535"/>
                  <a:gd name="T20" fmla="*/ 84 w 118"/>
                  <a:gd name="T21" fmla="*/ 528 h 535"/>
                  <a:gd name="T22" fmla="*/ 78 w 118"/>
                  <a:gd name="T23" fmla="*/ 530 h 535"/>
                  <a:gd name="T24" fmla="*/ 75 w 118"/>
                  <a:gd name="T25" fmla="*/ 527 h 535"/>
                  <a:gd name="T26" fmla="*/ 69 w 118"/>
                  <a:gd name="T27" fmla="*/ 526 h 535"/>
                  <a:gd name="T28" fmla="*/ 65 w 118"/>
                  <a:gd name="T29" fmla="*/ 526 h 535"/>
                  <a:gd name="T30" fmla="*/ 59 w 118"/>
                  <a:gd name="T31" fmla="*/ 528 h 535"/>
                  <a:gd name="T32" fmla="*/ 55 w 118"/>
                  <a:gd name="T33" fmla="*/ 523 h 535"/>
                  <a:gd name="T34" fmla="*/ 50 w 118"/>
                  <a:gd name="T35" fmla="*/ 521 h 535"/>
                  <a:gd name="T36" fmla="*/ 48 w 118"/>
                  <a:gd name="T37" fmla="*/ 525 h 535"/>
                  <a:gd name="T38" fmla="*/ 49 w 118"/>
                  <a:gd name="T39" fmla="*/ 522 h 535"/>
                  <a:gd name="T40" fmla="*/ 45 w 118"/>
                  <a:gd name="T41" fmla="*/ 521 h 535"/>
                  <a:gd name="T42" fmla="*/ 41 w 118"/>
                  <a:gd name="T43" fmla="*/ 519 h 535"/>
                  <a:gd name="T44" fmla="*/ 35 w 118"/>
                  <a:gd name="T45" fmla="*/ 521 h 535"/>
                  <a:gd name="T46" fmla="*/ 32 w 118"/>
                  <a:gd name="T47" fmla="*/ 519 h 535"/>
                  <a:gd name="T48" fmla="*/ 29 w 118"/>
                  <a:gd name="T49" fmla="*/ 523 h 535"/>
                  <a:gd name="T50" fmla="*/ 26 w 118"/>
                  <a:gd name="T51" fmla="*/ 523 h 535"/>
                  <a:gd name="T52" fmla="*/ 25 w 118"/>
                  <a:gd name="T53" fmla="*/ 522 h 535"/>
                  <a:gd name="T54" fmla="*/ 23 w 118"/>
                  <a:gd name="T55" fmla="*/ 526 h 535"/>
                  <a:gd name="T56" fmla="*/ 15 w 118"/>
                  <a:gd name="T57" fmla="*/ 523 h 535"/>
                  <a:gd name="T58" fmla="*/ 11 w 118"/>
                  <a:gd name="T59" fmla="*/ 523 h 535"/>
                  <a:gd name="T60" fmla="*/ 5 w 118"/>
                  <a:gd name="T61" fmla="*/ 521 h 535"/>
                  <a:gd name="T62" fmla="*/ 2 w 118"/>
                  <a:gd name="T63" fmla="*/ 517 h 535"/>
                  <a:gd name="T64" fmla="*/ 0 w 118"/>
                  <a:gd name="T65" fmla="*/ 20 h 535"/>
                  <a:gd name="T66" fmla="*/ 5 w 118"/>
                  <a:gd name="T67" fmla="*/ 19 h 535"/>
                  <a:gd name="T68" fmla="*/ 9 w 118"/>
                  <a:gd name="T69" fmla="*/ 11 h 535"/>
                  <a:gd name="T70" fmla="*/ 11 w 118"/>
                  <a:gd name="T71" fmla="*/ 16 h 535"/>
                  <a:gd name="T72" fmla="*/ 19 w 118"/>
                  <a:gd name="T73" fmla="*/ 12 h 535"/>
                  <a:gd name="T74" fmla="*/ 27 w 118"/>
                  <a:gd name="T75" fmla="*/ 13 h 535"/>
                  <a:gd name="T76" fmla="*/ 30 w 118"/>
                  <a:gd name="T77" fmla="*/ 12 h 535"/>
                  <a:gd name="T78" fmla="*/ 36 w 118"/>
                  <a:gd name="T79" fmla="*/ 14 h 535"/>
                  <a:gd name="T80" fmla="*/ 41 w 118"/>
                  <a:gd name="T81" fmla="*/ 14 h 535"/>
                  <a:gd name="T82" fmla="*/ 46 w 118"/>
                  <a:gd name="T83" fmla="*/ 12 h 535"/>
                  <a:gd name="T84" fmla="*/ 49 w 118"/>
                  <a:gd name="T85" fmla="*/ 14 h 535"/>
                  <a:gd name="T86" fmla="*/ 48 w 118"/>
                  <a:gd name="T87" fmla="*/ 15 h 535"/>
                  <a:gd name="T88" fmla="*/ 51 w 118"/>
                  <a:gd name="T89" fmla="*/ 16 h 535"/>
                  <a:gd name="T90" fmla="*/ 54 w 118"/>
                  <a:gd name="T91" fmla="*/ 16 h 535"/>
                  <a:gd name="T92" fmla="*/ 61 w 118"/>
                  <a:gd name="T93" fmla="*/ 13 h 535"/>
                  <a:gd name="T94" fmla="*/ 66 w 118"/>
                  <a:gd name="T95" fmla="*/ 11 h 535"/>
                  <a:gd name="T96" fmla="*/ 74 w 118"/>
                  <a:gd name="T97" fmla="*/ 13 h 535"/>
                  <a:gd name="T98" fmla="*/ 72 w 118"/>
                  <a:gd name="T99" fmla="*/ 13 h 535"/>
                  <a:gd name="T100" fmla="*/ 90 w 118"/>
                  <a:gd name="T101" fmla="*/ 11 h 535"/>
                  <a:gd name="T102" fmla="*/ 93 w 118"/>
                  <a:gd name="T103" fmla="*/ 13 h 535"/>
                  <a:gd name="T104" fmla="*/ 102 w 118"/>
                  <a:gd name="T105" fmla="*/ 9 h 535"/>
                  <a:gd name="T106" fmla="*/ 107 w 118"/>
                  <a:gd name="T107" fmla="*/ 9 h 535"/>
                  <a:gd name="T108" fmla="*/ 116 w 118"/>
                  <a:gd name="T109" fmla="*/ 0 h 5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18" h="535">
                    <a:moveTo>
                      <a:pt x="45" y="521"/>
                    </a:moveTo>
                    <a:lnTo>
                      <a:pt x="46" y="522"/>
                    </a:lnTo>
                    <a:lnTo>
                      <a:pt x="44" y="521"/>
                    </a:lnTo>
                    <a:lnTo>
                      <a:pt x="45" y="521"/>
                    </a:lnTo>
                    <a:close/>
                    <a:moveTo>
                      <a:pt x="116" y="0"/>
                    </a:moveTo>
                    <a:lnTo>
                      <a:pt x="118" y="1"/>
                    </a:lnTo>
                    <a:lnTo>
                      <a:pt x="118" y="518"/>
                    </a:lnTo>
                    <a:lnTo>
                      <a:pt x="118" y="517"/>
                    </a:lnTo>
                    <a:lnTo>
                      <a:pt x="117" y="518"/>
                    </a:lnTo>
                    <a:lnTo>
                      <a:pt x="116" y="518"/>
                    </a:lnTo>
                    <a:lnTo>
                      <a:pt x="117" y="522"/>
                    </a:lnTo>
                    <a:lnTo>
                      <a:pt x="115" y="522"/>
                    </a:lnTo>
                    <a:lnTo>
                      <a:pt x="115" y="519"/>
                    </a:lnTo>
                    <a:lnTo>
                      <a:pt x="112" y="519"/>
                    </a:lnTo>
                    <a:lnTo>
                      <a:pt x="111" y="522"/>
                    </a:lnTo>
                    <a:lnTo>
                      <a:pt x="110" y="523"/>
                    </a:lnTo>
                    <a:lnTo>
                      <a:pt x="109" y="532"/>
                    </a:lnTo>
                    <a:lnTo>
                      <a:pt x="109" y="531"/>
                    </a:lnTo>
                    <a:lnTo>
                      <a:pt x="109" y="535"/>
                    </a:lnTo>
                    <a:lnTo>
                      <a:pt x="109" y="535"/>
                    </a:lnTo>
                    <a:lnTo>
                      <a:pt x="107" y="531"/>
                    </a:lnTo>
                    <a:lnTo>
                      <a:pt x="102" y="530"/>
                    </a:lnTo>
                    <a:lnTo>
                      <a:pt x="102" y="533"/>
                    </a:lnTo>
                    <a:lnTo>
                      <a:pt x="101" y="532"/>
                    </a:lnTo>
                    <a:lnTo>
                      <a:pt x="100" y="528"/>
                    </a:lnTo>
                    <a:lnTo>
                      <a:pt x="99" y="528"/>
                    </a:lnTo>
                    <a:lnTo>
                      <a:pt x="97" y="530"/>
                    </a:lnTo>
                    <a:lnTo>
                      <a:pt x="95" y="528"/>
                    </a:lnTo>
                    <a:lnTo>
                      <a:pt x="94" y="533"/>
                    </a:lnTo>
                    <a:lnTo>
                      <a:pt x="94" y="528"/>
                    </a:lnTo>
                    <a:lnTo>
                      <a:pt x="92" y="527"/>
                    </a:lnTo>
                    <a:lnTo>
                      <a:pt x="91" y="526"/>
                    </a:lnTo>
                    <a:lnTo>
                      <a:pt x="91" y="528"/>
                    </a:lnTo>
                    <a:lnTo>
                      <a:pt x="91" y="526"/>
                    </a:lnTo>
                    <a:lnTo>
                      <a:pt x="88" y="525"/>
                    </a:lnTo>
                    <a:lnTo>
                      <a:pt x="86" y="527"/>
                    </a:lnTo>
                    <a:lnTo>
                      <a:pt x="86" y="526"/>
                    </a:lnTo>
                    <a:lnTo>
                      <a:pt x="86" y="527"/>
                    </a:lnTo>
                    <a:lnTo>
                      <a:pt x="85" y="526"/>
                    </a:lnTo>
                    <a:lnTo>
                      <a:pt x="86" y="531"/>
                    </a:lnTo>
                    <a:lnTo>
                      <a:pt x="84" y="528"/>
                    </a:lnTo>
                    <a:lnTo>
                      <a:pt x="84" y="528"/>
                    </a:lnTo>
                    <a:lnTo>
                      <a:pt x="83" y="528"/>
                    </a:lnTo>
                    <a:lnTo>
                      <a:pt x="84" y="528"/>
                    </a:lnTo>
                    <a:lnTo>
                      <a:pt x="83" y="532"/>
                    </a:lnTo>
                    <a:lnTo>
                      <a:pt x="79" y="528"/>
                    </a:lnTo>
                    <a:lnTo>
                      <a:pt x="78" y="533"/>
                    </a:lnTo>
                    <a:lnTo>
                      <a:pt x="78" y="530"/>
                    </a:lnTo>
                    <a:lnTo>
                      <a:pt x="76" y="533"/>
                    </a:lnTo>
                    <a:lnTo>
                      <a:pt x="74" y="532"/>
                    </a:lnTo>
                    <a:lnTo>
                      <a:pt x="74" y="532"/>
                    </a:lnTo>
                    <a:lnTo>
                      <a:pt x="75" y="527"/>
                    </a:lnTo>
                    <a:lnTo>
                      <a:pt x="71" y="530"/>
                    </a:lnTo>
                    <a:lnTo>
                      <a:pt x="72" y="527"/>
                    </a:lnTo>
                    <a:lnTo>
                      <a:pt x="71" y="528"/>
                    </a:lnTo>
                    <a:lnTo>
                      <a:pt x="69" y="526"/>
                    </a:lnTo>
                    <a:lnTo>
                      <a:pt x="67" y="524"/>
                    </a:lnTo>
                    <a:lnTo>
                      <a:pt x="67" y="526"/>
                    </a:lnTo>
                    <a:lnTo>
                      <a:pt x="65" y="524"/>
                    </a:lnTo>
                    <a:lnTo>
                      <a:pt x="65" y="526"/>
                    </a:lnTo>
                    <a:lnTo>
                      <a:pt x="62" y="526"/>
                    </a:lnTo>
                    <a:lnTo>
                      <a:pt x="60" y="524"/>
                    </a:lnTo>
                    <a:lnTo>
                      <a:pt x="59" y="527"/>
                    </a:lnTo>
                    <a:lnTo>
                      <a:pt x="59" y="528"/>
                    </a:lnTo>
                    <a:lnTo>
                      <a:pt x="57" y="528"/>
                    </a:lnTo>
                    <a:lnTo>
                      <a:pt x="55" y="524"/>
                    </a:lnTo>
                    <a:lnTo>
                      <a:pt x="55" y="526"/>
                    </a:lnTo>
                    <a:lnTo>
                      <a:pt x="55" y="523"/>
                    </a:lnTo>
                    <a:lnTo>
                      <a:pt x="53" y="527"/>
                    </a:lnTo>
                    <a:lnTo>
                      <a:pt x="53" y="523"/>
                    </a:lnTo>
                    <a:lnTo>
                      <a:pt x="51" y="522"/>
                    </a:lnTo>
                    <a:lnTo>
                      <a:pt x="50" y="521"/>
                    </a:lnTo>
                    <a:lnTo>
                      <a:pt x="49" y="524"/>
                    </a:lnTo>
                    <a:lnTo>
                      <a:pt x="49" y="523"/>
                    </a:lnTo>
                    <a:lnTo>
                      <a:pt x="49" y="524"/>
                    </a:lnTo>
                    <a:lnTo>
                      <a:pt x="48" y="525"/>
                    </a:lnTo>
                    <a:lnTo>
                      <a:pt x="48" y="526"/>
                    </a:lnTo>
                    <a:lnTo>
                      <a:pt x="48" y="525"/>
                    </a:lnTo>
                    <a:lnTo>
                      <a:pt x="48" y="524"/>
                    </a:lnTo>
                    <a:lnTo>
                      <a:pt x="49" y="522"/>
                    </a:lnTo>
                    <a:lnTo>
                      <a:pt x="49" y="521"/>
                    </a:lnTo>
                    <a:lnTo>
                      <a:pt x="49" y="518"/>
                    </a:lnTo>
                    <a:lnTo>
                      <a:pt x="49" y="521"/>
                    </a:lnTo>
                    <a:lnTo>
                      <a:pt x="45" y="521"/>
                    </a:lnTo>
                    <a:lnTo>
                      <a:pt x="43" y="518"/>
                    </a:lnTo>
                    <a:lnTo>
                      <a:pt x="41" y="518"/>
                    </a:lnTo>
                    <a:lnTo>
                      <a:pt x="42" y="522"/>
                    </a:lnTo>
                    <a:lnTo>
                      <a:pt x="41" y="519"/>
                    </a:lnTo>
                    <a:lnTo>
                      <a:pt x="41" y="522"/>
                    </a:lnTo>
                    <a:lnTo>
                      <a:pt x="37" y="519"/>
                    </a:lnTo>
                    <a:lnTo>
                      <a:pt x="37" y="521"/>
                    </a:lnTo>
                    <a:lnTo>
                      <a:pt x="35" y="521"/>
                    </a:lnTo>
                    <a:lnTo>
                      <a:pt x="34" y="517"/>
                    </a:lnTo>
                    <a:lnTo>
                      <a:pt x="33" y="519"/>
                    </a:lnTo>
                    <a:lnTo>
                      <a:pt x="33" y="517"/>
                    </a:lnTo>
                    <a:lnTo>
                      <a:pt x="32" y="519"/>
                    </a:lnTo>
                    <a:lnTo>
                      <a:pt x="30" y="517"/>
                    </a:lnTo>
                    <a:lnTo>
                      <a:pt x="32" y="523"/>
                    </a:lnTo>
                    <a:lnTo>
                      <a:pt x="32" y="525"/>
                    </a:lnTo>
                    <a:lnTo>
                      <a:pt x="29" y="523"/>
                    </a:lnTo>
                    <a:lnTo>
                      <a:pt x="30" y="526"/>
                    </a:lnTo>
                    <a:lnTo>
                      <a:pt x="28" y="523"/>
                    </a:lnTo>
                    <a:lnTo>
                      <a:pt x="28" y="525"/>
                    </a:lnTo>
                    <a:lnTo>
                      <a:pt x="26" y="523"/>
                    </a:lnTo>
                    <a:lnTo>
                      <a:pt x="27" y="526"/>
                    </a:lnTo>
                    <a:lnTo>
                      <a:pt x="28" y="527"/>
                    </a:lnTo>
                    <a:lnTo>
                      <a:pt x="26" y="526"/>
                    </a:lnTo>
                    <a:lnTo>
                      <a:pt x="25" y="522"/>
                    </a:lnTo>
                    <a:lnTo>
                      <a:pt x="26" y="525"/>
                    </a:lnTo>
                    <a:lnTo>
                      <a:pt x="24" y="525"/>
                    </a:lnTo>
                    <a:lnTo>
                      <a:pt x="24" y="528"/>
                    </a:lnTo>
                    <a:lnTo>
                      <a:pt x="23" y="526"/>
                    </a:lnTo>
                    <a:lnTo>
                      <a:pt x="23" y="526"/>
                    </a:lnTo>
                    <a:lnTo>
                      <a:pt x="21" y="530"/>
                    </a:lnTo>
                    <a:lnTo>
                      <a:pt x="16" y="521"/>
                    </a:lnTo>
                    <a:lnTo>
                      <a:pt x="15" y="523"/>
                    </a:lnTo>
                    <a:lnTo>
                      <a:pt x="12" y="522"/>
                    </a:lnTo>
                    <a:lnTo>
                      <a:pt x="12" y="524"/>
                    </a:lnTo>
                    <a:lnTo>
                      <a:pt x="12" y="523"/>
                    </a:lnTo>
                    <a:lnTo>
                      <a:pt x="11" y="523"/>
                    </a:lnTo>
                    <a:lnTo>
                      <a:pt x="12" y="525"/>
                    </a:lnTo>
                    <a:lnTo>
                      <a:pt x="9" y="523"/>
                    </a:lnTo>
                    <a:lnTo>
                      <a:pt x="9" y="526"/>
                    </a:lnTo>
                    <a:lnTo>
                      <a:pt x="5" y="521"/>
                    </a:lnTo>
                    <a:lnTo>
                      <a:pt x="5" y="522"/>
                    </a:lnTo>
                    <a:lnTo>
                      <a:pt x="3" y="517"/>
                    </a:lnTo>
                    <a:lnTo>
                      <a:pt x="2" y="518"/>
                    </a:lnTo>
                    <a:lnTo>
                      <a:pt x="2" y="517"/>
                    </a:lnTo>
                    <a:lnTo>
                      <a:pt x="1" y="515"/>
                    </a:lnTo>
                    <a:lnTo>
                      <a:pt x="0" y="519"/>
                    </a:lnTo>
                    <a:lnTo>
                      <a:pt x="0" y="519"/>
                    </a:lnTo>
                    <a:lnTo>
                      <a:pt x="0" y="20"/>
                    </a:lnTo>
                    <a:lnTo>
                      <a:pt x="1" y="19"/>
                    </a:lnTo>
                    <a:lnTo>
                      <a:pt x="3" y="20"/>
                    </a:lnTo>
                    <a:lnTo>
                      <a:pt x="4" y="17"/>
                    </a:lnTo>
                    <a:lnTo>
                      <a:pt x="5" y="19"/>
                    </a:lnTo>
                    <a:lnTo>
                      <a:pt x="5" y="19"/>
                    </a:lnTo>
                    <a:lnTo>
                      <a:pt x="8" y="17"/>
                    </a:lnTo>
                    <a:lnTo>
                      <a:pt x="7" y="15"/>
                    </a:lnTo>
                    <a:lnTo>
                      <a:pt x="9" y="11"/>
                    </a:lnTo>
                    <a:lnTo>
                      <a:pt x="9" y="15"/>
                    </a:lnTo>
                    <a:lnTo>
                      <a:pt x="13" y="12"/>
                    </a:lnTo>
                    <a:lnTo>
                      <a:pt x="10" y="15"/>
                    </a:lnTo>
                    <a:lnTo>
                      <a:pt x="11" y="16"/>
                    </a:lnTo>
                    <a:lnTo>
                      <a:pt x="11" y="14"/>
                    </a:lnTo>
                    <a:lnTo>
                      <a:pt x="18" y="12"/>
                    </a:lnTo>
                    <a:lnTo>
                      <a:pt x="19" y="13"/>
                    </a:lnTo>
                    <a:lnTo>
                      <a:pt x="19" y="12"/>
                    </a:lnTo>
                    <a:lnTo>
                      <a:pt x="20" y="14"/>
                    </a:lnTo>
                    <a:lnTo>
                      <a:pt x="25" y="11"/>
                    </a:lnTo>
                    <a:lnTo>
                      <a:pt x="27" y="11"/>
                    </a:lnTo>
                    <a:lnTo>
                      <a:pt x="27" y="13"/>
                    </a:lnTo>
                    <a:lnTo>
                      <a:pt x="29" y="12"/>
                    </a:lnTo>
                    <a:lnTo>
                      <a:pt x="28" y="13"/>
                    </a:lnTo>
                    <a:lnTo>
                      <a:pt x="29" y="14"/>
                    </a:lnTo>
                    <a:lnTo>
                      <a:pt x="30" y="12"/>
                    </a:lnTo>
                    <a:lnTo>
                      <a:pt x="34" y="13"/>
                    </a:lnTo>
                    <a:lnTo>
                      <a:pt x="34" y="12"/>
                    </a:lnTo>
                    <a:lnTo>
                      <a:pt x="35" y="12"/>
                    </a:lnTo>
                    <a:lnTo>
                      <a:pt x="36" y="14"/>
                    </a:lnTo>
                    <a:lnTo>
                      <a:pt x="38" y="13"/>
                    </a:lnTo>
                    <a:lnTo>
                      <a:pt x="38" y="15"/>
                    </a:lnTo>
                    <a:lnTo>
                      <a:pt x="40" y="14"/>
                    </a:lnTo>
                    <a:lnTo>
                      <a:pt x="41" y="14"/>
                    </a:lnTo>
                    <a:lnTo>
                      <a:pt x="38" y="13"/>
                    </a:lnTo>
                    <a:lnTo>
                      <a:pt x="43" y="13"/>
                    </a:lnTo>
                    <a:lnTo>
                      <a:pt x="44" y="12"/>
                    </a:lnTo>
                    <a:lnTo>
                      <a:pt x="46" y="12"/>
                    </a:lnTo>
                    <a:lnTo>
                      <a:pt x="46" y="14"/>
                    </a:lnTo>
                    <a:lnTo>
                      <a:pt x="48" y="13"/>
                    </a:lnTo>
                    <a:lnTo>
                      <a:pt x="49" y="12"/>
                    </a:lnTo>
                    <a:lnTo>
                      <a:pt x="49" y="14"/>
                    </a:lnTo>
                    <a:lnTo>
                      <a:pt x="48" y="15"/>
                    </a:lnTo>
                    <a:lnTo>
                      <a:pt x="48" y="14"/>
                    </a:lnTo>
                    <a:lnTo>
                      <a:pt x="48" y="15"/>
                    </a:lnTo>
                    <a:lnTo>
                      <a:pt x="48" y="15"/>
                    </a:lnTo>
                    <a:lnTo>
                      <a:pt x="49" y="15"/>
                    </a:lnTo>
                    <a:lnTo>
                      <a:pt x="49" y="14"/>
                    </a:lnTo>
                    <a:lnTo>
                      <a:pt x="49" y="14"/>
                    </a:lnTo>
                    <a:lnTo>
                      <a:pt x="51" y="16"/>
                    </a:lnTo>
                    <a:lnTo>
                      <a:pt x="52" y="12"/>
                    </a:lnTo>
                    <a:lnTo>
                      <a:pt x="52" y="16"/>
                    </a:lnTo>
                    <a:lnTo>
                      <a:pt x="52" y="16"/>
                    </a:lnTo>
                    <a:lnTo>
                      <a:pt x="54" y="16"/>
                    </a:lnTo>
                    <a:lnTo>
                      <a:pt x="54" y="12"/>
                    </a:lnTo>
                    <a:lnTo>
                      <a:pt x="55" y="15"/>
                    </a:lnTo>
                    <a:lnTo>
                      <a:pt x="59" y="12"/>
                    </a:lnTo>
                    <a:lnTo>
                      <a:pt x="61" y="13"/>
                    </a:lnTo>
                    <a:lnTo>
                      <a:pt x="60" y="11"/>
                    </a:lnTo>
                    <a:lnTo>
                      <a:pt x="63" y="11"/>
                    </a:lnTo>
                    <a:lnTo>
                      <a:pt x="65" y="12"/>
                    </a:lnTo>
                    <a:lnTo>
                      <a:pt x="66" y="11"/>
                    </a:lnTo>
                    <a:lnTo>
                      <a:pt x="70" y="11"/>
                    </a:lnTo>
                    <a:lnTo>
                      <a:pt x="69" y="12"/>
                    </a:lnTo>
                    <a:lnTo>
                      <a:pt x="72" y="15"/>
                    </a:lnTo>
                    <a:lnTo>
                      <a:pt x="74" y="13"/>
                    </a:lnTo>
                    <a:lnTo>
                      <a:pt x="75" y="14"/>
                    </a:lnTo>
                    <a:lnTo>
                      <a:pt x="77" y="14"/>
                    </a:lnTo>
                    <a:lnTo>
                      <a:pt x="77" y="13"/>
                    </a:lnTo>
                    <a:lnTo>
                      <a:pt x="72" y="13"/>
                    </a:lnTo>
                    <a:lnTo>
                      <a:pt x="79" y="12"/>
                    </a:lnTo>
                    <a:lnTo>
                      <a:pt x="86" y="6"/>
                    </a:lnTo>
                    <a:lnTo>
                      <a:pt x="87" y="11"/>
                    </a:lnTo>
                    <a:lnTo>
                      <a:pt x="90" y="11"/>
                    </a:lnTo>
                    <a:lnTo>
                      <a:pt x="90" y="9"/>
                    </a:lnTo>
                    <a:lnTo>
                      <a:pt x="92" y="12"/>
                    </a:lnTo>
                    <a:lnTo>
                      <a:pt x="94" y="8"/>
                    </a:lnTo>
                    <a:lnTo>
                      <a:pt x="93" y="13"/>
                    </a:lnTo>
                    <a:lnTo>
                      <a:pt x="97" y="6"/>
                    </a:lnTo>
                    <a:lnTo>
                      <a:pt x="99" y="7"/>
                    </a:lnTo>
                    <a:lnTo>
                      <a:pt x="103" y="6"/>
                    </a:lnTo>
                    <a:lnTo>
                      <a:pt x="102" y="9"/>
                    </a:lnTo>
                    <a:lnTo>
                      <a:pt x="105" y="8"/>
                    </a:lnTo>
                    <a:lnTo>
                      <a:pt x="104" y="7"/>
                    </a:lnTo>
                    <a:lnTo>
                      <a:pt x="107" y="6"/>
                    </a:lnTo>
                    <a:lnTo>
                      <a:pt x="107" y="9"/>
                    </a:lnTo>
                    <a:lnTo>
                      <a:pt x="109" y="9"/>
                    </a:lnTo>
                    <a:lnTo>
                      <a:pt x="112" y="4"/>
                    </a:lnTo>
                    <a:lnTo>
                      <a:pt x="113" y="6"/>
                    </a:lnTo>
                    <a:lnTo>
                      <a:pt x="116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E20074"/>
                  </a:buClr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0" cap="none" spc="0" normalizeH="0" baseline="0" noProof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74" name="Freeform 139"/>
              <p:cNvSpPr>
                <a:spLocks/>
              </p:cNvSpPr>
              <p:nvPr/>
            </p:nvSpPr>
            <p:spPr bwMode="auto">
              <a:xfrm>
                <a:off x="13042901" y="511176"/>
                <a:ext cx="185738" cy="892175"/>
              </a:xfrm>
              <a:custGeom>
                <a:avLst/>
                <a:gdLst>
                  <a:gd name="T0" fmla="*/ 104 w 117"/>
                  <a:gd name="T1" fmla="*/ 4 h 562"/>
                  <a:gd name="T2" fmla="*/ 117 w 117"/>
                  <a:gd name="T3" fmla="*/ 6 h 562"/>
                  <a:gd name="T4" fmla="*/ 113 w 117"/>
                  <a:gd name="T5" fmla="*/ 549 h 562"/>
                  <a:gd name="T6" fmla="*/ 110 w 117"/>
                  <a:gd name="T7" fmla="*/ 553 h 562"/>
                  <a:gd name="T8" fmla="*/ 106 w 117"/>
                  <a:gd name="T9" fmla="*/ 553 h 562"/>
                  <a:gd name="T10" fmla="*/ 103 w 117"/>
                  <a:gd name="T11" fmla="*/ 558 h 562"/>
                  <a:gd name="T12" fmla="*/ 98 w 117"/>
                  <a:gd name="T13" fmla="*/ 556 h 562"/>
                  <a:gd name="T14" fmla="*/ 94 w 117"/>
                  <a:gd name="T15" fmla="*/ 556 h 562"/>
                  <a:gd name="T16" fmla="*/ 91 w 117"/>
                  <a:gd name="T17" fmla="*/ 557 h 562"/>
                  <a:gd name="T18" fmla="*/ 90 w 117"/>
                  <a:gd name="T19" fmla="*/ 559 h 562"/>
                  <a:gd name="T20" fmla="*/ 84 w 117"/>
                  <a:gd name="T21" fmla="*/ 561 h 562"/>
                  <a:gd name="T22" fmla="*/ 77 w 117"/>
                  <a:gd name="T23" fmla="*/ 556 h 562"/>
                  <a:gd name="T24" fmla="*/ 73 w 117"/>
                  <a:gd name="T25" fmla="*/ 555 h 562"/>
                  <a:gd name="T26" fmla="*/ 66 w 117"/>
                  <a:gd name="T27" fmla="*/ 553 h 562"/>
                  <a:gd name="T28" fmla="*/ 59 w 117"/>
                  <a:gd name="T29" fmla="*/ 547 h 562"/>
                  <a:gd name="T30" fmla="*/ 58 w 117"/>
                  <a:gd name="T31" fmla="*/ 553 h 562"/>
                  <a:gd name="T32" fmla="*/ 50 w 117"/>
                  <a:gd name="T33" fmla="*/ 546 h 562"/>
                  <a:gd name="T34" fmla="*/ 48 w 117"/>
                  <a:gd name="T35" fmla="*/ 547 h 562"/>
                  <a:gd name="T36" fmla="*/ 44 w 117"/>
                  <a:gd name="T37" fmla="*/ 549 h 562"/>
                  <a:gd name="T38" fmla="*/ 39 w 117"/>
                  <a:gd name="T39" fmla="*/ 555 h 562"/>
                  <a:gd name="T40" fmla="*/ 32 w 117"/>
                  <a:gd name="T41" fmla="*/ 554 h 562"/>
                  <a:gd name="T42" fmla="*/ 28 w 117"/>
                  <a:gd name="T43" fmla="*/ 555 h 562"/>
                  <a:gd name="T44" fmla="*/ 25 w 117"/>
                  <a:gd name="T45" fmla="*/ 554 h 562"/>
                  <a:gd name="T46" fmla="*/ 23 w 117"/>
                  <a:gd name="T47" fmla="*/ 559 h 562"/>
                  <a:gd name="T48" fmla="*/ 20 w 117"/>
                  <a:gd name="T49" fmla="*/ 562 h 562"/>
                  <a:gd name="T50" fmla="*/ 18 w 117"/>
                  <a:gd name="T51" fmla="*/ 559 h 562"/>
                  <a:gd name="T52" fmla="*/ 15 w 117"/>
                  <a:gd name="T53" fmla="*/ 556 h 562"/>
                  <a:gd name="T54" fmla="*/ 10 w 117"/>
                  <a:gd name="T55" fmla="*/ 556 h 562"/>
                  <a:gd name="T56" fmla="*/ 6 w 117"/>
                  <a:gd name="T57" fmla="*/ 553 h 562"/>
                  <a:gd name="T58" fmla="*/ 1 w 117"/>
                  <a:gd name="T59" fmla="*/ 553 h 562"/>
                  <a:gd name="T60" fmla="*/ 0 w 117"/>
                  <a:gd name="T61" fmla="*/ 32 h 562"/>
                  <a:gd name="T62" fmla="*/ 3 w 117"/>
                  <a:gd name="T63" fmla="*/ 36 h 562"/>
                  <a:gd name="T64" fmla="*/ 6 w 117"/>
                  <a:gd name="T65" fmla="*/ 37 h 562"/>
                  <a:gd name="T66" fmla="*/ 9 w 117"/>
                  <a:gd name="T67" fmla="*/ 35 h 562"/>
                  <a:gd name="T68" fmla="*/ 19 w 117"/>
                  <a:gd name="T69" fmla="*/ 32 h 562"/>
                  <a:gd name="T70" fmla="*/ 19 w 117"/>
                  <a:gd name="T71" fmla="*/ 28 h 562"/>
                  <a:gd name="T72" fmla="*/ 24 w 117"/>
                  <a:gd name="T73" fmla="*/ 32 h 562"/>
                  <a:gd name="T74" fmla="*/ 28 w 117"/>
                  <a:gd name="T75" fmla="*/ 35 h 562"/>
                  <a:gd name="T76" fmla="*/ 33 w 117"/>
                  <a:gd name="T77" fmla="*/ 31 h 562"/>
                  <a:gd name="T78" fmla="*/ 45 w 117"/>
                  <a:gd name="T79" fmla="*/ 25 h 562"/>
                  <a:gd name="T80" fmla="*/ 52 w 117"/>
                  <a:gd name="T81" fmla="*/ 27 h 562"/>
                  <a:gd name="T82" fmla="*/ 56 w 117"/>
                  <a:gd name="T83" fmla="*/ 23 h 562"/>
                  <a:gd name="T84" fmla="*/ 58 w 117"/>
                  <a:gd name="T85" fmla="*/ 25 h 562"/>
                  <a:gd name="T86" fmla="*/ 65 w 117"/>
                  <a:gd name="T87" fmla="*/ 25 h 562"/>
                  <a:gd name="T88" fmla="*/ 67 w 117"/>
                  <a:gd name="T89" fmla="*/ 23 h 562"/>
                  <a:gd name="T90" fmla="*/ 76 w 117"/>
                  <a:gd name="T91" fmla="*/ 22 h 562"/>
                  <a:gd name="T92" fmla="*/ 83 w 117"/>
                  <a:gd name="T93" fmla="*/ 17 h 562"/>
                  <a:gd name="T94" fmla="*/ 87 w 117"/>
                  <a:gd name="T95" fmla="*/ 11 h 562"/>
                  <a:gd name="T96" fmla="*/ 89 w 117"/>
                  <a:gd name="T97" fmla="*/ 9 h 562"/>
                  <a:gd name="T98" fmla="*/ 91 w 117"/>
                  <a:gd name="T99" fmla="*/ 8 h 562"/>
                  <a:gd name="T100" fmla="*/ 92 w 117"/>
                  <a:gd name="T101" fmla="*/ 2 h 5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17" h="562">
                    <a:moveTo>
                      <a:pt x="100" y="0"/>
                    </a:moveTo>
                    <a:lnTo>
                      <a:pt x="101" y="2"/>
                    </a:lnTo>
                    <a:lnTo>
                      <a:pt x="101" y="1"/>
                    </a:lnTo>
                    <a:lnTo>
                      <a:pt x="104" y="4"/>
                    </a:lnTo>
                    <a:lnTo>
                      <a:pt x="108" y="4"/>
                    </a:lnTo>
                    <a:lnTo>
                      <a:pt x="112" y="2"/>
                    </a:lnTo>
                    <a:lnTo>
                      <a:pt x="112" y="4"/>
                    </a:lnTo>
                    <a:lnTo>
                      <a:pt x="117" y="6"/>
                    </a:lnTo>
                    <a:lnTo>
                      <a:pt x="117" y="6"/>
                    </a:lnTo>
                    <a:lnTo>
                      <a:pt x="117" y="548"/>
                    </a:lnTo>
                    <a:lnTo>
                      <a:pt x="113" y="545"/>
                    </a:lnTo>
                    <a:lnTo>
                      <a:pt x="113" y="549"/>
                    </a:lnTo>
                    <a:lnTo>
                      <a:pt x="112" y="550"/>
                    </a:lnTo>
                    <a:lnTo>
                      <a:pt x="112" y="549"/>
                    </a:lnTo>
                    <a:lnTo>
                      <a:pt x="112" y="552"/>
                    </a:lnTo>
                    <a:lnTo>
                      <a:pt x="110" y="553"/>
                    </a:lnTo>
                    <a:lnTo>
                      <a:pt x="110" y="552"/>
                    </a:lnTo>
                    <a:lnTo>
                      <a:pt x="107" y="550"/>
                    </a:lnTo>
                    <a:lnTo>
                      <a:pt x="107" y="553"/>
                    </a:lnTo>
                    <a:lnTo>
                      <a:pt x="106" y="553"/>
                    </a:lnTo>
                    <a:lnTo>
                      <a:pt x="107" y="555"/>
                    </a:lnTo>
                    <a:lnTo>
                      <a:pt x="104" y="555"/>
                    </a:lnTo>
                    <a:lnTo>
                      <a:pt x="103" y="556"/>
                    </a:lnTo>
                    <a:lnTo>
                      <a:pt x="103" y="558"/>
                    </a:lnTo>
                    <a:lnTo>
                      <a:pt x="100" y="552"/>
                    </a:lnTo>
                    <a:lnTo>
                      <a:pt x="100" y="557"/>
                    </a:lnTo>
                    <a:lnTo>
                      <a:pt x="98" y="555"/>
                    </a:lnTo>
                    <a:lnTo>
                      <a:pt x="98" y="556"/>
                    </a:lnTo>
                    <a:lnTo>
                      <a:pt x="95" y="553"/>
                    </a:lnTo>
                    <a:lnTo>
                      <a:pt x="94" y="553"/>
                    </a:lnTo>
                    <a:lnTo>
                      <a:pt x="95" y="557"/>
                    </a:lnTo>
                    <a:lnTo>
                      <a:pt x="94" y="556"/>
                    </a:lnTo>
                    <a:lnTo>
                      <a:pt x="94" y="559"/>
                    </a:lnTo>
                    <a:lnTo>
                      <a:pt x="92" y="558"/>
                    </a:lnTo>
                    <a:lnTo>
                      <a:pt x="91" y="555"/>
                    </a:lnTo>
                    <a:lnTo>
                      <a:pt x="91" y="557"/>
                    </a:lnTo>
                    <a:lnTo>
                      <a:pt x="90" y="558"/>
                    </a:lnTo>
                    <a:lnTo>
                      <a:pt x="87" y="555"/>
                    </a:lnTo>
                    <a:lnTo>
                      <a:pt x="87" y="557"/>
                    </a:lnTo>
                    <a:lnTo>
                      <a:pt x="90" y="559"/>
                    </a:lnTo>
                    <a:lnTo>
                      <a:pt x="85" y="558"/>
                    </a:lnTo>
                    <a:lnTo>
                      <a:pt x="84" y="559"/>
                    </a:lnTo>
                    <a:lnTo>
                      <a:pt x="84" y="558"/>
                    </a:lnTo>
                    <a:lnTo>
                      <a:pt x="84" y="561"/>
                    </a:lnTo>
                    <a:lnTo>
                      <a:pt x="83" y="561"/>
                    </a:lnTo>
                    <a:lnTo>
                      <a:pt x="83" y="559"/>
                    </a:lnTo>
                    <a:lnTo>
                      <a:pt x="82" y="562"/>
                    </a:lnTo>
                    <a:lnTo>
                      <a:pt x="77" y="556"/>
                    </a:lnTo>
                    <a:lnTo>
                      <a:pt x="74" y="556"/>
                    </a:lnTo>
                    <a:lnTo>
                      <a:pt x="75" y="555"/>
                    </a:lnTo>
                    <a:lnTo>
                      <a:pt x="74" y="555"/>
                    </a:lnTo>
                    <a:lnTo>
                      <a:pt x="73" y="555"/>
                    </a:lnTo>
                    <a:lnTo>
                      <a:pt x="73" y="557"/>
                    </a:lnTo>
                    <a:lnTo>
                      <a:pt x="71" y="555"/>
                    </a:lnTo>
                    <a:lnTo>
                      <a:pt x="70" y="557"/>
                    </a:lnTo>
                    <a:lnTo>
                      <a:pt x="66" y="553"/>
                    </a:lnTo>
                    <a:lnTo>
                      <a:pt x="66" y="556"/>
                    </a:lnTo>
                    <a:lnTo>
                      <a:pt x="64" y="549"/>
                    </a:lnTo>
                    <a:lnTo>
                      <a:pt x="64" y="550"/>
                    </a:lnTo>
                    <a:lnTo>
                      <a:pt x="59" y="547"/>
                    </a:lnTo>
                    <a:lnTo>
                      <a:pt x="60" y="553"/>
                    </a:lnTo>
                    <a:lnTo>
                      <a:pt x="59" y="552"/>
                    </a:lnTo>
                    <a:lnTo>
                      <a:pt x="59" y="554"/>
                    </a:lnTo>
                    <a:lnTo>
                      <a:pt x="58" y="553"/>
                    </a:lnTo>
                    <a:lnTo>
                      <a:pt x="56" y="554"/>
                    </a:lnTo>
                    <a:lnTo>
                      <a:pt x="54" y="548"/>
                    </a:lnTo>
                    <a:lnTo>
                      <a:pt x="53" y="552"/>
                    </a:lnTo>
                    <a:lnTo>
                      <a:pt x="50" y="546"/>
                    </a:lnTo>
                    <a:lnTo>
                      <a:pt x="50" y="548"/>
                    </a:lnTo>
                    <a:lnTo>
                      <a:pt x="49" y="547"/>
                    </a:lnTo>
                    <a:lnTo>
                      <a:pt x="49" y="548"/>
                    </a:lnTo>
                    <a:lnTo>
                      <a:pt x="48" y="547"/>
                    </a:lnTo>
                    <a:lnTo>
                      <a:pt x="46" y="547"/>
                    </a:lnTo>
                    <a:lnTo>
                      <a:pt x="48" y="549"/>
                    </a:lnTo>
                    <a:lnTo>
                      <a:pt x="44" y="546"/>
                    </a:lnTo>
                    <a:lnTo>
                      <a:pt x="44" y="549"/>
                    </a:lnTo>
                    <a:lnTo>
                      <a:pt x="42" y="549"/>
                    </a:lnTo>
                    <a:lnTo>
                      <a:pt x="42" y="548"/>
                    </a:lnTo>
                    <a:lnTo>
                      <a:pt x="40" y="549"/>
                    </a:lnTo>
                    <a:lnTo>
                      <a:pt x="39" y="555"/>
                    </a:lnTo>
                    <a:lnTo>
                      <a:pt x="37" y="553"/>
                    </a:lnTo>
                    <a:lnTo>
                      <a:pt x="35" y="553"/>
                    </a:lnTo>
                    <a:lnTo>
                      <a:pt x="34" y="555"/>
                    </a:lnTo>
                    <a:lnTo>
                      <a:pt x="32" y="554"/>
                    </a:lnTo>
                    <a:lnTo>
                      <a:pt x="31" y="558"/>
                    </a:lnTo>
                    <a:lnTo>
                      <a:pt x="31" y="555"/>
                    </a:lnTo>
                    <a:lnTo>
                      <a:pt x="28" y="557"/>
                    </a:lnTo>
                    <a:lnTo>
                      <a:pt x="28" y="555"/>
                    </a:lnTo>
                    <a:lnTo>
                      <a:pt x="26" y="559"/>
                    </a:lnTo>
                    <a:lnTo>
                      <a:pt x="27" y="554"/>
                    </a:lnTo>
                    <a:lnTo>
                      <a:pt x="25" y="556"/>
                    </a:lnTo>
                    <a:lnTo>
                      <a:pt x="25" y="554"/>
                    </a:lnTo>
                    <a:lnTo>
                      <a:pt x="25" y="554"/>
                    </a:lnTo>
                    <a:lnTo>
                      <a:pt x="24" y="555"/>
                    </a:lnTo>
                    <a:lnTo>
                      <a:pt x="23" y="555"/>
                    </a:lnTo>
                    <a:lnTo>
                      <a:pt x="23" y="559"/>
                    </a:lnTo>
                    <a:lnTo>
                      <a:pt x="21" y="557"/>
                    </a:lnTo>
                    <a:lnTo>
                      <a:pt x="21" y="559"/>
                    </a:lnTo>
                    <a:lnTo>
                      <a:pt x="20" y="559"/>
                    </a:lnTo>
                    <a:lnTo>
                      <a:pt x="20" y="562"/>
                    </a:lnTo>
                    <a:lnTo>
                      <a:pt x="19" y="561"/>
                    </a:lnTo>
                    <a:lnTo>
                      <a:pt x="19" y="562"/>
                    </a:lnTo>
                    <a:lnTo>
                      <a:pt x="18" y="559"/>
                    </a:lnTo>
                    <a:lnTo>
                      <a:pt x="18" y="559"/>
                    </a:lnTo>
                    <a:lnTo>
                      <a:pt x="17" y="561"/>
                    </a:lnTo>
                    <a:lnTo>
                      <a:pt x="16" y="557"/>
                    </a:lnTo>
                    <a:lnTo>
                      <a:pt x="15" y="558"/>
                    </a:lnTo>
                    <a:lnTo>
                      <a:pt x="15" y="556"/>
                    </a:lnTo>
                    <a:lnTo>
                      <a:pt x="14" y="559"/>
                    </a:lnTo>
                    <a:lnTo>
                      <a:pt x="12" y="558"/>
                    </a:lnTo>
                    <a:lnTo>
                      <a:pt x="11" y="561"/>
                    </a:lnTo>
                    <a:lnTo>
                      <a:pt x="10" y="556"/>
                    </a:lnTo>
                    <a:lnTo>
                      <a:pt x="10" y="558"/>
                    </a:lnTo>
                    <a:lnTo>
                      <a:pt x="8" y="556"/>
                    </a:lnTo>
                    <a:lnTo>
                      <a:pt x="8" y="554"/>
                    </a:lnTo>
                    <a:lnTo>
                      <a:pt x="6" y="553"/>
                    </a:lnTo>
                    <a:lnTo>
                      <a:pt x="1" y="554"/>
                    </a:lnTo>
                    <a:lnTo>
                      <a:pt x="3" y="552"/>
                    </a:lnTo>
                    <a:lnTo>
                      <a:pt x="2" y="550"/>
                    </a:lnTo>
                    <a:lnTo>
                      <a:pt x="1" y="553"/>
                    </a:lnTo>
                    <a:lnTo>
                      <a:pt x="1" y="550"/>
                    </a:lnTo>
                    <a:lnTo>
                      <a:pt x="0" y="553"/>
                    </a:lnTo>
                    <a:lnTo>
                      <a:pt x="0" y="549"/>
                    </a:lnTo>
                    <a:lnTo>
                      <a:pt x="0" y="32"/>
                    </a:lnTo>
                    <a:lnTo>
                      <a:pt x="1" y="36"/>
                    </a:lnTo>
                    <a:lnTo>
                      <a:pt x="2" y="34"/>
                    </a:lnTo>
                    <a:lnTo>
                      <a:pt x="2" y="36"/>
                    </a:lnTo>
                    <a:lnTo>
                      <a:pt x="3" y="36"/>
                    </a:lnTo>
                    <a:lnTo>
                      <a:pt x="3" y="34"/>
                    </a:lnTo>
                    <a:lnTo>
                      <a:pt x="4" y="36"/>
                    </a:lnTo>
                    <a:lnTo>
                      <a:pt x="6" y="35"/>
                    </a:lnTo>
                    <a:lnTo>
                      <a:pt x="6" y="37"/>
                    </a:lnTo>
                    <a:lnTo>
                      <a:pt x="6" y="37"/>
                    </a:lnTo>
                    <a:lnTo>
                      <a:pt x="8" y="36"/>
                    </a:lnTo>
                    <a:lnTo>
                      <a:pt x="8" y="30"/>
                    </a:lnTo>
                    <a:lnTo>
                      <a:pt x="9" y="35"/>
                    </a:lnTo>
                    <a:lnTo>
                      <a:pt x="14" y="32"/>
                    </a:lnTo>
                    <a:lnTo>
                      <a:pt x="15" y="31"/>
                    </a:lnTo>
                    <a:lnTo>
                      <a:pt x="15" y="34"/>
                    </a:lnTo>
                    <a:lnTo>
                      <a:pt x="19" y="32"/>
                    </a:lnTo>
                    <a:lnTo>
                      <a:pt x="19" y="35"/>
                    </a:lnTo>
                    <a:lnTo>
                      <a:pt x="20" y="31"/>
                    </a:lnTo>
                    <a:lnTo>
                      <a:pt x="18" y="30"/>
                    </a:lnTo>
                    <a:lnTo>
                      <a:pt x="19" y="28"/>
                    </a:lnTo>
                    <a:lnTo>
                      <a:pt x="21" y="29"/>
                    </a:lnTo>
                    <a:lnTo>
                      <a:pt x="20" y="31"/>
                    </a:lnTo>
                    <a:lnTo>
                      <a:pt x="21" y="29"/>
                    </a:lnTo>
                    <a:lnTo>
                      <a:pt x="24" y="32"/>
                    </a:lnTo>
                    <a:lnTo>
                      <a:pt x="27" y="35"/>
                    </a:lnTo>
                    <a:lnTo>
                      <a:pt x="28" y="34"/>
                    </a:lnTo>
                    <a:lnTo>
                      <a:pt x="27" y="32"/>
                    </a:lnTo>
                    <a:lnTo>
                      <a:pt x="28" y="35"/>
                    </a:lnTo>
                    <a:lnTo>
                      <a:pt x="29" y="35"/>
                    </a:lnTo>
                    <a:lnTo>
                      <a:pt x="32" y="31"/>
                    </a:lnTo>
                    <a:lnTo>
                      <a:pt x="32" y="34"/>
                    </a:lnTo>
                    <a:lnTo>
                      <a:pt x="33" y="31"/>
                    </a:lnTo>
                    <a:lnTo>
                      <a:pt x="34" y="31"/>
                    </a:lnTo>
                    <a:lnTo>
                      <a:pt x="37" y="28"/>
                    </a:lnTo>
                    <a:lnTo>
                      <a:pt x="42" y="28"/>
                    </a:lnTo>
                    <a:lnTo>
                      <a:pt x="45" y="25"/>
                    </a:lnTo>
                    <a:lnTo>
                      <a:pt x="44" y="27"/>
                    </a:lnTo>
                    <a:lnTo>
                      <a:pt x="48" y="23"/>
                    </a:lnTo>
                    <a:lnTo>
                      <a:pt x="51" y="25"/>
                    </a:lnTo>
                    <a:lnTo>
                      <a:pt x="52" y="27"/>
                    </a:lnTo>
                    <a:lnTo>
                      <a:pt x="52" y="27"/>
                    </a:lnTo>
                    <a:lnTo>
                      <a:pt x="53" y="27"/>
                    </a:lnTo>
                    <a:lnTo>
                      <a:pt x="54" y="25"/>
                    </a:lnTo>
                    <a:lnTo>
                      <a:pt x="56" y="23"/>
                    </a:lnTo>
                    <a:lnTo>
                      <a:pt x="56" y="25"/>
                    </a:lnTo>
                    <a:lnTo>
                      <a:pt x="57" y="22"/>
                    </a:lnTo>
                    <a:lnTo>
                      <a:pt x="59" y="22"/>
                    </a:lnTo>
                    <a:lnTo>
                      <a:pt x="58" y="25"/>
                    </a:lnTo>
                    <a:lnTo>
                      <a:pt x="61" y="25"/>
                    </a:lnTo>
                    <a:lnTo>
                      <a:pt x="60" y="23"/>
                    </a:lnTo>
                    <a:lnTo>
                      <a:pt x="62" y="25"/>
                    </a:lnTo>
                    <a:lnTo>
                      <a:pt x="65" y="25"/>
                    </a:lnTo>
                    <a:lnTo>
                      <a:pt x="67" y="25"/>
                    </a:lnTo>
                    <a:lnTo>
                      <a:pt x="65" y="23"/>
                    </a:lnTo>
                    <a:lnTo>
                      <a:pt x="66" y="21"/>
                    </a:lnTo>
                    <a:lnTo>
                      <a:pt x="67" y="23"/>
                    </a:lnTo>
                    <a:lnTo>
                      <a:pt x="69" y="20"/>
                    </a:lnTo>
                    <a:lnTo>
                      <a:pt x="76" y="22"/>
                    </a:lnTo>
                    <a:lnTo>
                      <a:pt x="76" y="20"/>
                    </a:lnTo>
                    <a:lnTo>
                      <a:pt x="76" y="22"/>
                    </a:lnTo>
                    <a:lnTo>
                      <a:pt x="78" y="20"/>
                    </a:lnTo>
                    <a:lnTo>
                      <a:pt x="78" y="18"/>
                    </a:lnTo>
                    <a:lnTo>
                      <a:pt x="82" y="17"/>
                    </a:lnTo>
                    <a:lnTo>
                      <a:pt x="83" y="17"/>
                    </a:lnTo>
                    <a:lnTo>
                      <a:pt x="83" y="14"/>
                    </a:lnTo>
                    <a:lnTo>
                      <a:pt x="86" y="12"/>
                    </a:lnTo>
                    <a:lnTo>
                      <a:pt x="86" y="9"/>
                    </a:lnTo>
                    <a:lnTo>
                      <a:pt x="87" y="11"/>
                    </a:lnTo>
                    <a:lnTo>
                      <a:pt x="87" y="9"/>
                    </a:lnTo>
                    <a:lnTo>
                      <a:pt x="86" y="9"/>
                    </a:lnTo>
                    <a:lnTo>
                      <a:pt x="86" y="8"/>
                    </a:lnTo>
                    <a:lnTo>
                      <a:pt x="89" y="9"/>
                    </a:lnTo>
                    <a:lnTo>
                      <a:pt x="87" y="6"/>
                    </a:lnTo>
                    <a:lnTo>
                      <a:pt x="90" y="5"/>
                    </a:lnTo>
                    <a:lnTo>
                      <a:pt x="91" y="8"/>
                    </a:lnTo>
                    <a:lnTo>
                      <a:pt x="91" y="8"/>
                    </a:lnTo>
                    <a:lnTo>
                      <a:pt x="93" y="4"/>
                    </a:lnTo>
                    <a:lnTo>
                      <a:pt x="93" y="3"/>
                    </a:lnTo>
                    <a:lnTo>
                      <a:pt x="92" y="5"/>
                    </a:lnTo>
                    <a:lnTo>
                      <a:pt x="92" y="2"/>
                    </a:lnTo>
                    <a:lnTo>
                      <a:pt x="94" y="2"/>
                    </a:lnTo>
                    <a:lnTo>
                      <a:pt x="99" y="3"/>
                    </a:lnTo>
                    <a:lnTo>
                      <a:pt x="100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E20074"/>
                  </a:buClr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0" cap="none" spc="0" normalizeH="0" baseline="0" noProof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75" name="Freeform 140"/>
              <p:cNvSpPr>
                <a:spLocks noEditPoints="1"/>
              </p:cNvSpPr>
              <p:nvPr/>
            </p:nvSpPr>
            <p:spPr bwMode="auto">
              <a:xfrm>
                <a:off x="13228639" y="481014"/>
                <a:ext cx="187325" cy="903288"/>
              </a:xfrm>
              <a:custGeom>
                <a:avLst/>
                <a:gdLst>
                  <a:gd name="T0" fmla="*/ 53 w 118"/>
                  <a:gd name="T1" fmla="*/ 561 h 569"/>
                  <a:gd name="T2" fmla="*/ 29 w 118"/>
                  <a:gd name="T3" fmla="*/ 16 h 569"/>
                  <a:gd name="T4" fmla="*/ 28 w 118"/>
                  <a:gd name="T5" fmla="*/ 16 h 569"/>
                  <a:gd name="T6" fmla="*/ 118 w 118"/>
                  <a:gd name="T7" fmla="*/ 4 h 569"/>
                  <a:gd name="T8" fmla="*/ 116 w 118"/>
                  <a:gd name="T9" fmla="*/ 90 h 569"/>
                  <a:gd name="T10" fmla="*/ 116 w 118"/>
                  <a:gd name="T11" fmla="*/ 103 h 569"/>
                  <a:gd name="T12" fmla="*/ 115 w 118"/>
                  <a:gd name="T13" fmla="*/ 149 h 569"/>
                  <a:gd name="T14" fmla="*/ 109 w 118"/>
                  <a:gd name="T15" fmla="*/ 404 h 569"/>
                  <a:gd name="T16" fmla="*/ 103 w 118"/>
                  <a:gd name="T17" fmla="*/ 542 h 569"/>
                  <a:gd name="T18" fmla="*/ 102 w 118"/>
                  <a:gd name="T19" fmla="*/ 546 h 569"/>
                  <a:gd name="T20" fmla="*/ 95 w 118"/>
                  <a:gd name="T21" fmla="*/ 550 h 569"/>
                  <a:gd name="T22" fmla="*/ 93 w 118"/>
                  <a:gd name="T23" fmla="*/ 549 h 569"/>
                  <a:gd name="T24" fmla="*/ 92 w 118"/>
                  <a:gd name="T25" fmla="*/ 554 h 569"/>
                  <a:gd name="T26" fmla="*/ 83 w 118"/>
                  <a:gd name="T27" fmla="*/ 555 h 569"/>
                  <a:gd name="T28" fmla="*/ 75 w 118"/>
                  <a:gd name="T29" fmla="*/ 556 h 569"/>
                  <a:gd name="T30" fmla="*/ 70 w 118"/>
                  <a:gd name="T31" fmla="*/ 560 h 569"/>
                  <a:gd name="T32" fmla="*/ 59 w 118"/>
                  <a:gd name="T33" fmla="*/ 557 h 569"/>
                  <a:gd name="T34" fmla="*/ 54 w 118"/>
                  <a:gd name="T35" fmla="*/ 561 h 569"/>
                  <a:gd name="T36" fmla="*/ 50 w 118"/>
                  <a:gd name="T37" fmla="*/ 559 h 569"/>
                  <a:gd name="T38" fmla="*/ 42 w 118"/>
                  <a:gd name="T39" fmla="*/ 554 h 569"/>
                  <a:gd name="T40" fmla="*/ 37 w 118"/>
                  <a:gd name="T41" fmla="*/ 558 h 569"/>
                  <a:gd name="T42" fmla="*/ 33 w 118"/>
                  <a:gd name="T43" fmla="*/ 559 h 569"/>
                  <a:gd name="T44" fmla="*/ 28 w 118"/>
                  <a:gd name="T45" fmla="*/ 557 h 569"/>
                  <a:gd name="T46" fmla="*/ 25 w 118"/>
                  <a:gd name="T47" fmla="*/ 563 h 569"/>
                  <a:gd name="T48" fmla="*/ 20 w 118"/>
                  <a:gd name="T49" fmla="*/ 561 h 569"/>
                  <a:gd name="T50" fmla="*/ 16 w 118"/>
                  <a:gd name="T51" fmla="*/ 564 h 569"/>
                  <a:gd name="T52" fmla="*/ 16 w 118"/>
                  <a:gd name="T53" fmla="*/ 566 h 569"/>
                  <a:gd name="T54" fmla="*/ 7 w 118"/>
                  <a:gd name="T55" fmla="*/ 569 h 569"/>
                  <a:gd name="T56" fmla="*/ 3 w 118"/>
                  <a:gd name="T57" fmla="*/ 567 h 569"/>
                  <a:gd name="T58" fmla="*/ 1 w 118"/>
                  <a:gd name="T59" fmla="*/ 25 h 569"/>
                  <a:gd name="T60" fmla="*/ 4 w 118"/>
                  <a:gd name="T61" fmla="*/ 25 h 569"/>
                  <a:gd name="T62" fmla="*/ 8 w 118"/>
                  <a:gd name="T63" fmla="*/ 24 h 569"/>
                  <a:gd name="T64" fmla="*/ 14 w 118"/>
                  <a:gd name="T65" fmla="*/ 17 h 569"/>
                  <a:gd name="T66" fmla="*/ 15 w 118"/>
                  <a:gd name="T67" fmla="*/ 19 h 569"/>
                  <a:gd name="T68" fmla="*/ 21 w 118"/>
                  <a:gd name="T69" fmla="*/ 21 h 569"/>
                  <a:gd name="T70" fmla="*/ 27 w 118"/>
                  <a:gd name="T71" fmla="*/ 17 h 569"/>
                  <a:gd name="T72" fmla="*/ 32 w 118"/>
                  <a:gd name="T73" fmla="*/ 19 h 569"/>
                  <a:gd name="T74" fmla="*/ 37 w 118"/>
                  <a:gd name="T75" fmla="*/ 16 h 569"/>
                  <a:gd name="T76" fmla="*/ 40 w 118"/>
                  <a:gd name="T77" fmla="*/ 16 h 569"/>
                  <a:gd name="T78" fmla="*/ 43 w 118"/>
                  <a:gd name="T79" fmla="*/ 13 h 569"/>
                  <a:gd name="T80" fmla="*/ 42 w 118"/>
                  <a:gd name="T81" fmla="*/ 15 h 569"/>
                  <a:gd name="T82" fmla="*/ 42 w 118"/>
                  <a:gd name="T83" fmla="*/ 15 h 569"/>
                  <a:gd name="T84" fmla="*/ 48 w 118"/>
                  <a:gd name="T85" fmla="*/ 13 h 569"/>
                  <a:gd name="T86" fmla="*/ 57 w 118"/>
                  <a:gd name="T87" fmla="*/ 15 h 569"/>
                  <a:gd name="T88" fmla="*/ 61 w 118"/>
                  <a:gd name="T89" fmla="*/ 15 h 569"/>
                  <a:gd name="T90" fmla="*/ 61 w 118"/>
                  <a:gd name="T91" fmla="*/ 15 h 569"/>
                  <a:gd name="T92" fmla="*/ 62 w 118"/>
                  <a:gd name="T93" fmla="*/ 15 h 569"/>
                  <a:gd name="T94" fmla="*/ 65 w 118"/>
                  <a:gd name="T95" fmla="*/ 11 h 569"/>
                  <a:gd name="T96" fmla="*/ 73 w 118"/>
                  <a:gd name="T97" fmla="*/ 8 h 569"/>
                  <a:gd name="T98" fmla="*/ 79 w 118"/>
                  <a:gd name="T99" fmla="*/ 8 h 569"/>
                  <a:gd name="T100" fmla="*/ 85 w 118"/>
                  <a:gd name="T101" fmla="*/ 4 h 569"/>
                  <a:gd name="T102" fmla="*/ 90 w 118"/>
                  <a:gd name="T103" fmla="*/ 5 h 569"/>
                  <a:gd name="T104" fmla="*/ 92 w 118"/>
                  <a:gd name="T105" fmla="*/ 5 h 569"/>
                  <a:gd name="T106" fmla="*/ 101 w 118"/>
                  <a:gd name="T107" fmla="*/ 5 h 569"/>
                  <a:gd name="T108" fmla="*/ 103 w 118"/>
                  <a:gd name="T109" fmla="*/ 5 h 569"/>
                  <a:gd name="T110" fmla="*/ 106 w 118"/>
                  <a:gd name="T111" fmla="*/ 6 h 569"/>
                  <a:gd name="T112" fmla="*/ 110 w 118"/>
                  <a:gd name="T113" fmla="*/ 6 h 5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18" h="569">
                    <a:moveTo>
                      <a:pt x="53" y="561"/>
                    </a:moveTo>
                    <a:lnTo>
                      <a:pt x="53" y="561"/>
                    </a:lnTo>
                    <a:lnTo>
                      <a:pt x="53" y="561"/>
                    </a:lnTo>
                    <a:lnTo>
                      <a:pt x="53" y="561"/>
                    </a:lnTo>
                    <a:close/>
                    <a:moveTo>
                      <a:pt x="29" y="16"/>
                    </a:moveTo>
                    <a:lnTo>
                      <a:pt x="29" y="16"/>
                    </a:lnTo>
                    <a:lnTo>
                      <a:pt x="29" y="16"/>
                    </a:lnTo>
                    <a:lnTo>
                      <a:pt x="29" y="16"/>
                    </a:lnTo>
                    <a:close/>
                    <a:moveTo>
                      <a:pt x="28" y="16"/>
                    </a:moveTo>
                    <a:lnTo>
                      <a:pt x="29" y="16"/>
                    </a:lnTo>
                    <a:lnTo>
                      <a:pt x="29" y="17"/>
                    </a:lnTo>
                    <a:lnTo>
                      <a:pt x="28" y="16"/>
                    </a:lnTo>
                    <a:close/>
                    <a:moveTo>
                      <a:pt x="115" y="0"/>
                    </a:moveTo>
                    <a:lnTo>
                      <a:pt x="117" y="3"/>
                    </a:lnTo>
                    <a:lnTo>
                      <a:pt x="116" y="4"/>
                    </a:lnTo>
                    <a:lnTo>
                      <a:pt x="118" y="4"/>
                    </a:lnTo>
                    <a:lnTo>
                      <a:pt x="118" y="4"/>
                    </a:lnTo>
                    <a:lnTo>
                      <a:pt x="118" y="44"/>
                    </a:lnTo>
                    <a:lnTo>
                      <a:pt x="117" y="83"/>
                    </a:lnTo>
                    <a:lnTo>
                      <a:pt x="116" y="90"/>
                    </a:lnTo>
                    <a:lnTo>
                      <a:pt x="116" y="96"/>
                    </a:lnTo>
                    <a:lnTo>
                      <a:pt x="116" y="101"/>
                    </a:lnTo>
                    <a:lnTo>
                      <a:pt x="117" y="103"/>
                    </a:lnTo>
                    <a:lnTo>
                      <a:pt x="116" y="103"/>
                    </a:lnTo>
                    <a:lnTo>
                      <a:pt x="115" y="124"/>
                    </a:lnTo>
                    <a:lnTo>
                      <a:pt x="116" y="145"/>
                    </a:lnTo>
                    <a:lnTo>
                      <a:pt x="115" y="145"/>
                    </a:lnTo>
                    <a:lnTo>
                      <a:pt x="115" y="149"/>
                    </a:lnTo>
                    <a:lnTo>
                      <a:pt x="113" y="216"/>
                    </a:lnTo>
                    <a:lnTo>
                      <a:pt x="111" y="287"/>
                    </a:lnTo>
                    <a:lnTo>
                      <a:pt x="110" y="355"/>
                    </a:lnTo>
                    <a:lnTo>
                      <a:pt x="109" y="404"/>
                    </a:lnTo>
                    <a:lnTo>
                      <a:pt x="107" y="455"/>
                    </a:lnTo>
                    <a:lnTo>
                      <a:pt x="106" y="506"/>
                    </a:lnTo>
                    <a:lnTo>
                      <a:pt x="104" y="524"/>
                    </a:lnTo>
                    <a:lnTo>
                      <a:pt x="103" y="542"/>
                    </a:lnTo>
                    <a:lnTo>
                      <a:pt x="102" y="542"/>
                    </a:lnTo>
                    <a:lnTo>
                      <a:pt x="102" y="547"/>
                    </a:lnTo>
                    <a:lnTo>
                      <a:pt x="102" y="546"/>
                    </a:lnTo>
                    <a:lnTo>
                      <a:pt x="102" y="546"/>
                    </a:lnTo>
                    <a:lnTo>
                      <a:pt x="102" y="544"/>
                    </a:lnTo>
                    <a:lnTo>
                      <a:pt x="101" y="543"/>
                    </a:lnTo>
                    <a:lnTo>
                      <a:pt x="98" y="550"/>
                    </a:lnTo>
                    <a:lnTo>
                      <a:pt x="95" y="550"/>
                    </a:lnTo>
                    <a:lnTo>
                      <a:pt x="95" y="550"/>
                    </a:lnTo>
                    <a:lnTo>
                      <a:pt x="94" y="548"/>
                    </a:lnTo>
                    <a:lnTo>
                      <a:pt x="94" y="550"/>
                    </a:lnTo>
                    <a:lnTo>
                      <a:pt x="93" y="549"/>
                    </a:lnTo>
                    <a:lnTo>
                      <a:pt x="92" y="551"/>
                    </a:lnTo>
                    <a:lnTo>
                      <a:pt x="92" y="550"/>
                    </a:lnTo>
                    <a:lnTo>
                      <a:pt x="91" y="551"/>
                    </a:lnTo>
                    <a:lnTo>
                      <a:pt x="92" y="554"/>
                    </a:lnTo>
                    <a:lnTo>
                      <a:pt x="90" y="551"/>
                    </a:lnTo>
                    <a:lnTo>
                      <a:pt x="88" y="555"/>
                    </a:lnTo>
                    <a:lnTo>
                      <a:pt x="86" y="554"/>
                    </a:lnTo>
                    <a:lnTo>
                      <a:pt x="83" y="555"/>
                    </a:lnTo>
                    <a:lnTo>
                      <a:pt x="78" y="557"/>
                    </a:lnTo>
                    <a:lnTo>
                      <a:pt x="79" y="554"/>
                    </a:lnTo>
                    <a:lnTo>
                      <a:pt x="78" y="558"/>
                    </a:lnTo>
                    <a:lnTo>
                      <a:pt x="75" y="556"/>
                    </a:lnTo>
                    <a:lnTo>
                      <a:pt x="74" y="557"/>
                    </a:lnTo>
                    <a:lnTo>
                      <a:pt x="69" y="556"/>
                    </a:lnTo>
                    <a:lnTo>
                      <a:pt x="67" y="557"/>
                    </a:lnTo>
                    <a:lnTo>
                      <a:pt x="70" y="560"/>
                    </a:lnTo>
                    <a:lnTo>
                      <a:pt x="64" y="552"/>
                    </a:lnTo>
                    <a:lnTo>
                      <a:pt x="64" y="556"/>
                    </a:lnTo>
                    <a:lnTo>
                      <a:pt x="61" y="555"/>
                    </a:lnTo>
                    <a:lnTo>
                      <a:pt x="59" y="557"/>
                    </a:lnTo>
                    <a:lnTo>
                      <a:pt x="58" y="555"/>
                    </a:lnTo>
                    <a:lnTo>
                      <a:pt x="57" y="558"/>
                    </a:lnTo>
                    <a:lnTo>
                      <a:pt x="54" y="559"/>
                    </a:lnTo>
                    <a:lnTo>
                      <a:pt x="54" y="561"/>
                    </a:lnTo>
                    <a:lnTo>
                      <a:pt x="53" y="561"/>
                    </a:lnTo>
                    <a:lnTo>
                      <a:pt x="52" y="558"/>
                    </a:lnTo>
                    <a:lnTo>
                      <a:pt x="52" y="561"/>
                    </a:lnTo>
                    <a:lnTo>
                      <a:pt x="50" y="559"/>
                    </a:lnTo>
                    <a:lnTo>
                      <a:pt x="48" y="559"/>
                    </a:lnTo>
                    <a:lnTo>
                      <a:pt x="46" y="556"/>
                    </a:lnTo>
                    <a:lnTo>
                      <a:pt x="45" y="557"/>
                    </a:lnTo>
                    <a:lnTo>
                      <a:pt x="42" y="554"/>
                    </a:lnTo>
                    <a:lnTo>
                      <a:pt x="43" y="559"/>
                    </a:lnTo>
                    <a:lnTo>
                      <a:pt x="41" y="557"/>
                    </a:lnTo>
                    <a:lnTo>
                      <a:pt x="40" y="560"/>
                    </a:lnTo>
                    <a:lnTo>
                      <a:pt x="37" y="558"/>
                    </a:lnTo>
                    <a:lnTo>
                      <a:pt x="36" y="557"/>
                    </a:lnTo>
                    <a:lnTo>
                      <a:pt x="35" y="559"/>
                    </a:lnTo>
                    <a:lnTo>
                      <a:pt x="34" y="556"/>
                    </a:lnTo>
                    <a:lnTo>
                      <a:pt x="33" y="559"/>
                    </a:lnTo>
                    <a:lnTo>
                      <a:pt x="33" y="558"/>
                    </a:lnTo>
                    <a:lnTo>
                      <a:pt x="31" y="558"/>
                    </a:lnTo>
                    <a:lnTo>
                      <a:pt x="33" y="560"/>
                    </a:lnTo>
                    <a:lnTo>
                      <a:pt x="28" y="557"/>
                    </a:lnTo>
                    <a:lnTo>
                      <a:pt x="27" y="560"/>
                    </a:lnTo>
                    <a:lnTo>
                      <a:pt x="27" y="558"/>
                    </a:lnTo>
                    <a:lnTo>
                      <a:pt x="25" y="560"/>
                    </a:lnTo>
                    <a:lnTo>
                      <a:pt x="25" y="563"/>
                    </a:lnTo>
                    <a:lnTo>
                      <a:pt x="24" y="564"/>
                    </a:lnTo>
                    <a:lnTo>
                      <a:pt x="25" y="560"/>
                    </a:lnTo>
                    <a:lnTo>
                      <a:pt x="23" y="563"/>
                    </a:lnTo>
                    <a:lnTo>
                      <a:pt x="20" y="561"/>
                    </a:lnTo>
                    <a:lnTo>
                      <a:pt x="18" y="561"/>
                    </a:lnTo>
                    <a:lnTo>
                      <a:pt x="17" y="566"/>
                    </a:lnTo>
                    <a:lnTo>
                      <a:pt x="17" y="563"/>
                    </a:lnTo>
                    <a:lnTo>
                      <a:pt x="16" y="564"/>
                    </a:lnTo>
                    <a:lnTo>
                      <a:pt x="16" y="563"/>
                    </a:lnTo>
                    <a:lnTo>
                      <a:pt x="15" y="563"/>
                    </a:lnTo>
                    <a:lnTo>
                      <a:pt x="15" y="564"/>
                    </a:lnTo>
                    <a:lnTo>
                      <a:pt x="16" y="566"/>
                    </a:lnTo>
                    <a:lnTo>
                      <a:pt x="15" y="567"/>
                    </a:lnTo>
                    <a:lnTo>
                      <a:pt x="9" y="568"/>
                    </a:lnTo>
                    <a:lnTo>
                      <a:pt x="8" y="567"/>
                    </a:lnTo>
                    <a:lnTo>
                      <a:pt x="7" y="569"/>
                    </a:lnTo>
                    <a:lnTo>
                      <a:pt x="7" y="569"/>
                    </a:lnTo>
                    <a:lnTo>
                      <a:pt x="6" y="567"/>
                    </a:lnTo>
                    <a:lnTo>
                      <a:pt x="3" y="566"/>
                    </a:lnTo>
                    <a:lnTo>
                      <a:pt x="3" y="567"/>
                    </a:lnTo>
                    <a:lnTo>
                      <a:pt x="1" y="567"/>
                    </a:lnTo>
                    <a:lnTo>
                      <a:pt x="0" y="567"/>
                    </a:lnTo>
                    <a:lnTo>
                      <a:pt x="0" y="25"/>
                    </a:lnTo>
                    <a:lnTo>
                      <a:pt x="1" y="25"/>
                    </a:lnTo>
                    <a:lnTo>
                      <a:pt x="0" y="23"/>
                    </a:lnTo>
                    <a:lnTo>
                      <a:pt x="2" y="25"/>
                    </a:lnTo>
                    <a:lnTo>
                      <a:pt x="3" y="24"/>
                    </a:lnTo>
                    <a:lnTo>
                      <a:pt x="4" y="25"/>
                    </a:lnTo>
                    <a:lnTo>
                      <a:pt x="4" y="22"/>
                    </a:lnTo>
                    <a:lnTo>
                      <a:pt x="8" y="27"/>
                    </a:lnTo>
                    <a:lnTo>
                      <a:pt x="9" y="25"/>
                    </a:lnTo>
                    <a:lnTo>
                      <a:pt x="8" y="24"/>
                    </a:lnTo>
                    <a:lnTo>
                      <a:pt x="10" y="24"/>
                    </a:lnTo>
                    <a:lnTo>
                      <a:pt x="9" y="20"/>
                    </a:lnTo>
                    <a:lnTo>
                      <a:pt x="10" y="21"/>
                    </a:lnTo>
                    <a:lnTo>
                      <a:pt x="14" y="17"/>
                    </a:lnTo>
                    <a:lnTo>
                      <a:pt x="14" y="21"/>
                    </a:lnTo>
                    <a:lnTo>
                      <a:pt x="15" y="20"/>
                    </a:lnTo>
                    <a:lnTo>
                      <a:pt x="16" y="21"/>
                    </a:lnTo>
                    <a:lnTo>
                      <a:pt x="15" y="19"/>
                    </a:lnTo>
                    <a:lnTo>
                      <a:pt x="17" y="22"/>
                    </a:lnTo>
                    <a:lnTo>
                      <a:pt x="18" y="20"/>
                    </a:lnTo>
                    <a:lnTo>
                      <a:pt x="20" y="20"/>
                    </a:lnTo>
                    <a:lnTo>
                      <a:pt x="21" y="21"/>
                    </a:lnTo>
                    <a:lnTo>
                      <a:pt x="26" y="19"/>
                    </a:lnTo>
                    <a:lnTo>
                      <a:pt x="21" y="17"/>
                    </a:lnTo>
                    <a:lnTo>
                      <a:pt x="25" y="17"/>
                    </a:lnTo>
                    <a:lnTo>
                      <a:pt x="27" y="17"/>
                    </a:lnTo>
                    <a:lnTo>
                      <a:pt x="26" y="15"/>
                    </a:lnTo>
                    <a:lnTo>
                      <a:pt x="29" y="19"/>
                    </a:lnTo>
                    <a:lnTo>
                      <a:pt x="29" y="17"/>
                    </a:lnTo>
                    <a:lnTo>
                      <a:pt x="32" y="19"/>
                    </a:lnTo>
                    <a:lnTo>
                      <a:pt x="29" y="16"/>
                    </a:lnTo>
                    <a:lnTo>
                      <a:pt x="33" y="19"/>
                    </a:lnTo>
                    <a:lnTo>
                      <a:pt x="36" y="20"/>
                    </a:lnTo>
                    <a:lnTo>
                      <a:pt x="37" y="16"/>
                    </a:lnTo>
                    <a:lnTo>
                      <a:pt x="37" y="17"/>
                    </a:lnTo>
                    <a:lnTo>
                      <a:pt x="39" y="15"/>
                    </a:lnTo>
                    <a:lnTo>
                      <a:pt x="40" y="17"/>
                    </a:lnTo>
                    <a:lnTo>
                      <a:pt x="40" y="16"/>
                    </a:lnTo>
                    <a:lnTo>
                      <a:pt x="41" y="14"/>
                    </a:lnTo>
                    <a:lnTo>
                      <a:pt x="42" y="14"/>
                    </a:lnTo>
                    <a:lnTo>
                      <a:pt x="43" y="13"/>
                    </a:lnTo>
                    <a:lnTo>
                      <a:pt x="43" y="13"/>
                    </a:lnTo>
                    <a:lnTo>
                      <a:pt x="42" y="14"/>
                    </a:lnTo>
                    <a:lnTo>
                      <a:pt x="42" y="15"/>
                    </a:lnTo>
                    <a:lnTo>
                      <a:pt x="42" y="15"/>
                    </a:lnTo>
                    <a:lnTo>
                      <a:pt x="42" y="15"/>
                    </a:lnTo>
                    <a:lnTo>
                      <a:pt x="41" y="16"/>
                    </a:lnTo>
                    <a:lnTo>
                      <a:pt x="40" y="17"/>
                    </a:lnTo>
                    <a:lnTo>
                      <a:pt x="42" y="17"/>
                    </a:lnTo>
                    <a:lnTo>
                      <a:pt x="42" y="15"/>
                    </a:lnTo>
                    <a:lnTo>
                      <a:pt x="42" y="15"/>
                    </a:lnTo>
                    <a:lnTo>
                      <a:pt x="44" y="15"/>
                    </a:lnTo>
                    <a:lnTo>
                      <a:pt x="44" y="16"/>
                    </a:lnTo>
                    <a:lnTo>
                      <a:pt x="48" y="13"/>
                    </a:lnTo>
                    <a:lnTo>
                      <a:pt x="49" y="16"/>
                    </a:lnTo>
                    <a:lnTo>
                      <a:pt x="53" y="13"/>
                    </a:lnTo>
                    <a:lnTo>
                      <a:pt x="53" y="16"/>
                    </a:lnTo>
                    <a:lnTo>
                      <a:pt x="57" y="15"/>
                    </a:lnTo>
                    <a:lnTo>
                      <a:pt x="59" y="15"/>
                    </a:lnTo>
                    <a:lnTo>
                      <a:pt x="60" y="14"/>
                    </a:lnTo>
                    <a:lnTo>
                      <a:pt x="61" y="15"/>
                    </a:lnTo>
                    <a:lnTo>
                      <a:pt x="61" y="15"/>
                    </a:lnTo>
                    <a:lnTo>
                      <a:pt x="60" y="15"/>
                    </a:lnTo>
                    <a:lnTo>
                      <a:pt x="60" y="16"/>
                    </a:lnTo>
                    <a:lnTo>
                      <a:pt x="61" y="15"/>
                    </a:lnTo>
                    <a:lnTo>
                      <a:pt x="61" y="15"/>
                    </a:lnTo>
                    <a:lnTo>
                      <a:pt x="61" y="15"/>
                    </a:lnTo>
                    <a:lnTo>
                      <a:pt x="61" y="14"/>
                    </a:lnTo>
                    <a:lnTo>
                      <a:pt x="62" y="16"/>
                    </a:lnTo>
                    <a:lnTo>
                      <a:pt x="62" y="15"/>
                    </a:lnTo>
                    <a:lnTo>
                      <a:pt x="62" y="14"/>
                    </a:lnTo>
                    <a:lnTo>
                      <a:pt x="64" y="12"/>
                    </a:lnTo>
                    <a:lnTo>
                      <a:pt x="65" y="14"/>
                    </a:lnTo>
                    <a:lnTo>
                      <a:pt x="65" y="11"/>
                    </a:lnTo>
                    <a:lnTo>
                      <a:pt x="67" y="14"/>
                    </a:lnTo>
                    <a:lnTo>
                      <a:pt x="70" y="12"/>
                    </a:lnTo>
                    <a:lnTo>
                      <a:pt x="69" y="9"/>
                    </a:lnTo>
                    <a:lnTo>
                      <a:pt x="73" y="8"/>
                    </a:lnTo>
                    <a:lnTo>
                      <a:pt x="74" y="9"/>
                    </a:lnTo>
                    <a:lnTo>
                      <a:pt x="76" y="9"/>
                    </a:lnTo>
                    <a:lnTo>
                      <a:pt x="78" y="7"/>
                    </a:lnTo>
                    <a:lnTo>
                      <a:pt x="79" y="8"/>
                    </a:lnTo>
                    <a:lnTo>
                      <a:pt x="81" y="9"/>
                    </a:lnTo>
                    <a:lnTo>
                      <a:pt x="82" y="8"/>
                    </a:lnTo>
                    <a:lnTo>
                      <a:pt x="81" y="7"/>
                    </a:lnTo>
                    <a:lnTo>
                      <a:pt x="85" y="4"/>
                    </a:lnTo>
                    <a:lnTo>
                      <a:pt x="83" y="6"/>
                    </a:lnTo>
                    <a:lnTo>
                      <a:pt x="87" y="3"/>
                    </a:lnTo>
                    <a:lnTo>
                      <a:pt x="87" y="5"/>
                    </a:lnTo>
                    <a:lnTo>
                      <a:pt x="90" y="5"/>
                    </a:lnTo>
                    <a:lnTo>
                      <a:pt x="90" y="5"/>
                    </a:lnTo>
                    <a:lnTo>
                      <a:pt x="92" y="5"/>
                    </a:lnTo>
                    <a:lnTo>
                      <a:pt x="92" y="6"/>
                    </a:lnTo>
                    <a:lnTo>
                      <a:pt x="92" y="5"/>
                    </a:lnTo>
                    <a:lnTo>
                      <a:pt x="92" y="5"/>
                    </a:lnTo>
                    <a:lnTo>
                      <a:pt x="92" y="5"/>
                    </a:lnTo>
                    <a:lnTo>
                      <a:pt x="100" y="4"/>
                    </a:lnTo>
                    <a:lnTo>
                      <a:pt x="101" y="5"/>
                    </a:lnTo>
                    <a:lnTo>
                      <a:pt x="101" y="6"/>
                    </a:lnTo>
                    <a:lnTo>
                      <a:pt x="101" y="6"/>
                    </a:lnTo>
                    <a:lnTo>
                      <a:pt x="102" y="6"/>
                    </a:lnTo>
                    <a:lnTo>
                      <a:pt x="103" y="5"/>
                    </a:lnTo>
                    <a:lnTo>
                      <a:pt x="101" y="6"/>
                    </a:lnTo>
                    <a:lnTo>
                      <a:pt x="101" y="5"/>
                    </a:lnTo>
                    <a:lnTo>
                      <a:pt x="103" y="3"/>
                    </a:lnTo>
                    <a:lnTo>
                      <a:pt x="106" y="6"/>
                    </a:lnTo>
                    <a:lnTo>
                      <a:pt x="103" y="7"/>
                    </a:lnTo>
                    <a:lnTo>
                      <a:pt x="107" y="6"/>
                    </a:lnTo>
                    <a:lnTo>
                      <a:pt x="108" y="8"/>
                    </a:lnTo>
                    <a:lnTo>
                      <a:pt x="110" y="6"/>
                    </a:lnTo>
                    <a:lnTo>
                      <a:pt x="113" y="7"/>
                    </a:lnTo>
                    <a:lnTo>
                      <a:pt x="115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E20074"/>
                  </a:buClr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0" cap="none" spc="0" normalizeH="0" baseline="0" noProof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76" name="Freeform 141"/>
              <p:cNvSpPr>
                <a:spLocks noEditPoints="1"/>
              </p:cNvSpPr>
              <p:nvPr/>
            </p:nvSpPr>
            <p:spPr bwMode="auto">
              <a:xfrm>
                <a:off x="11171239" y="493714"/>
                <a:ext cx="187325" cy="833438"/>
              </a:xfrm>
              <a:custGeom>
                <a:avLst/>
                <a:gdLst>
                  <a:gd name="T0" fmla="*/ 2 w 118"/>
                  <a:gd name="T1" fmla="*/ 414 h 525"/>
                  <a:gd name="T2" fmla="*/ 45 w 118"/>
                  <a:gd name="T3" fmla="*/ 92 h 525"/>
                  <a:gd name="T4" fmla="*/ 45 w 118"/>
                  <a:gd name="T5" fmla="*/ 90 h 525"/>
                  <a:gd name="T6" fmla="*/ 112 w 118"/>
                  <a:gd name="T7" fmla="*/ 6 h 525"/>
                  <a:gd name="T8" fmla="*/ 114 w 118"/>
                  <a:gd name="T9" fmla="*/ 523 h 525"/>
                  <a:gd name="T10" fmla="*/ 104 w 118"/>
                  <a:gd name="T11" fmla="*/ 522 h 525"/>
                  <a:gd name="T12" fmla="*/ 95 w 118"/>
                  <a:gd name="T13" fmla="*/ 519 h 525"/>
                  <a:gd name="T14" fmla="*/ 89 w 118"/>
                  <a:gd name="T15" fmla="*/ 516 h 525"/>
                  <a:gd name="T16" fmla="*/ 82 w 118"/>
                  <a:gd name="T17" fmla="*/ 514 h 525"/>
                  <a:gd name="T18" fmla="*/ 70 w 118"/>
                  <a:gd name="T19" fmla="*/ 509 h 525"/>
                  <a:gd name="T20" fmla="*/ 59 w 118"/>
                  <a:gd name="T21" fmla="*/ 510 h 525"/>
                  <a:gd name="T22" fmla="*/ 52 w 118"/>
                  <a:gd name="T23" fmla="*/ 509 h 525"/>
                  <a:gd name="T24" fmla="*/ 42 w 118"/>
                  <a:gd name="T25" fmla="*/ 511 h 525"/>
                  <a:gd name="T26" fmla="*/ 35 w 118"/>
                  <a:gd name="T27" fmla="*/ 513 h 525"/>
                  <a:gd name="T28" fmla="*/ 27 w 118"/>
                  <a:gd name="T29" fmla="*/ 508 h 525"/>
                  <a:gd name="T30" fmla="*/ 20 w 118"/>
                  <a:gd name="T31" fmla="*/ 509 h 525"/>
                  <a:gd name="T32" fmla="*/ 12 w 118"/>
                  <a:gd name="T33" fmla="*/ 510 h 525"/>
                  <a:gd name="T34" fmla="*/ 7 w 118"/>
                  <a:gd name="T35" fmla="*/ 517 h 525"/>
                  <a:gd name="T36" fmla="*/ 6 w 118"/>
                  <a:gd name="T37" fmla="*/ 499 h 525"/>
                  <a:gd name="T38" fmla="*/ 7 w 118"/>
                  <a:gd name="T39" fmla="*/ 490 h 525"/>
                  <a:gd name="T40" fmla="*/ 5 w 118"/>
                  <a:gd name="T41" fmla="*/ 476 h 525"/>
                  <a:gd name="T42" fmla="*/ 5 w 118"/>
                  <a:gd name="T43" fmla="*/ 460 h 525"/>
                  <a:gd name="T44" fmla="*/ 7 w 118"/>
                  <a:gd name="T45" fmla="*/ 444 h 525"/>
                  <a:gd name="T46" fmla="*/ 6 w 118"/>
                  <a:gd name="T47" fmla="*/ 436 h 525"/>
                  <a:gd name="T48" fmla="*/ 5 w 118"/>
                  <a:gd name="T49" fmla="*/ 422 h 525"/>
                  <a:gd name="T50" fmla="*/ 3 w 118"/>
                  <a:gd name="T51" fmla="*/ 402 h 525"/>
                  <a:gd name="T52" fmla="*/ 8 w 118"/>
                  <a:gd name="T53" fmla="*/ 396 h 525"/>
                  <a:gd name="T54" fmla="*/ 7 w 118"/>
                  <a:gd name="T55" fmla="*/ 386 h 525"/>
                  <a:gd name="T56" fmla="*/ 8 w 118"/>
                  <a:gd name="T57" fmla="*/ 364 h 525"/>
                  <a:gd name="T58" fmla="*/ 7 w 118"/>
                  <a:gd name="T59" fmla="*/ 359 h 525"/>
                  <a:gd name="T60" fmla="*/ 5 w 118"/>
                  <a:gd name="T61" fmla="*/ 340 h 525"/>
                  <a:gd name="T62" fmla="*/ 9 w 118"/>
                  <a:gd name="T63" fmla="*/ 329 h 525"/>
                  <a:gd name="T64" fmla="*/ 12 w 118"/>
                  <a:gd name="T65" fmla="*/ 316 h 525"/>
                  <a:gd name="T66" fmla="*/ 17 w 118"/>
                  <a:gd name="T67" fmla="*/ 302 h 525"/>
                  <a:gd name="T68" fmla="*/ 19 w 118"/>
                  <a:gd name="T69" fmla="*/ 291 h 525"/>
                  <a:gd name="T70" fmla="*/ 19 w 118"/>
                  <a:gd name="T71" fmla="*/ 283 h 525"/>
                  <a:gd name="T72" fmla="*/ 19 w 118"/>
                  <a:gd name="T73" fmla="*/ 257 h 525"/>
                  <a:gd name="T74" fmla="*/ 24 w 118"/>
                  <a:gd name="T75" fmla="*/ 231 h 525"/>
                  <a:gd name="T76" fmla="*/ 24 w 118"/>
                  <a:gd name="T77" fmla="*/ 225 h 525"/>
                  <a:gd name="T78" fmla="*/ 25 w 118"/>
                  <a:gd name="T79" fmla="*/ 217 h 525"/>
                  <a:gd name="T80" fmla="*/ 27 w 118"/>
                  <a:gd name="T81" fmla="*/ 213 h 525"/>
                  <a:gd name="T82" fmla="*/ 28 w 118"/>
                  <a:gd name="T83" fmla="*/ 201 h 525"/>
                  <a:gd name="T84" fmla="*/ 34 w 118"/>
                  <a:gd name="T85" fmla="*/ 188 h 525"/>
                  <a:gd name="T86" fmla="*/ 37 w 118"/>
                  <a:gd name="T87" fmla="*/ 181 h 525"/>
                  <a:gd name="T88" fmla="*/ 40 w 118"/>
                  <a:gd name="T89" fmla="*/ 168 h 525"/>
                  <a:gd name="T90" fmla="*/ 41 w 118"/>
                  <a:gd name="T91" fmla="*/ 154 h 525"/>
                  <a:gd name="T92" fmla="*/ 42 w 118"/>
                  <a:gd name="T93" fmla="*/ 141 h 525"/>
                  <a:gd name="T94" fmla="*/ 43 w 118"/>
                  <a:gd name="T95" fmla="*/ 121 h 525"/>
                  <a:gd name="T96" fmla="*/ 47 w 118"/>
                  <a:gd name="T97" fmla="*/ 109 h 525"/>
                  <a:gd name="T98" fmla="*/ 48 w 118"/>
                  <a:gd name="T99" fmla="*/ 100 h 525"/>
                  <a:gd name="T100" fmla="*/ 47 w 118"/>
                  <a:gd name="T101" fmla="*/ 88 h 525"/>
                  <a:gd name="T102" fmla="*/ 51 w 118"/>
                  <a:gd name="T103" fmla="*/ 82 h 525"/>
                  <a:gd name="T104" fmla="*/ 50 w 118"/>
                  <a:gd name="T105" fmla="*/ 64 h 525"/>
                  <a:gd name="T106" fmla="*/ 49 w 118"/>
                  <a:gd name="T107" fmla="*/ 58 h 525"/>
                  <a:gd name="T108" fmla="*/ 53 w 118"/>
                  <a:gd name="T109" fmla="*/ 46 h 525"/>
                  <a:gd name="T110" fmla="*/ 51 w 118"/>
                  <a:gd name="T111" fmla="*/ 40 h 525"/>
                  <a:gd name="T112" fmla="*/ 55 w 118"/>
                  <a:gd name="T113" fmla="*/ 40 h 525"/>
                  <a:gd name="T114" fmla="*/ 55 w 118"/>
                  <a:gd name="T115" fmla="*/ 31 h 525"/>
                  <a:gd name="T116" fmla="*/ 59 w 118"/>
                  <a:gd name="T117" fmla="*/ 14 h 525"/>
                  <a:gd name="T118" fmla="*/ 70 w 118"/>
                  <a:gd name="T119" fmla="*/ 7 h 525"/>
                  <a:gd name="T120" fmla="*/ 84 w 118"/>
                  <a:gd name="T121" fmla="*/ 6 h 5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18" h="525">
                    <a:moveTo>
                      <a:pt x="108" y="525"/>
                    </a:moveTo>
                    <a:lnTo>
                      <a:pt x="108" y="525"/>
                    </a:lnTo>
                    <a:lnTo>
                      <a:pt x="108" y="525"/>
                    </a:lnTo>
                    <a:lnTo>
                      <a:pt x="108" y="525"/>
                    </a:lnTo>
                    <a:close/>
                    <a:moveTo>
                      <a:pt x="2" y="414"/>
                    </a:moveTo>
                    <a:lnTo>
                      <a:pt x="2" y="414"/>
                    </a:lnTo>
                    <a:lnTo>
                      <a:pt x="2" y="414"/>
                    </a:lnTo>
                    <a:lnTo>
                      <a:pt x="2" y="414"/>
                    </a:lnTo>
                    <a:close/>
                    <a:moveTo>
                      <a:pt x="12" y="313"/>
                    </a:moveTo>
                    <a:lnTo>
                      <a:pt x="12" y="315"/>
                    </a:lnTo>
                    <a:lnTo>
                      <a:pt x="12" y="315"/>
                    </a:lnTo>
                    <a:lnTo>
                      <a:pt x="12" y="313"/>
                    </a:lnTo>
                    <a:close/>
                    <a:moveTo>
                      <a:pt x="45" y="91"/>
                    </a:moveTo>
                    <a:lnTo>
                      <a:pt x="45" y="92"/>
                    </a:lnTo>
                    <a:lnTo>
                      <a:pt x="44" y="93"/>
                    </a:lnTo>
                    <a:lnTo>
                      <a:pt x="44" y="93"/>
                    </a:lnTo>
                    <a:lnTo>
                      <a:pt x="45" y="91"/>
                    </a:lnTo>
                    <a:close/>
                    <a:moveTo>
                      <a:pt x="45" y="90"/>
                    </a:moveTo>
                    <a:lnTo>
                      <a:pt x="45" y="91"/>
                    </a:lnTo>
                    <a:lnTo>
                      <a:pt x="45" y="90"/>
                    </a:lnTo>
                    <a:lnTo>
                      <a:pt x="45" y="90"/>
                    </a:lnTo>
                    <a:close/>
                    <a:moveTo>
                      <a:pt x="100" y="0"/>
                    </a:moveTo>
                    <a:lnTo>
                      <a:pt x="100" y="0"/>
                    </a:lnTo>
                    <a:lnTo>
                      <a:pt x="103" y="5"/>
                    </a:lnTo>
                    <a:lnTo>
                      <a:pt x="108" y="7"/>
                    </a:lnTo>
                    <a:lnTo>
                      <a:pt x="109" y="9"/>
                    </a:lnTo>
                    <a:lnTo>
                      <a:pt x="114" y="9"/>
                    </a:lnTo>
                    <a:lnTo>
                      <a:pt x="112" y="6"/>
                    </a:lnTo>
                    <a:lnTo>
                      <a:pt x="116" y="9"/>
                    </a:lnTo>
                    <a:lnTo>
                      <a:pt x="117" y="13"/>
                    </a:lnTo>
                    <a:lnTo>
                      <a:pt x="118" y="14"/>
                    </a:lnTo>
                    <a:lnTo>
                      <a:pt x="118" y="522"/>
                    </a:lnTo>
                    <a:lnTo>
                      <a:pt x="117" y="521"/>
                    </a:lnTo>
                    <a:lnTo>
                      <a:pt x="115" y="524"/>
                    </a:lnTo>
                    <a:lnTo>
                      <a:pt x="114" y="523"/>
                    </a:lnTo>
                    <a:lnTo>
                      <a:pt x="108" y="525"/>
                    </a:lnTo>
                    <a:lnTo>
                      <a:pt x="108" y="523"/>
                    </a:lnTo>
                    <a:lnTo>
                      <a:pt x="107" y="523"/>
                    </a:lnTo>
                    <a:lnTo>
                      <a:pt x="107" y="525"/>
                    </a:lnTo>
                    <a:lnTo>
                      <a:pt x="106" y="525"/>
                    </a:lnTo>
                    <a:lnTo>
                      <a:pt x="106" y="523"/>
                    </a:lnTo>
                    <a:lnTo>
                      <a:pt x="104" y="522"/>
                    </a:lnTo>
                    <a:lnTo>
                      <a:pt x="104" y="524"/>
                    </a:lnTo>
                    <a:lnTo>
                      <a:pt x="102" y="521"/>
                    </a:lnTo>
                    <a:lnTo>
                      <a:pt x="102" y="524"/>
                    </a:lnTo>
                    <a:lnTo>
                      <a:pt x="99" y="518"/>
                    </a:lnTo>
                    <a:lnTo>
                      <a:pt x="99" y="521"/>
                    </a:lnTo>
                    <a:lnTo>
                      <a:pt x="98" y="517"/>
                    </a:lnTo>
                    <a:lnTo>
                      <a:pt x="95" y="519"/>
                    </a:lnTo>
                    <a:lnTo>
                      <a:pt x="94" y="516"/>
                    </a:lnTo>
                    <a:lnTo>
                      <a:pt x="93" y="516"/>
                    </a:lnTo>
                    <a:lnTo>
                      <a:pt x="91" y="517"/>
                    </a:lnTo>
                    <a:lnTo>
                      <a:pt x="91" y="515"/>
                    </a:lnTo>
                    <a:lnTo>
                      <a:pt x="91" y="515"/>
                    </a:lnTo>
                    <a:lnTo>
                      <a:pt x="90" y="514"/>
                    </a:lnTo>
                    <a:lnTo>
                      <a:pt x="89" y="516"/>
                    </a:lnTo>
                    <a:lnTo>
                      <a:pt x="89" y="513"/>
                    </a:lnTo>
                    <a:lnTo>
                      <a:pt x="85" y="515"/>
                    </a:lnTo>
                    <a:lnTo>
                      <a:pt x="83" y="513"/>
                    </a:lnTo>
                    <a:lnTo>
                      <a:pt x="83" y="515"/>
                    </a:lnTo>
                    <a:lnTo>
                      <a:pt x="82" y="514"/>
                    </a:lnTo>
                    <a:lnTo>
                      <a:pt x="83" y="517"/>
                    </a:lnTo>
                    <a:lnTo>
                      <a:pt x="82" y="514"/>
                    </a:lnTo>
                    <a:lnTo>
                      <a:pt x="81" y="514"/>
                    </a:lnTo>
                    <a:lnTo>
                      <a:pt x="76" y="509"/>
                    </a:lnTo>
                    <a:lnTo>
                      <a:pt x="74" y="511"/>
                    </a:lnTo>
                    <a:lnTo>
                      <a:pt x="73" y="510"/>
                    </a:lnTo>
                    <a:lnTo>
                      <a:pt x="72" y="509"/>
                    </a:lnTo>
                    <a:lnTo>
                      <a:pt x="72" y="510"/>
                    </a:lnTo>
                    <a:lnTo>
                      <a:pt x="70" y="509"/>
                    </a:lnTo>
                    <a:lnTo>
                      <a:pt x="68" y="509"/>
                    </a:lnTo>
                    <a:lnTo>
                      <a:pt x="68" y="511"/>
                    </a:lnTo>
                    <a:lnTo>
                      <a:pt x="67" y="510"/>
                    </a:lnTo>
                    <a:lnTo>
                      <a:pt x="67" y="509"/>
                    </a:lnTo>
                    <a:lnTo>
                      <a:pt x="64" y="514"/>
                    </a:lnTo>
                    <a:lnTo>
                      <a:pt x="61" y="511"/>
                    </a:lnTo>
                    <a:lnTo>
                      <a:pt x="59" y="510"/>
                    </a:lnTo>
                    <a:lnTo>
                      <a:pt x="57" y="514"/>
                    </a:lnTo>
                    <a:lnTo>
                      <a:pt x="57" y="510"/>
                    </a:lnTo>
                    <a:lnTo>
                      <a:pt x="56" y="513"/>
                    </a:lnTo>
                    <a:lnTo>
                      <a:pt x="56" y="510"/>
                    </a:lnTo>
                    <a:lnTo>
                      <a:pt x="55" y="513"/>
                    </a:lnTo>
                    <a:lnTo>
                      <a:pt x="52" y="510"/>
                    </a:lnTo>
                    <a:lnTo>
                      <a:pt x="52" y="509"/>
                    </a:lnTo>
                    <a:lnTo>
                      <a:pt x="50" y="510"/>
                    </a:lnTo>
                    <a:lnTo>
                      <a:pt x="50" y="509"/>
                    </a:lnTo>
                    <a:lnTo>
                      <a:pt x="49" y="513"/>
                    </a:lnTo>
                    <a:lnTo>
                      <a:pt x="47" y="514"/>
                    </a:lnTo>
                    <a:lnTo>
                      <a:pt x="45" y="511"/>
                    </a:lnTo>
                    <a:lnTo>
                      <a:pt x="44" y="514"/>
                    </a:lnTo>
                    <a:lnTo>
                      <a:pt x="42" y="511"/>
                    </a:lnTo>
                    <a:lnTo>
                      <a:pt x="41" y="513"/>
                    </a:lnTo>
                    <a:lnTo>
                      <a:pt x="41" y="510"/>
                    </a:lnTo>
                    <a:lnTo>
                      <a:pt x="41" y="511"/>
                    </a:lnTo>
                    <a:lnTo>
                      <a:pt x="40" y="509"/>
                    </a:lnTo>
                    <a:lnTo>
                      <a:pt x="39" y="508"/>
                    </a:lnTo>
                    <a:lnTo>
                      <a:pt x="36" y="509"/>
                    </a:lnTo>
                    <a:lnTo>
                      <a:pt x="35" y="513"/>
                    </a:lnTo>
                    <a:lnTo>
                      <a:pt x="32" y="508"/>
                    </a:lnTo>
                    <a:lnTo>
                      <a:pt x="34" y="511"/>
                    </a:lnTo>
                    <a:lnTo>
                      <a:pt x="30" y="508"/>
                    </a:lnTo>
                    <a:lnTo>
                      <a:pt x="32" y="511"/>
                    </a:lnTo>
                    <a:lnTo>
                      <a:pt x="28" y="508"/>
                    </a:lnTo>
                    <a:lnTo>
                      <a:pt x="28" y="509"/>
                    </a:lnTo>
                    <a:lnTo>
                      <a:pt x="27" y="508"/>
                    </a:lnTo>
                    <a:lnTo>
                      <a:pt x="25" y="508"/>
                    </a:lnTo>
                    <a:lnTo>
                      <a:pt x="24" y="513"/>
                    </a:lnTo>
                    <a:lnTo>
                      <a:pt x="24" y="509"/>
                    </a:lnTo>
                    <a:lnTo>
                      <a:pt x="23" y="508"/>
                    </a:lnTo>
                    <a:lnTo>
                      <a:pt x="22" y="509"/>
                    </a:lnTo>
                    <a:lnTo>
                      <a:pt x="20" y="507"/>
                    </a:lnTo>
                    <a:lnTo>
                      <a:pt x="20" y="509"/>
                    </a:lnTo>
                    <a:lnTo>
                      <a:pt x="18" y="508"/>
                    </a:lnTo>
                    <a:lnTo>
                      <a:pt x="18" y="510"/>
                    </a:lnTo>
                    <a:lnTo>
                      <a:pt x="17" y="508"/>
                    </a:lnTo>
                    <a:lnTo>
                      <a:pt x="16" y="509"/>
                    </a:lnTo>
                    <a:lnTo>
                      <a:pt x="15" y="506"/>
                    </a:lnTo>
                    <a:lnTo>
                      <a:pt x="10" y="508"/>
                    </a:lnTo>
                    <a:lnTo>
                      <a:pt x="12" y="510"/>
                    </a:lnTo>
                    <a:lnTo>
                      <a:pt x="9" y="510"/>
                    </a:lnTo>
                    <a:lnTo>
                      <a:pt x="10" y="514"/>
                    </a:lnTo>
                    <a:lnTo>
                      <a:pt x="9" y="514"/>
                    </a:lnTo>
                    <a:lnTo>
                      <a:pt x="9" y="511"/>
                    </a:lnTo>
                    <a:lnTo>
                      <a:pt x="9" y="513"/>
                    </a:lnTo>
                    <a:lnTo>
                      <a:pt x="8" y="510"/>
                    </a:lnTo>
                    <a:lnTo>
                      <a:pt x="7" y="517"/>
                    </a:lnTo>
                    <a:lnTo>
                      <a:pt x="6" y="519"/>
                    </a:lnTo>
                    <a:lnTo>
                      <a:pt x="5" y="508"/>
                    </a:lnTo>
                    <a:lnTo>
                      <a:pt x="5" y="503"/>
                    </a:lnTo>
                    <a:lnTo>
                      <a:pt x="6" y="505"/>
                    </a:lnTo>
                    <a:lnTo>
                      <a:pt x="6" y="500"/>
                    </a:lnTo>
                    <a:lnTo>
                      <a:pt x="0" y="502"/>
                    </a:lnTo>
                    <a:lnTo>
                      <a:pt x="6" y="499"/>
                    </a:lnTo>
                    <a:lnTo>
                      <a:pt x="3" y="499"/>
                    </a:lnTo>
                    <a:lnTo>
                      <a:pt x="5" y="496"/>
                    </a:lnTo>
                    <a:lnTo>
                      <a:pt x="2" y="494"/>
                    </a:lnTo>
                    <a:lnTo>
                      <a:pt x="2" y="492"/>
                    </a:lnTo>
                    <a:lnTo>
                      <a:pt x="5" y="494"/>
                    </a:lnTo>
                    <a:lnTo>
                      <a:pt x="5" y="493"/>
                    </a:lnTo>
                    <a:lnTo>
                      <a:pt x="7" y="490"/>
                    </a:lnTo>
                    <a:lnTo>
                      <a:pt x="6" y="488"/>
                    </a:lnTo>
                    <a:lnTo>
                      <a:pt x="5" y="485"/>
                    </a:lnTo>
                    <a:lnTo>
                      <a:pt x="6" y="484"/>
                    </a:lnTo>
                    <a:lnTo>
                      <a:pt x="5" y="478"/>
                    </a:lnTo>
                    <a:lnTo>
                      <a:pt x="2" y="477"/>
                    </a:lnTo>
                    <a:lnTo>
                      <a:pt x="6" y="476"/>
                    </a:lnTo>
                    <a:lnTo>
                      <a:pt x="5" y="476"/>
                    </a:lnTo>
                    <a:lnTo>
                      <a:pt x="6" y="476"/>
                    </a:lnTo>
                    <a:lnTo>
                      <a:pt x="3" y="473"/>
                    </a:lnTo>
                    <a:lnTo>
                      <a:pt x="6" y="464"/>
                    </a:lnTo>
                    <a:lnTo>
                      <a:pt x="5" y="465"/>
                    </a:lnTo>
                    <a:lnTo>
                      <a:pt x="6" y="464"/>
                    </a:lnTo>
                    <a:lnTo>
                      <a:pt x="5" y="463"/>
                    </a:lnTo>
                    <a:lnTo>
                      <a:pt x="5" y="460"/>
                    </a:lnTo>
                    <a:lnTo>
                      <a:pt x="6" y="461"/>
                    </a:lnTo>
                    <a:lnTo>
                      <a:pt x="3" y="459"/>
                    </a:lnTo>
                    <a:lnTo>
                      <a:pt x="6" y="454"/>
                    </a:lnTo>
                    <a:lnTo>
                      <a:pt x="5" y="452"/>
                    </a:lnTo>
                    <a:lnTo>
                      <a:pt x="6" y="446"/>
                    </a:lnTo>
                    <a:lnTo>
                      <a:pt x="7" y="447"/>
                    </a:lnTo>
                    <a:lnTo>
                      <a:pt x="7" y="444"/>
                    </a:lnTo>
                    <a:lnTo>
                      <a:pt x="5" y="446"/>
                    </a:lnTo>
                    <a:lnTo>
                      <a:pt x="6" y="443"/>
                    </a:lnTo>
                    <a:lnTo>
                      <a:pt x="6" y="444"/>
                    </a:lnTo>
                    <a:lnTo>
                      <a:pt x="6" y="441"/>
                    </a:lnTo>
                    <a:lnTo>
                      <a:pt x="5" y="441"/>
                    </a:lnTo>
                    <a:lnTo>
                      <a:pt x="5" y="436"/>
                    </a:lnTo>
                    <a:lnTo>
                      <a:pt x="6" y="436"/>
                    </a:lnTo>
                    <a:lnTo>
                      <a:pt x="6" y="434"/>
                    </a:lnTo>
                    <a:lnTo>
                      <a:pt x="6" y="435"/>
                    </a:lnTo>
                    <a:lnTo>
                      <a:pt x="6" y="432"/>
                    </a:lnTo>
                    <a:lnTo>
                      <a:pt x="5" y="433"/>
                    </a:lnTo>
                    <a:lnTo>
                      <a:pt x="5" y="426"/>
                    </a:lnTo>
                    <a:lnTo>
                      <a:pt x="3" y="419"/>
                    </a:lnTo>
                    <a:lnTo>
                      <a:pt x="5" y="422"/>
                    </a:lnTo>
                    <a:lnTo>
                      <a:pt x="5" y="415"/>
                    </a:lnTo>
                    <a:lnTo>
                      <a:pt x="6" y="414"/>
                    </a:lnTo>
                    <a:lnTo>
                      <a:pt x="5" y="413"/>
                    </a:lnTo>
                    <a:lnTo>
                      <a:pt x="2" y="414"/>
                    </a:lnTo>
                    <a:lnTo>
                      <a:pt x="7" y="411"/>
                    </a:lnTo>
                    <a:lnTo>
                      <a:pt x="6" y="405"/>
                    </a:lnTo>
                    <a:lnTo>
                      <a:pt x="3" y="402"/>
                    </a:lnTo>
                    <a:lnTo>
                      <a:pt x="6" y="404"/>
                    </a:lnTo>
                    <a:lnTo>
                      <a:pt x="6" y="399"/>
                    </a:lnTo>
                    <a:lnTo>
                      <a:pt x="5" y="399"/>
                    </a:lnTo>
                    <a:lnTo>
                      <a:pt x="2" y="398"/>
                    </a:lnTo>
                    <a:lnTo>
                      <a:pt x="7" y="396"/>
                    </a:lnTo>
                    <a:lnTo>
                      <a:pt x="5" y="396"/>
                    </a:lnTo>
                    <a:lnTo>
                      <a:pt x="8" y="396"/>
                    </a:lnTo>
                    <a:lnTo>
                      <a:pt x="6" y="394"/>
                    </a:lnTo>
                    <a:lnTo>
                      <a:pt x="6" y="392"/>
                    </a:lnTo>
                    <a:lnTo>
                      <a:pt x="7" y="390"/>
                    </a:lnTo>
                    <a:lnTo>
                      <a:pt x="6" y="389"/>
                    </a:lnTo>
                    <a:lnTo>
                      <a:pt x="8" y="388"/>
                    </a:lnTo>
                    <a:lnTo>
                      <a:pt x="3" y="382"/>
                    </a:lnTo>
                    <a:lnTo>
                      <a:pt x="7" y="386"/>
                    </a:lnTo>
                    <a:lnTo>
                      <a:pt x="8" y="382"/>
                    </a:lnTo>
                    <a:lnTo>
                      <a:pt x="8" y="383"/>
                    </a:lnTo>
                    <a:lnTo>
                      <a:pt x="6" y="382"/>
                    </a:lnTo>
                    <a:lnTo>
                      <a:pt x="7" y="381"/>
                    </a:lnTo>
                    <a:lnTo>
                      <a:pt x="7" y="368"/>
                    </a:lnTo>
                    <a:lnTo>
                      <a:pt x="8" y="369"/>
                    </a:lnTo>
                    <a:lnTo>
                      <a:pt x="8" y="364"/>
                    </a:lnTo>
                    <a:lnTo>
                      <a:pt x="7" y="364"/>
                    </a:lnTo>
                    <a:lnTo>
                      <a:pt x="7" y="362"/>
                    </a:lnTo>
                    <a:lnTo>
                      <a:pt x="9" y="362"/>
                    </a:lnTo>
                    <a:lnTo>
                      <a:pt x="7" y="360"/>
                    </a:lnTo>
                    <a:lnTo>
                      <a:pt x="8" y="360"/>
                    </a:lnTo>
                    <a:lnTo>
                      <a:pt x="8" y="358"/>
                    </a:lnTo>
                    <a:lnTo>
                      <a:pt x="7" y="359"/>
                    </a:lnTo>
                    <a:lnTo>
                      <a:pt x="9" y="354"/>
                    </a:lnTo>
                    <a:lnTo>
                      <a:pt x="8" y="351"/>
                    </a:lnTo>
                    <a:lnTo>
                      <a:pt x="9" y="350"/>
                    </a:lnTo>
                    <a:lnTo>
                      <a:pt x="8" y="349"/>
                    </a:lnTo>
                    <a:lnTo>
                      <a:pt x="9" y="347"/>
                    </a:lnTo>
                    <a:lnTo>
                      <a:pt x="11" y="342"/>
                    </a:lnTo>
                    <a:lnTo>
                      <a:pt x="5" y="340"/>
                    </a:lnTo>
                    <a:lnTo>
                      <a:pt x="10" y="340"/>
                    </a:lnTo>
                    <a:lnTo>
                      <a:pt x="9" y="335"/>
                    </a:lnTo>
                    <a:lnTo>
                      <a:pt x="11" y="339"/>
                    </a:lnTo>
                    <a:lnTo>
                      <a:pt x="8" y="334"/>
                    </a:lnTo>
                    <a:lnTo>
                      <a:pt x="10" y="331"/>
                    </a:lnTo>
                    <a:lnTo>
                      <a:pt x="9" y="331"/>
                    </a:lnTo>
                    <a:lnTo>
                      <a:pt x="9" y="329"/>
                    </a:lnTo>
                    <a:lnTo>
                      <a:pt x="9" y="325"/>
                    </a:lnTo>
                    <a:lnTo>
                      <a:pt x="9" y="323"/>
                    </a:lnTo>
                    <a:lnTo>
                      <a:pt x="11" y="327"/>
                    </a:lnTo>
                    <a:lnTo>
                      <a:pt x="10" y="325"/>
                    </a:lnTo>
                    <a:lnTo>
                      <a:pt x="12" y="322"/>
                    </a:lnTo>
                    <a:lnTo>
                      <a:pt x="11" y="323"/>
                    </a:lnTo>
                    <a:lnTo>
                      <a:pt x="12" y="316"/>
                    </a:lnTo>
                    <a:lnTo>
                      <a:pt x="14" y="316"/>
                    </a:lnTo>
                    <a:lnTo>
                      <a:pt x="12" y="315"/>
                    </a:lnTo>
                    <a:lnTo>
                      <a:pt x="15" y="313"/>
                    </a:lnTo>
                    <a:lnTo>
                      <a:pt x="14" y="310"/>
                    </a:lnTo>
                    <a:lnTo>
                      <a:pt x="14" y="307"/>
                    </a:lnTo>
                    <a:lnTo>
                      <a:pt x="16" y="307"/>
                    </a:lnTo>
                    <a:lnTo>
                      <a:pt x="17" y="302"/>
                    </a:lnTo>
                    <a:lnTo>
                      <a:pt x="17" y="297"/>
                    </a:lnTo>
                    <a:lnTo>
                      <a:pt x="16" y="295"/>
                    </a:lnTo>
                    <a:lnTo>
                      <a:pt x="18" y="297"/>
                    </a:lnTo>
                    <a:lnTo>
                      <a:pt x="17" y="295"/>
                    </a:lnTo>
                    <a:lnTo>
                      <a:pt x="19" y="295"/>
                    </a:lnTo>
                    <a:lnTo>
                      <a:pt x="18" y="292"/>
                    </a:lnTo>
                    <a:lnTo>
                      <a:pt x="19" y="291"/>
                    </a:lnTo>
                    <a:lnTo>
                      <a:pt x="18" y="290"/>
                    </a:lnTo>
                    <a:lnTo>
                      <a:pt x="18" y="288"/>
                    </a:lnTo>
                    <a:lnTo>
                      <a:pt x="19" y="289"/>
                    </a:lnTo>
                    <a:lnTo>
                      <a:pt x="19" y="287"/>
                    </a:lnTo>
                    <a:lnTo>
                      <a:pt x="20" y="285"/>
                    </a:lnTo>
                    <a:lnTo>
                      <a:pt x="18" y="281"/>
                    </a:lnTo>
                    <a:lnTo>
                      <a:pt x="19" y="283"/>
                    </a:lnTo>
                    <a:lnTo>
                      <a:pt x="19" y="281"/>
                    </a:lnTo>
                    <a:lnTo>
                      <a:pt x="17" y="281"/>
                    </a:lnTo>
                    <a:lnTo>
                      <a:pt x="18" y="276"/>
                    </a:lnTo>
                    <a:lnTo>
                      <a:pt x="18" y="270"/>
                    </a:lnTo>
                    <a:lnTo>
                      <a:pt x="16" y="267"/>
                    </a:lnTo>
                    <a:lnTo>
                      <a:pt x="20" y="258"/>
                    </a:lnTo>
                    <a:lnTo>
                      <a:pt x="19" y="257"/>
                    </a:lnTo>
                    <a:lnTo>
                      <a:pt x="22" y="257"/>
                    </a:lnTo>
                    <a:lnTo>
                      <a:pt x="20" y="240"/>
                    </a:lnTo>
                    <a:lnTo>
                      <a:pt x="22" y="240"/>
                    </a:lnTo>
                    <a:lnTo>
                      <a:pt x="20" y="239"/>
                    </a:lnTo>
                    <a:lnTo>
                      <a:pt x="23" y="238"/>
                    </a:lnTo>
                    <a:lnTo>
                      <a:pt x="25" y="232"/>
                    </a:lnTo>
                    <a:lnTo>
                      <a:pt x="24" y="231"/>
                    </a:lnTo>
                    <a:lnTo>
                      <a:pt x="24" y="230"/>
                    </a:lnTo>
                    <a:lnTo>
                      <a:pt x="25" y="229"/>
                    </a:lnTo>
                    <a:lnTo>
                      <a:pt x="25" y="229"/>
                    </a:lnTo>
                    <a:lnTo>
                      <a:pt x="25" y="229"/>
                    </a:lnTo>
                    <a:lnTo>
                      <a:pt x="24" y="231"/>
                    </a:lnTo>
                    <a:lnTo>
                      <a:pt x="26" y="227"/>
                    </a:lnTo>
                    <a:lnTo>
                      <a:pt x="24" y="225"/>
                    </a:lnTo>
                    <a:lnTo>
                      <a:pt x="24" y="223"/>
                    </a:lnTo>
                    <a:lnTo>
                      <a:pt x="25" y="225"/>
                    </a:lnTo>
                    <a:lnTo>
                      <a:pt x="25" y="222"/>
                    </a:lnTo>
                    <a:lnTo>
                      <a:pt x="24" y="223"/>
                    </a:lnTo>
                    <a:lnTo>
                      <a:pt x="25" y="222"/>
                    </a:lnTo>
                    <a:lnTo>
                      <a:pt x="23" y="221"/>
                    </a:lnTo>
                    <a:lnTo>
                      <a:pt x="25" y="217"/>
                    </a:lnTo>
                    <a:lnTo>
                      <a:pt x="23" y="218"/>
                    </a:lnTo>
                    <a:lnTo>
                      <a:pt x="24" y="216"/>
                    </a:lnTo>
                    <a:lnTo>
                      <a:pt x="25" y="217"/>
                    </a:lnTo>
                    <a:lnTo>
                      <a:pt x="25" y="214"/>
                    </a:lnTo>
                    <a:lnTo>
                      <a:pt x="26" y="215"/>
                    </a:lnTo>
                    <a:lnTo>
                      <a:pt x="26" y="213"/>
                    </a:lnTo>
                    <a:lnTo>
                      <a:pt x="27" y="213"/>
                    </a:lnTo>
                    <a:lnTo>
                      <a:pt x="26" y="212"/>
                    </a:lnTo>
                    <a:lnTo>
                      <a:pt x="28" y="213"/>
                    </a:lnTo>
                    <a:lnTo>
                      <a:pt x="30" y="209"/>
                    </a:lnTo>
                    <a:lnTo>
                      <a:pt x="28" y="209"/>
                    </a:lnTo>
                    <a:lnTo>
                      <a:pt x="27" y="206"/>
                    </a:lnTo>
                    <a:lnTo>
                      <a:pt x="30" y="206"/>
                    </a:lnTo>
                    <a:lnTo>
                      <a:pt x="28" y="201"/>
                    </a:lnTo>
                    <a:lnTo>
                      <a:pt x="32" y="200"/>
                    </a:lnTo>
                    <a:lnTo>
                      <a:pt x="30" y="199"/>
                    </a:lnTo>
                    <a:lnTo>
                      <a:pt x="31" y="198"/>
                    </a:lnTo>
                    <a:lnTo>
                      <a:pt x="32" y="193"/>
                    </a:lnTo>
                    <a:lnTo>
                      <a:pt x="35" y="193"/>
                    </a:lnTo>
                    <a:lnTo>
                      <a:pt x="35" y="191"/>
                    </a:lnTo>
                    <a:lnTo>
                      <a:pt x="34" y="188"/>
                    </a:lnTo>
                    <a:lnTo>
                      <a:pt x="31" y="187"/>
                    </a:lnTo>
                    <a:lnTo>
                      <a:pt x="32" y="184"/>
                    </a:lnTo>
                    <a:lnTo>
                      <a:pt x="34" y="187"/>
                    </a:lnTo>
                    <a:lnTo>
                      <a:pt x="36" y="185"/>
                    </a:lnTo>
                    <a:lnTo>
                      <a:pt x="33" y="183"/>
                    </a:lnTo>
                    <a:lnTo>
                      <a:pt x="37" y="183"/>
                    </a:lnTo>
                    <a:lnTo>
                      <a:pt x="37" y="181"/>
                    </a:lnTo>
                    <a:lnTo>
                      <a:pt x="36" y="181"/>
                    </a:lnTo>
                    <a:lnTo>
                      <a:pt x="40" y="176"/>
                    </a:lnTo>
                    <a:lnTo>
                      <a:pt x="39" y="173"/>
                    </a:lnTo>
                    <a:lnTo>
                      <a:pt x="40" y="171"/>
                    </a:lnTo>
                    <a:lnTo>
                      <a:pt x="41" y="172"/>
                    </a:lnTo>
                    <a:lnTo>
                      <a:pt x="41" y="168"/>
                    </a:lnTo>
                    <a:lnTo>
                      <a:pt x="40" y="168"/>
                    </a:lnTo>
                    <a:lnTo>
                      <a:pt x="39" y="167"/>
                    </a:lnTo>
                    <a:lnTo>
                      <a:pt x="42" y="167"/>
                    </a:lnTo>
                    <a:lnTo>
                      <a:pt x="42" y="162"/>
                    </a:lnTo>
                    <a:lnTo>
                      <a:pt x="42" y="160"/>
                    </a:lnTo>
                    <a:lnTo>
                      <a:pt x="40" y="159"/>
                    </a:lnTo>
                    <a:lnTo>
                      <a:pt x="42" y="159"/>
                    </a:lnTo>
                    <a:lnTo>
                      <a:pt x="41" y="154"/>
                    </a:lnTo>
                    <a:lnTo>
                      <a:pt x="43" y="153"/>
                    </a:lnTo>
                    <a:lnTo>
                      <a:pt x="43" y="150"/>
                    </a:lnTo>
                    <a:lnTo>
                      <a:pt x="42" y="149"/>
                    </a:lnTo>
                    <a:lnTo>
                      <a:pt x="43" y="149"/>
                    </a:lnTo>
                    <a:lnTo>
                      <a:pt x="41" y="146"/>
                    </a:lnTo>
                    <a:lnTo>
                      <a:pt x="44" y="143"/>
                    </a:lnTo>
                    <a:lnTo>
                      <a:pt x="42" y="141"/>
                    </a:lnTo>
                    <a:lnTo>
                      <a:pt x="44" y="140"/>
                    </a:lnTo>
                    <a:lnTo>
                      <a:pt x="42" y="138"/>
                    </a:lnTo>
                    <a:lnTo>
                      <a:pt x="43" y="138"/>
                    </a:lnTo>
                    <a:lnTo>
                      <a:pt x="43" y="137"/>
                    </a:lnTo>
                    <a:lnTo>
                      <a:pt x="43" y="133"/>
                    </a:lnTo>
                    <a:lnTo>
                      <a:pt x="42" y="133"/>
                    </a:lnTo>
                    <a:lnTo>
                      <a:pt x="43" y="121"/>
                    </a:lnTo>
                    <a:lnTo>
                      <a:pt x="45" y="121"/>
                    </a:lnTo>
                    <a:lnTo>
                      <a:pt x="44" y="115"/>
                    </a:lnTo>
                    <a:lnTo>
                      <a:pt x="45" y="118"/>
                    </a:lnTo>
                    <a:lnTo>
                      <a:pt x="48" y="118"/>
                    </a:lnTo>
                    <a:lnTo>
                      <a:pt x="48" y="117"/>
                    </a:lnTo>
                    <a:lnTo>
                      <a:pt x="45" y="115"/>
                    </a:lnTo>
                    <a:lnTo>
                      <a:pt x="47" y="109"/>
                    </a:lnTo>
                    <a:lnTo>
                      <a:pt x="48" y="111"/>
                    </a:lnTo>
                    <a:lnTo>
                      <a:pt x="47" y="108"/>
                    </a:lnTo>
                    <a:lnTo>
                      <a:pt x="49" y="107"/>
                    </a:lnTo>
                    <a:lnTo>
                      <a:pt x="49" y="106"/>
                    </a:lnTo>
                    <a:lnTo>
                      <a:pt x="47" y="101"/>
                    </a:lnTo>
                    <a:lnTo>
                      <a:pt x="50" y="103"/>
                    </a:lnTo>
                    <a:lnTo>
                      <a:pt x="48" y="100"/>
                    </a:lnTo>
                    <a:lnTo>
                      <a:pt x="49" y="100"/>
                    </a:lnTo>
                    <a:lnTo>
                      <a:pt x="50" y="100"/>
                    </a:lnTo>
                    <a:lnTo>
                      <a:pt x="49" y="100"/>
                    </a:lnTo>
                    <a:lnTo>
                      <a:pt x="49" y="88"/>
                    </a:lnTo>
                    <a:lnTo>
                      <a:pt x="48" y="89"/>
                    </a:lnTo>
                    <a:lnTo>
                      <a:pt x="45" y="90"/>
                    </a:lnTo>
                    <a:lnTo>
                      <a:pt x="47" y="88"/>
                    </a:lnTo>
                    <a:lnTo>
                      <a:pt x="48" y="87"/>
                    </a:lnTo>
                    <a:lnTo>
                      <a:pt x="50" y="88"/>
                    </a:lnTo>
                    <a:lnTo>
                      <a:pt x="51" y="87"/>
                    </a:lnTo>
                    <a:lnTo>
                      <a:pt x="50" y="84"/>
                    </a:lnTo>
                    <a:lnTo>
                      <a:pt x="51" y="84"/>
                    </a:lnTo>
                    <a:lnTo>
                      <a:pt x="49" y="83"/>
                    </a:lnTo>
                    <a:lnTo>
                      <a:pt x="51" y="82"/>
                    </a:lnTo>
                    <a:lnTo>
                      <a:pt x="49" y="75"/>
                    </a:lnTo>
                    <a:lnTo>
                      <a:pt x="48" y="75"/>
                    </a:lnTo>
                    <a:lnTo>
                      <a:pt x="44" y="73"/>
                    </a:lnTo>
                    <a:lnTo>
                      <a:pt x="49" y="68"/>
                    </a:lnTo>
                    <a:lnTo>
                      <a:pt x="50" y="64"/>
                    </a:lnTo>
                    <a:lnTo>
                      <a:pt x="49" y="65"/>
                    </a:lnTo>
                    <a:lnTo>
                      <a:pt x="50" y="64"/>
                    </a:lnTo>
                    <a:lnTo>
                      <a:pt x="48" y="62"/>
                    </a:lnTo>
                    <a:lnTo>
                      <a:pt x="49" y="59"/>
                    </a:lnTo>
                    <a:lnTo>
                      <a:pt x="50" y="61"/>
                    </a:lnTo>
                    <a:lnTo>
                      <a:pt x="52" y="59"/>
                    </a:lnTo>
                    <a:lnTo>
                      <a:pt x="51" y="57"/>
                    </a:lnTo>
                    <a:lnTo>
                      <a:pt x="49" y="59"/>
                    </a:lnTo>
                    <a:lnTo>
                      <a:pt x="49" y="58"/>
                    </a:lnTo>
                    <a:lnTo>
                      <a:pt x="48" y="57"/>
                    </a:lnTo>
                    <a:lnTo>
                      <a:pt x="52" y="55"/>
                    </a:lnTo>
                    <a:lnTo>
                      <a:pt x="55" y="50"/>
                    </a:lnTo>
                    <a:lnTo>
                      <a:pt x="53" y="50"/>
                    </a:lnTo>
                    <a:lnTo>
                      <a:pt x="53" y="48"/>
                    </a:lnTo>
                    <a:lnTo>
                      <a:pt x="55" y="49"/>
                    </a:lnTo>
                    <a:lnTo>
                      <a:pt x="53" y="46"/>
                    </a:lnTo>
                    <a:lnTo>
                      <a:pt x="56" y="47"/>
                    </a:lnTo>
                    <a:lnTo>
                      <a:pt x="56" y="45"/>
                    </a:lnTo>
                    <a:lnTo>
                      <a:pt x="51" y="46"/>
                    </a:lnTo>
                    <a:lnTo>
                      <a:pt x="55" y="45"/>
                    </a:lnTo>
                    <a:lnTo>
                      <a:pt x="55" y="42"/>
                    </a:lnTo>
                    <a:lnTo>
                      <a:pt x="51" y="42"/>
                    </a:lnTo>
                    <a:lnTo>
                      <a:pt x="51" y="40"/>
                    </a:lnTo>
                    <a:lnTo>
                      <a:pt x="52" y="39"/>
                    </a:lnTo>
                    <a:lnTo>
                      <a:pt x="53" y="40"/>
                    </a:lnTo>
                    <a:lnTo>
                      <a:pt x="52" y="40"/>
                    </a:lnTo>
                    <a:lnTo>
                      <a:pt x="55" y="41"/>
                    </a:lnTo>
                    <a:lnTo>
                      <a:pt x="53" y="40"/>
                    </a:lnTo>
                    <a:lnTo>
                      <a:pt x="55" y="40"/>
                    </a:lnTo>
                    <a:lnTo>
                      <a:pt x="55" y="40"/>
                    </a:lnTo>
                    <a:lnTo>
                      <a:pt x="55" y="38"/>
                    </a:lnTo>
                    <a:lnTo>
                      <a:pt x="53" y="38"/>
                    </a:lnTo>
                    <a:lnTo>
                      <a:pt x="56" y="37"/>
                    </a:lnTo>
                    <a:lnTo>
                      <a:pt x="55" y="36"/>
                    </a:lnTo>
                    <a:lnTo>
                      <a:pt x="55" y="33"/>
                    </a:lnTo>
                    <a:lnTo>
                      <a:pt x="56" y="33"/>
                    </a:lnTo>
                    <a:lnTo>
                      <a:pt x="55" y="31"/>
                    </a:lnTo>
                    <a:lnTo>
                      <a:pt x="53" y="30"/>
                    </a:lnTo>
                    <a:lnTo>
                      <a:pt x="56" y="26"/>
                    </a:lnTo>
                    <a:lnTo>
                      <a:pt x="55" y="23"/>
                    </a:lnTo>
                    <a:lnTo>
                      <a:pt x="59" y="20"/>
                    </a:lnTo>
                    <a:lnTo>
                      <a:pt x="58" y="19"/>
                    </a:lnTo>
                    <a:lnTo>
                      <a:pt x="58" y="15"/>
                    </a:lnTo>
                    <a:lnTo>
                      <a:pt x="59" y="14"/>
                    </a:lnTo>
                    <a:lnTo>
                      <a:pt x="61" y="15"/>
                    </a:lnTo>
                    <a:lnTo>
                      <a:pt x="62" y="13"/>
                    </a:lnTo>
                    <a:lnTo>
                      <a:pt x="68" y="6"/>
                    </a:lnTo>
                    <a:lnTo>
                      <a:pt x="68" y="5"/>
                    </a:lnTo>
                    <a:lnTo>
                      <a:pt x="69" y="6"/>
                    </a:lnTo>
                    <a:lnTo>
                      <a:pt x="70" y="5"/>
                    </a:lnTo>
                    <a:lnTo>
                      <a:pt x="70" y="7"/>
                    </a:lnTo>
                    <a:lnTo>
                      <a:pt x="73" y="5"/>
                    </a:lnTo>
                    <a:lnTo>
                      <a:pt x="74" y="6"/>
                    </a:lnTo>
                    <a:lnTo>
                      <a:pt x="76" y="6"/>
                    </a:lnTo>
                    <a:lnTo>
                      <a:pt x="78" y="7"/>
                    </a:lnTo>
                    <a:lnTo>
                      <a:pt x="81" y="7"/>
                    </a:lnTo>
                    <a:lnTo>
                      <a:pt x="83" y="7"/>
                    </a:lnTo>
                    <a:lnTo>
                      <a:pt x="84" y="6"/>
                    </a:lnTo>
                    <a:lnTo>
                      <a:pt x="85" y="4"/>
                    </a:lnTo>
                    <a:lnTo>
                      <a:pt x="87" y="7"/>
                    </a:lnTo>
                    <a:lnTo>
                      <a:pt x="89" y="5"/>
                    </a:lnTo>
                    <a:lnTo>
                      <a:pt x="90" y="6"/>
                    </a:lnTo>
                    <a:lnTo>
                      <a:pt x="100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E20074"/>
                  </a:buClr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0" cap="none" spc="0" normalizeH="0" baseline="0" noProof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77" name="Freeform 142"/>
              <p:cNvSpPr>
                <a:spLocks/>
              </p:cNvSpPr>
              <p:nvPr/>
            </p:nvSpPr>
            <p:spPr bwMode="auto">
              <a:xfrm>
                <a:off x="11358564" y="515939"/>
                <a:ext cx="185738" cy="836613"/>
              </a:xfrm>
              <a:custGeom>
                <a:avLst/>
                <a:gdLst>
                  <a:gd name="T0" fmla="*/ 4 w 117"/>
                  <a:gd name="T1" fmla="*/ 5 h 527"/>
                  <a:gd name="T2" fmla="*/ 7 w 117"/>
                  <a:gd name="T3" fmla="*/ 5 h 527"/>
                  <a:gd name="T4" fmla="*/ 10 w 117"/>
                  <a:gd name="T5" fmla="*/ 7 h 527"/>
                  <a:gd name="T6" fmla="*/ 14 w 117"/>
                  <a:gd name="T7" fmla="*/ 5 h 527"/>
                  <a:gd name="T8" fmla="*/ 18 w 117"/>
                  <a:gd name="T9" fmla="*/ 5 h 527"/>
                  <a:gd name="T10" fmla="*/ 23 w 117"/>
                  <a:gd name="T11" fmla="*/ 5 h 527"/>
                  <a:gd name="T12" fmla="*/ 24 w 117"/>
                  <a:gd name="T13" fmla="*/ 6 h 527"/>
                  <a:gd name="T14" fmla="*/ 29 w 117"/>
                  <a:gd name="T15" fmla="*/ 7 h 527"/>
                  <a:gd name="T16" fmla="*/ 32 w 117"/>
                  <a:gd name="T17" fmla="*/ 7 h 527"/>
                  <a:gd name="T18" fmla="*/ 40 w 117"/>
                  <a:gd name="T19" fmla="*/ 6 h 527"/>
                  <a:gd name="T20" fmla="*/ 47 w 117"/>
                  <a:gd name="T21" fmla="*/ 10 h 527"/>
                  <a:gd name="T22" fmla="*/ 56 w 117"/>
                  <a:gd name="T23" fmla="*/ 12 h 527"/>
                  <a:gd name="T24" fmla="*/ 66 w 117"/>
                  <a:gd name="T25" fmla="*/ 15 h 527"/>
                  <a:gd name="T26" fmla="*/ 72 w 117"/>
                  <a:gd name="T27" fmla="*/ 17 h 527"/>
                  <a:gd name="T28" fmla="*/ 73 w 117"/>
                  <a:gd name="T29" fmla="*/ 18 h 527"/>
                  <a:gd name="T30" fmla="*/ 75 w 117"/>
                  <a:gd name="T31" fmla="*/ 18 h 527"/>
                  <a:gd name="T32" fmla="*/ 81 w 117"/>
                  <a:gd name="T33" fmla="*/ 17 h 527"/>
                  <a:gd name="T34" fmla="*/ 85 w 117"/>
                  <a:gd name="T35" fmla="*/ 14 h 527"/>
                  <a:gd name="T36" fmla="*/ 91 w 117"/>
                  <a:gd name="T37" fmla="*/ 16 h 527"/>
                  <a:gd name="T38" fmla="*/ 103 w 117"/>
                  <a:gd name="T39" fmla="*/ 19 h 527"/>
                  <a:gd name="T40" fmla="*/ 111 w 117"/>
                  <a:gd name="T41" fmla="*/ 24 h 527"/>
                  <a:gd name="T42" fmla="*/ 117 w 117"/>
                  <a:gd name="T43" fmla="*/ 23 h 527"/>
                  <a:gd name="T44" fmla="*/ 117 w 117"/>
                  <a:gd name="T45" fmla="*/ 519 h 527"/>
                  <a:gd name="T46" fmla="*/ 116 w 117"/>
                  <a:gd name="T47" fmla="*/ 522 h 527"/>
                  <a:gd name="T48" fmla="*/ 111 w 117"/>
                  <a:gd name="T49" fmla="*/ 519 h 527"/>
                  <a:gd name="T50" fmla="*/ 105 w 117"/>
                  <a:gd name="T51" fmla="*/ 517 h 527"/>
                  <a:gd name="T52" fmla="*/ 100 w 117"/>
                  <a:gd name="T53" fmla="*/ 517 h 527"/>
                  <a:gd name="T54" fmla="*/ 91 w 117"/>
                  <a:gd name="T55" fmla="*/ 516 h 527"/>
                  <a:gd name="T56" fmla="*/ 84 w 117"/>
                  <a:gd name="T57" fmla="*/ 517 h 527"/>
                  <a:gd name="T58" fmla="*/ 78 w 117"/>
                  <a:gd name="T59" fmla="*/ 520 h 527"/>
                  <a:gd name="T60" fmla="*/ 77 w 117"/>
                  <a:gd name="T61" fmla="*/ 521 h 527"/>
                  <a:gd name="T62" fmla="*/ 76 w 117"/>
                  <a:gd name="T63" fmla="*/ 527 h 527"/>
                  <a:gd name="T64" fmla="*/ 66 w 117"/>
                  <a:gd name="T65" fmla="*/ 519 h 527"/>
                  <a:gd name="T66" fmla="*/ 61 w 117"/>
                  <a:gd name="T67" fmla="*/ 517 h 527"/>
                  <a:gd name="T68" fmla="*/ 60 w 117"/>
                  <a:gd name="T69" fmla="*/ 514 h 527"/>
                  <a:gd name="T70" fmla="*/ 57 w 117"/>
                  <a:gd name="T71" fmla="*/ 518 h 527"/>
                  <a:gd name="T72" fmla="*/ 54 w 117"/>
                  <a:gd name="T73" fmla="*/ 512 h 527"/>
                  <a:gd name="T74" fmla="*/ 51 w 117"/>
                  <a:gd name="T75" fmla="*/ 513 h 527"/>
                  <a:gd name="T76" fmla="*/ 50 w 117"/>
                  <a:gd name="T77" fmla="*/ 511 h 527"/>
                  <a:gd name="T78" fmla="*/ 50 w 117"/>
                  <a:gd name="T79" fmla="*/ 514 h 527"/>
                  <a:gd name="T80" fmla="*/ 49 w 117"/>
                  <a:gd name="T81" fmla="*/ 516 h 527"/>
                  <a:gd name="T82" fmla="*/ 47 w 117"/>
                  <a:gd name="T83" fmla="*/ 514 h 527"/>
                  <a:gd name="T84" fmla="*/ 42 w 117"/>
                  <a:gd name="T85" fmla="*/ 510 h 527"/>
                  <a:gd name="T86" fmla="*/ 42 w 117"/>
                  <a:gd name="T87" fmla="*/ 514 h 527"/>
                  <a:gd name="T88" fmla="*/ 39 w 117"/>
                  <a:gd name="T89" fmla="*/ 517 h 527"/>
                  <a:gd name="T90" fmla="*/ 35 w 117"/>
                  <a:gd name="T91" fmla="*/ 511 h 527"/>
                  <a:gd name="T92" fmla="*/ 33 w 117"/>
                  <a:gd name="T93" fmla="*/ 510 h 527"/>
                  <a:gd name="T94" fmla="*/ 30 w 117"/>
                  <a:gd name="T95" fmla="*/ 512 h 527"/>
                  <a:gd name="T96" fmla="*/ 17 w 117"/>
                  <a:gd name="T97" fmla="*/ 512 h 527"/>
                  <a:gd name="T98" fmla="*/ 10 w 117"/>
                  <a:gd name="T99" fmla="*/ 507 h 527"/>
                  <a:gd name="T100" fmla="*/ 2 w 117"/>
                  <a:gd name="T101" fmla="*/ 509 h 5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17" h="527">
                    <a:moveTo>
                      <a:pt x="0" y="0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4" y="5"/>
                    </a:lnTo>
                    <a:lnTo>
                      <a:pt x="4" y="0"/>
                    </a:lnTo>
                    <a:lnTo>
                      <a:pt x="6" y="3"/>
                    </a:lnTo>
                    <a:lnTo>
                      <a:pt x="6" y="0"/>
                    </a:lnTo>
                    <a:lnTo>
                      <a:pt x="7" y="5"/>
                    </a:lnTo>
                    <a:lnTo>
                      <a:pt x="7" y="0"/>
                    </a:lnTo>
                    <a:lnTo>
                      <a:pt x="9" y="6"/>
                    </a:lnTo>
                    <a:lnTo>
                      <a:pt x="11" y="5"/>
                    </a:lnTo>
                    <a:lnTo>
                      <a:pt x="10" y="7"/>
                    </a:lnTo>
                    <a:lnTo>
                      <a:pt x="13" y="8"/>
                    </a:lnTo>
                    <a:lnTo>
                      <a:pt x="13" y="6"/>
                    </a:lnTo>
                    <a:lnTo>
                      <a:pt x="13" y="5"/>
                    </a:lnTo>
                    <a:lnTo>
                      <a:pt x="14" y="5"/>
                    </a:lnTo>
                    <a:lnTo>
                      <a:pt x="13" y="1"/>
                    </a:lnTo>
                    <a:lnTo>
                      <a:pt x="16" y="2"/>
                    </a:lnTo>
                    <a:lnTo>
                      <a:pt x="16" y="3"/>
                    </a:lnTo>
                    <a:lnTo>
                      <a:pt x="18" y="5"/>
                    </a:lnTo>
                    <a:lnTo>
                      <a:pt x="18" y="0"/>
                    </a:lnTo>
                    <a:lnTo>
                      <a:pt x="19" y="5"/>
                    </a:lnTo>
                    <a:lnTo>
                      <a:pt x="23" y="2"/>
                    </a:lnTo>
                    <a:lnTo>
                      <a:pt x="23" y="5"/>
                    </a:lnTo>
                    <a:lnTo>
                      <a:pt x="25" y="3"/>
                    </a:lnTo>
                    <a:lnTo>
                      <a:pt x="24" y="6"/>
                    </a:lnTo>
                    <a:lnTo>
                      <a:pt x="24" y="5"/>
                    </a:lnTo>
                    <a:lnTo>
                      <a:pt x="24" y="6"/>
                    </a:lnTo>
                    <a:lnTo>
                      <a:pt x="26" y="5"/>
                    </a:lnTo>
                    <a:lnTo>
                      <a:pt x="26" y="5"/>
                    </a:lnTo>
                    <a:lnTo>
                      <a:pt x="29" y="7"/>
                    </a:lnTo>
                    <a:lnTo>
                      <a:pt x="29" y="7"/>
                    </a:lnTo>
                    <a:lnTo>
                      <a:pt x="30" y="8"/>
                    </a:lnTo>
                    <a:lnTo>
                      <a:pt x="31" y="7"/>
                    </a:lnTo>
                    <a:lnTo>
                      <a:pt x="31" y="10"/>
                    </a:lnTo>
                    <a:lnTo>
                      <a:pt x="32" y="7"/>
                    </a:lnTo>
                    <a:lnTo>
                      <a:pt x="33" y="8"/>
                    </a:lnTo>
                    <a:lnTo>
                      <a:pt x="34" y="6"/>
                    </a:lnTo>
                    <a:lnTo>
                      <a:pt x="34" y="8"/>
                    </a:lnTo>
                    <a:lnTo>
                      <a:pt x="40" y="6"/>
                    </a:lnTo>
                    <a:lnTo>
                      <a:pt x="39" y="7"/>
                    </a:lnTo>
                    <a:lnTo>
                      <a:pt x="43" y="9"/>
                    </a:lnTo>
                    <a:lnTo>
                      <a:pt x="47" y="8"/>
                    </a:lnTo>
                    <a:lnTo>
                      <a:pt x="47" y="10"/>
                    </a:lnTo>
                    <a:lnTo>
                      <a:pt x="51" y="12"/>
                    </a:lnTo>
                    <a:lnTo>
                      <a:pt x="52" y="9"/>
                    </a:lnTo>
                    <a:lnTo>
                      <a:pt x="54" y="14"/>
                    </a:lnTo>
                    <a:lnTo>
                      <a:pt x="56" y="12"/>
                    </a:lnTo>
                    <a:lnTo>
                      <a:pt x="64" y="15"/>
                    </a:lnTo>
                    <a:lnTo>
                      <a:pt x="64" y="17"/>
                    </a:lnTo>
                    <a:lnTo>
                      <a:pt x="66" y="17"/>
                    </a:lnTo>
                    <a:lnTo>
                      <a:pt x="66" y="15"/>
                    </a:lnTo>
                    <a:lnTo>
                      <a:pt x="67" y="16"/>
                    </a:lnTo>
                    <a:lnTo>
                      <a:pt x="67" y="17"/>
                    </a:lnTo>
                    <a:lnTo>
                      <a:pt x="68" y="17"/>
                    </a:lnTo>
                    <a:lnTo>
                      <a:pt x="72" y="17"/>
                    </a:lnTo>
                    <a:lnTo>
                      <a:pt x="71" y="19"/>
                    </a:lnTo>
                    <a:lnTo>
                      <a:pt x="73" y="18"/>
                    </a:lnTo>
                    <a:lnTo>
                      <a:pt x="73" y="17"/>
                    </a:lnTo>
                    <a:lnTo>
                      <a:pt x="73" y="18"/>
                    </a:lnTo>
                    <a:lnTo>
                      <a:pt x="75" y="17"/>
                    </a:lnTo>
                    <a:lnTo>
                      <a:pt x="75" y="12"/>
                    </a:lnTo>
                    <a:lnTo>
                      <a:pt x="75" y="16"/>
                    </a:lnTo>
                    <a:lnTo>
                      <a:pt x="75" y="18"/>
                    </a:lnTo>
                    <a:lnTo>
                      <a:pt x="77" y="17"/>
                    </a:lnTo>
                    <a:lnTo>
                      <a:pt x="80" y="19"/>
                    </a:lnTo>
                    <a:lnTo>
                      <a:pt x="81" y="20"/>
                    </a:lnTo>
                    <a:lnTo>
                      <a:pt x="81" y="17"/>
                    </a:lnTo>
                    <a:lnTo>
                      <a:pt x="82" y="19"/>
                    </a:lnTo>
                    <a:lnTo>
                      <a:pt x="85" y="18"/>
                    </a:lnTo>
                    <a:lnTo>
                      <a:pt x="88" y="18"/>
                    </a:lnTo>
                    <a:lnTo>
                      <a:pt x="85" y="14"/>
                    </a:lnTo>
                    <a:lnTo>
                      <a:pt x="89" y="17"/>
                    </a:lnTo>
                    <a:lnTo>
                      <a:pt x="89" y="16"/>
                    </a:lnTo>
                    <a:lnTo>
                      <a:pt x="91" y="18"/>
                    </a:lnTo>
                    <a:lnTo>
                      <a:pt x="91" y="16"/>
                    </a:lnTo>
                    <a:lnTo>
                      <a:pt x="93" y="15"/>
                    </a:lnTo>
                    <a:lnTo>
                      <a:pt x="98" y="17"/>
                    </a:lnTo>
                    <a:lnTo>
                      <a:pt x="102" y="23"/>
                    </a:lnTo>
                    <a:lnTo>
                      <a:pt x="103" y="19"/>
                    </a:lnTo>
                    <a:lnTo>
                      <a:pt x="106" y="22"/>
                    </a:lnTo>
                    <a:lnTo>
                      <a:pt x="108" y="22"/>
                    </a:lnTo>
                    <a:lnTo>
                      <a:pt x="109" y="20"/>
                    </a:lnTo>
                    <a:lnTo>
                      <a:pt x="111" y="24"/>
                    </a:lnTo>
                    <a:lnTo>
                      <a:pt x="113" y="22"/>
                    </a:lnTo>
                    <a:lnTo>
                      <a:pt x="115" y="25"/>
                    </a:lnTo>
                    <a:lnTo>
                      <a:pt x="115" y="23"/>
                    </a:lnTo>
                    <a:lnTo>
                      <a:pt x="117" y="23"/>
                    </a:lnTo>
                    <a:lnTo>
                      <a:pt x="117" y="24"/>
                    </a:lnTo>
                    <a:lnTo>
                      <a:pt x="117" y="24"/>
                    </a:lnTo>
                    <a:lnTo>
                      <a:pt x="117" y="520"/>
                    </a:lnTo>
                    <a:lnTo>
                      <a:pt x="117" y="519"/>
                    </a:lnTo>
                    <a:lnTo>
                      <a:pt x="117" y="522"/>
                    </a:lnTo>
                    <a:lnTo>
                      <a:pt x="116" y="519"/>
                    </a:lnTo>
                    <a:lnTo>
                      <a:pt x="115" y="519"/>
                    </a:lnTo>
                    <a:lnTo>
                      <a:pt x="116" y="522"/>
                    </a:lnTo>
                    <a:lnTo>
                      <a:pt x="115" y="520"/>
                    </a:lnTo>
                    <a:lnTo>
                      <a:pt x="114" y="520"/>
                    </a:lnTo>
                    <a:lnTo>
                      <a:pt x="113" y="521"/>
                    </a:lnTo>
                    <a:lnTo>
                      <a:pt x="111" y="519"/>
                    </a:lnTo>
                    <a:lnTo>
                      <a:pt x="109" y="520"/>
                    </a:lnTo>
                    <a:lnTo>
                      <a:pt x="107" y="518"/>
                    </a:lnTo>
                    <a:lnTo>
                      <a:pt x="106" y="520"/>
                    </a:lnTo>
                    <a:lnTo>
                      <a:pt x="105" y="517"/>
                    </a:lnTo>
                    <a:lnTo>
                      <a:pt x="102" y="517"/>
                    </a:lnTo>
                    <a:lnTo>
                      <a:pt x="102" y="519"/>
                    </a:lnTo>
                    <a:lnTo>
                      <a:pt x="100" y="517"/>
                    </a:lnTo>
                    <a:lnTo>
                      <a:pt x="100" y="517"/>
                    </a:lnTo>
                    <a:lnTo>
                      <a:pt x="99" y="517"/>
                    </a:lnTo>
                    <a:lnTo>
                      <a:pt x="98" y="519"/>
                    </a:lnTo>
                    <a:lnTo>
                      <a:pt x="98" y="517"/>
                    </a:lnTo>
                    <a:lnTo>
                      <a:pt x="91" y="516"/>
                    </a:lnTo>
                    <a:lnTo>
                      <a:pt x="90" y="521"/>
                    </a:lnTo>
                    <a:lnTo>
                      <a:pt x="89" y="517"/>
                    </a:lnTo>
                    <a:lnTo>
                      <a:pt x="88" y="518"/>
                    </a:lnTo>
                    <a:lnTo>
                      <a:pt x="84" y="517"/>
                    </a:lnTo>
                    <a:lnTo>
                      <a:pt x="83" y="519"/>
                    </a:lnTo>
                    <a:lnTo>
                      <a:pt x="80" y="519"/>
                    </a:lnTo>
                    <a:lnTo>
                      <a:pt x="80" y="520"/>
                    </a:lnTo>
                    <a:lnTo>
                      <a:pt x="78" y="520"/>
                    </a:lnTo>
                    <a:lnTo>
                      <a:pt x="78" y="520"/>
                    </a:lnTo>
                    <a:lnTo>
                      <a:pt x="77" y="520"/>
                    </a:lnTo>
                    <a:lnTo>
                      <a:pt x="78" y="522"/>
                    </a:lnTo>
                    <a:lnTo>
                      <a:pt x="77" y="521"/>
                    </a:lnTo>
                    <a:lnTo>
                      <a:pt x="76" y="521"/>
                    </a:lnTo>
                    <a:lnTo>
                      <a:pt x="75" y="524"/>
                    </a:lnTo>
                    <a:lnTo>
                      <a:pt x="76" y="524"/>
                    </a:lnTo>
                    <a:lnTo>
                      <a:pt x="76" y="527"/>
                    </a:lnTo>
                    <a:lnTo>
                      <a:pt x="75" y="522"/>
                    </a:lnTo>
                    <a:lnTo>
                      <a:pt x="72" y="522"/>
                    </a:lnTo>
                    <a:lnTo>
                      <a:pt x="73" y="524"/>
                    </a:lnTo>
                    <a:lnTo>
                      <a:pt x="66" y="519"/>
                    </a:lnTo>
                    <a:lnTo>
                      <a:pt x="66" y="516"/>
                    </a:lnTo>
                    <a:lnTo>
                      <a:pt x="65" y="518"/>
                    </a:lnTo>
                    <a:lnTo>
                      <a:pt x="63" y="514"/>
                    </a:lnTo>
                    <a:lnTo>
                      <a:pt x="61" y="517"/>
                    </a:lnTo>
                    <a:lnTo>
                      <a:pt x="60" y="517"/>
                    </a:lnTo>
                    <a:lnTo>
                      <a:pt x="61" y="514"/>
                    </a:lnTo>
                    <a:lnTo>
                      <a:pt x="60" y="516"/>
                    </a:lnTo>
                    <a:lnTo>
                      <a:pt x="60" y="514"/>
                    </a:lnTo>
                    <a:lnTo>
                      <a:pt x="59" y="514"/>
                    </a:lnTo>
                    <a:lnTo>
                      <a:pt x="60" y="519"/>
                    </a:lnTo>
                    <a:lnTo>
                      <a:pt x="57" y="516"/>
                    </a:lnTo>
                    <a:lnTo>
                      <a:pt x="57" y="518"/>
                    </a:lnTo>
                    <a:lnTo>
                      <a:pt x="57" y="518"/>
                    </a:lnTo>
                    <a:lnTo>
                      <a:pt x="56" y="516"/>
                    </a:lnTo>
                    <a:lnTo>
                      <a:pt x="56" y="516"/>
                    </a:lnTo>
                    <a:lnTo>
                      <a:pt x="54" y="512"/>
                    </a:lnTo>
                    <a:lnTo>
                      <a:pt x="56" y="516"/>
                    </a:lnTo>
                    <a:lnTo>
                      <a:pt x="55" y="517"/>
                    </a:lnTo>
                    <a:lnTo>
                      <a:pt x="54" y="513"/>
                    </a:lnTo>
                    <a:lnTo>
                      <a:pt x="51" y="513"/>
                    </a:lnTo>
                    <a:lnTo>
                      <a:pt x="51" y="512"/>
                    </a:lnTo>
                    <a:lnTo>
                      <a:pt x="51" y="512"/>
                    </a:lnTo>
                    <a:lnTo>
                      <a:pt x="51" y="512"/>
                    </a:lnTo>
                    <a:lnTo>
                      <a:pt x="50" y="511"/>
                    </a:lnTo>
                    <a:lnTo>
                      <a:pt x="50" y="511"/>
                    </a:lnTo>
                    <a:lnTo>
                      <a:pt x="51" y="512"/>
                    </a:lnTo>
                    <a:lnTo>
                      <a:pt x="51" y="512"/>
                    </a:lnTo>
                    <a:lnTo>
                      <a:pt x="50" y="514"/>
                    </a:lnTo>
                    <a:lnTo>
                      <a:pt x="48" y="510"/>
                    </a:lnTo>
                    <a:lnTo>
                      <a:pt x="48" y="512"/>
                    </a:lnTo>
                    <a:lnTo>
                      <a:pt x="47" y="510"/>
                    </a:lnTo>
                    <a:lnTo>
                      <a:pt x="49" y="516"/>
                    </a:lnTo>
                    <a:lnTo>
                      <a:pt x="49" y="513"/>
                    </a:lnTo>
                    <a:lnTo>
                      <a:pt x="50" y="519"/>
                    </a:lnTo>
                    <a:lnTo>
                      <a:pt x="47" y="512"/>
                    </a:lnTo>
                    <a:lnTo>
                      <a:pt x="47" y="514"/>
                    </a:lnTo>
                    <a:lnTo>
                      <a:pt x="44" y="513"/>
                    </a:lnTo>
                    <a:lnTo>
                      <a:pt x="44" y="512"/>
                    </a:lnTo>
                    <a:lnTo>
                      <a:pt x="42" y="512"/>
                    </a:lnTo>
                    <a:lnTo>
                      <a:pt x="42" y="510"/>
                    </a:lnTo>
                    <a:lnTo>
                      <a:pt x="41" y="512"/>
                    </a:lnTo>
                    <a:lnTo>
                      <a:pt x="43" y="514"/>
                    </a:lnTo>
                    <a:lnTo>
                      <a:pt x="40" y="514"/>
                    </a:lnTo>
                    <a:lnTo>
                      <a:pt x="42" y="514"/>
                    </a:lnTo>
                    <a:lnTo>
                      <a:pt x="40" y="512"/>
                    </a:lnTo>
                    <a:lnTo>
                      <a:pt x="40" y="517"/>
                    </a:lnTo>
                    <a:lnTo>
                      <a:pt x="39" y="514"/>
                    </a:lnTo>
                    <a:lnTo>
                      <a:pt x="39" y="517"/>
                    </a:lnTo>
                    <a:lnTo>
                      <a:pt x="36" y="517"/>
                    </a:lnTo>
                    <a:lnTo>
                      <a:pt x="35" y="513"/>
                    </a:lnTo>
                    <a:lnTo>
                      <a:pt x="35" y="513"/>
                    </a:lnTo>
                    <a:lnTo>
                      <a:pt x="35" y="511"/>
                    </a:lnTo>
                    <a:lnTo>
                      <a:pt x="35" y="513"/>
                    </a:lnTo>
                    <a:lnTo>
                      <a:pt x="34" y="514"/>
                    </a:lnTo>
                    <a:lnTo>
                      <a:pt x="34" y="510"/>
                    </a:lnTo>
                    <a:lnTo>
                      <a:pt x="33" y="510"/>
                    </a:lnTo>
                    <a:lnTo>
                      <a:pt x="33" y="512"/>
                    </a:lnTo>
                    <a:lnTo>
                      <a:pt x="31" y="511"/>
                    </a:lnTo>
                    <a:lnTo>
                      <a:pt x="32" y="516"/>
                    </a:lnTo>
                    <a:lnTo>
                      <a:pt x="30" y="512"/>
                    </a:lnTo>
                    <a:lnTo>
                      <a:pt x="27" y="513"/>
                    </a:lnTo>
                    <a:lnTo>
                      <a:pt x="30" y="517"/>
                    </a:lnTo>
                    <a:lnTo>
                      <a:pt x="19" y="510"/>
                    </a:lnTo>
                    <a:lnTo>
                      <a:pt x="17" y="512"/>
                    </a:lnTo>
                    <a:lnTo>
                      <a:pt x="15" y="509"/>
                    </a:lnTo>
                    <a:lnTo>
                      <a:pt x="14" y="509"/>
                    </a:lnTo>
                    <a:lnTo>
                      <a:pt x="13" y="508"/>
                    </a:lnTo>
                    <a:lnTo>
                      <a:pt x="10" y="507"/>
                    </a:lnTo>
                    <a:lnTo>
                      <a:pt x="9" y="508"/>
                    </a:lnTo>
                    <a:lnTo>
                      <a:pt x="6" y="505"/>
                    </a:lnTo>
                    <a:lnTo>
                      <a:pt x="5" y="510"/>
                    </a:lnTo>
                    <a:lnTo>
                      <a:pt x="2" y="509"/>
                    </a:lnTo>
                    <a:lnTo>
                      <a:pt x="0" y="510"/>
                    </a:lnTo>
                    <a:lnTo>
                      <a:pt x="0" y="508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E20074"/>
                  </a:buClr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0" cap="none" spc="0" normalizeH="0" baseline="0" noProof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78" name="Freeform 143"/>
              <p:cNvSpPr>
                <a:spLocks noEditPoints="1"/>
              </p:cNvSpPr>
              <p:nvPr/>
            </p:nvSpPr>
            <p:spPr bwMode="auto">
              <a:xfrm>
                <a:off x="11544301" y="546101"/>
                <a:ext cx="187325" cy="817563"/>
              </a:xfrm>
              <a:custGeom>
                <a:avLst/>
                <a:gdLst>
                  <a:gd name="T0" fmla="*/ 86 w 118"/>
                  <a:gd name="T1" fmla="*/ 15 h 515"/>
                  <a:gd name="T2" fmla="*/ 94 w 118"/>
                  <a:gd name="T3" fmla="*/ 0 h 515"/>
                  <a:gd name="T4" fmla="*/ 105 w 118"/>
                  <a:gd name="T5" fmla="*/ 4 h 515"/>
                  <a:gd name="T6" fmla="*/ 108 w 118"/>
                  <a:gd name="T7" fmla="*/ 5 h 515"/>
                  <a:gd name="T8" fmla="*/ 111 w 118"/>
                  <a:gd name="T9" fmla="*/ 5 h 515"/>
                  <a:gd name="T10" fmla="*/ 118 w 118"/>
                  <a:gd name="T11" fmla="*/ 515 h 515"/>
                  <a:gd name="T12" fmla="*/ 115 w 118"/>
                  <a:gd name="T13" fmla="*/ 510 h 515"/>
                  <a:gd name="T14" fmla="*/ 110 w 118"/>
                  <a:gd name="T15" fmla="*/ 510 h 515"/>
                  <a:gd name="T16" fmla="*/ 103 w 118"/>
                  <a:gd name="T17" fmla="*/ 501 h 515"/>
                  <a:gd name="T18" fmla="*/ 101 w 118"/>
                  <a:gd name="T19" fmla="*/ 499 h 515"/>
                  <a:gd name="T20" fmla="*/ 97 w 118"/>
                  <a:gd name="T21" fmla="*/ 499 h 515"/>
                  <a:gd name="T22" fmla="*/ 92 w 118"/>
                  <a:gd name="T23" fmla="*/ 499 h 515"/>
                  <a:gd name="T24" fmla="*/ 89 w 118"/>
                  <a:gd name="T25" fmla="*/ 500 h 515"/>
                  <a:gd name="T26" fmla="*/ 84 w 118"/>
                  <a:gd name="T27" fmla="*/ 503 h 515"/>
                  <a:gd name="T28" fmla="*/ 81 w 118"/>
                  <a:gd name="T29" fmla="*/ 502 h 515"/>
                  <a:gd name="T30" fmla="*/ 76 w 118"/>
                  <a:gd name="T31" fmla="*/ 501 h 515"/>
                  <a:gd name="T32" fmla="*/ 75 w 118"/>
                  <a:gd name="T33" fmla="*/ 502 h 515"/>
                  <a:gd name="T34" fmla="*/ 73 w 118"/>
                  <a:gd name="T35" fmla="*/ 509 h 515"/>
                  <a:gd name="T36" fmla="*/ 69 w 118"/>
                  <a:gd name="T37" fmla="*/ 502 h 515"/>
                  <a:gd name="T38" fmla="*/ 66 w 118"/>
                  <a:gd name="T39" fmla="*/ 503 h 515"/>
                  <a:gd name="T40" fmla="*/ 59 w 118"/>
                  <a:gd name="T41" fmla="*/ 502 h 515"/>
                  <a:gd name="T42" fmla="*/ 55 w 118"/>
                  <a:gd name="T43" fmla="*/ 500 h 515"/>
                  <a:gd name="T44" fmla="*/ 50 w 118"/>
                  <a:gd name="T45" fmla="*/ 501 h 515"/>
                  <a:gd name="T46" fmla="*/ 49 w 118"/>
                  <a:gd name="T47" fmla="*/ 501 h 515"/>
                  <a:gd name="T48" fmla="*/ 46 w 118"/>
                  <a:gd name="T49" fmla="*/ 497 h 515"/>
                  <a:gd name="T50" fmla="*/ 42 w 118"/>
                  <a:gd name="T51" fmla="*/ 500 h 515"/>
                  <a:gd name="T52" fmla="*/ 38 w 118"/>
                  <a:gd name="T53" fmla="*/ 499 h 515"/>
                  <a:gd name="T54" fmla="*/ 32 w 118"/>
                  <a:gd name="T55" fmla="*/ 502 h 515"/>
                  <a:gd name="T56" fmla="*/ 24 w 118"/>
                  <a:gd name="T57" fmla="*/ 506 h 515"/>
                  <a:gd name="T58" fmla="*/ 21 w 118"/>
                  <a:gd name="T59" fmla="*/ 506 h 515"/>
                  <a:gd name="T60" fmla="*/ 18 w 118"/>
                  <a:gd name="T61" fmla="*/ 507 h 515"/>
                  <a:gd name="T62" fmla="*/ 16 w 118"/>
                  <a:gd name="T63" fmla="*/ 509 h 515"/>
                  <a:gd name="T64" fmla="*/ 11 w 118"/>
                  <a:gd name="T65" fmla="*/ 506 h 515"/>
                  <a:gd name="T66" fmla="*/ 8 w 118"/>
                  <a:gd name="T67" fmla="*/ 505 h 515"/>
                  <a:gd name="T68" fmla="*/ 4 w 118"/>
                  <a:gd name="T69" fmla="*/ 500 h 515"/>
                  <a:gd name="T70" fmla="*/ 4 w 118"/>
                  <a:gd name="T71" fmla="*/ 3 h 515"/>
                  <a:gd name="T72" fmla="*/ 9 w 118"/>
                  <a:gd name="T73" fmla="*/ 5 h 515"/>
                  <a:gd name="T74" fmla="*/ 13 w 118"/>
                  <a:gd name="T75" fmla="*/ 8 h 515"/>
                  <a:gd name="T76" fmla="*/ 16 w 118"/>
                  <a:gd name="T77" fmla="*/ 10 h 515"/>
                  <a:gd name="T78" fmla="*/ 19 w 118"/>
                  <a:gd name="T79" fmla="*/ 9 h 515"/>
                  <a:gd name="T80" fmla="*/ 22 w 118"/>
                  <a:gd name="T81" fmla="*/ 9 h 515"/>
                  <a:gd name="T82" fmla="*/ 25 w 118"/>
                  <a:gd name="T83" fmla="*/ 8 h 515"/>
                  <a:gd name="T84" fmla="*/ 28 w 118"/>
                  <a:gd name="T85" fmla="*/ 5 h 515"/>
                  <a:gd name="T86" fmla="*/ 32 w 118"/>
                  <a:gd name="T87" fmla="*/ 5 h 515"/>
                  <a:gd name="T88" fmla="*/ 36 w 118"/>
                  <a:gd name="T89" fmla="*/ 6 h 515"/>
                  <a:gd name="T90" fmla="*/ 40 w 118"/>
                  <a:gd name="T91" fmla="*/ 5 h 515"/>
                  <a:gd name="T92" fmla="*/ 50 w 118"/>
                  <a:gd name="T93" fmla="*/ 6 h 515"/>
                  <a:gd name="T94" fmla="*/ 57 w 118"/>
                  <a:gd name="T95" fmla="*/ 8 h 515"/>
                  <a:gd name="T96" fmla="*/ 58 w 118"/>
                  <a:gd name="T97" fmla="*/ 8 h 515"/>
                  <a:gd name="T98" fmla="*/ 61 w 118"/>
                  <a:gd name="T99" fmla="*/ 8 h 515"/>
                  <a:gd name="T100" fmla="*/ 68 w 118"/>
                  <a:gd name="T101" fmla="*/ 9 h 515"/>
                  <a:gd name="T102" fmla="*/ 75 w 118"/>
                  <a:gd name="T103" fmla="*/ 5 h 515"/>
                  <a:gd name="T104" fmla="*/ 84 w 118"/>
                  <a:gd name="T105" fmla="*/ 13 h 515"/>
                  <a:gd name="T106" fmla="*/ 86 w 118"/>
                  <a:gd name="T107" fmla="*/ 15 h 515"/>
                  <a:gd name="T108" fmla="*/ 89 w 118"/>
                  <a:gd name="T109" fmla="*/ 14 h 515"/>
                  <a:gd name="T110" fmla="*/ 91 w 118"/>
                  <a:gd name="T111" fmla="*/ 15 h 515"/>
                  <a:gd name="T112" fmla="*/ 94 w 118"/>
                  <a:gd name="T113" fmla="*/ 13 h 515"/>
                  <a:gd name="T114" fmla="*/ 96 w 118"/>
                  <a:gd name="T115" fmla="*/ 10 h 515"/>
                  <a:gd name="T116" fmla="*/ 97 w 118"/>
                  <a:gd name="T117" fmla="*/ 9 h 515"/>
                  <a:gd name="T118" fmla="*/ 100 w 118"/>
                  <a:gd name="T119" fmla="*/ 6 h 515"/>
                  <a:gd name="T120" fmla="*/ 99 w 118"/>
                  <a:gd name="T121" fmla="*/ 5 h 5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18" h="515">
                    <a:moveTo>
                      <a:pt x="88" y="13"/>
                    </a:moveTo>
                    <a:lnTo>
                      <a:pt x="88" y="13"/>
                    </a:lnTo>
                    <a:lnTo>
                      <a:pt x="86" y="14"/>
                    </a:lnTo>
                    <a:lnTo>
                      <a:pt x="86" y="15"/>
                    </a:lnTo>
                    <a:lnTo>
                      <a:pt x="86" y="15"/>
                    </a:lnTo>
                    <a:lnTo>
                      <a:pt x="86" y="14"/>
                    </a:lnTo>
                    <a:lnTo>
                      <a:pt x="88" y="13"/>
                    </a:lnTo>
                    <a:close/>
                    <a:moveTo>
                      <a:pt x="94" y="0"/>
                    </a:moveTo>
                    <a:lnTo>
                      <a:pt x="100" y="5"/>
                    </a:lnTo>
                    <a:lnTo>
                      <a:pt x="102" y="6"/>
                    </a:lnTo>
                    <a:lnTo>
                      <a:pt x="106" y="5"/>
                    </a:lnTo>
                    <a:lnTo>
                      <a:pt x="105" y="4"/>
                    </a:lnTo>
                    <a:lnTo>
                      <a:pt x="106" y="5"/>
                    </a:lnTo>
                    <a:lnTo>
                      <a:pt x="107" y="5"/>
                    </a:lnTo>
                    <a:lnTo>
                      <a:pt x="107" y="3"/>
                    </a:lnTo>
                    <a:lnTo>
                      <a:pt x="108" y="5"/>
                    </a:lnTo>
                    <a:lnTo>
                      <a:pt x="109" y="4"/>
                    </a:lnTo>
                    <a:lnTo>
                      <a:pt x="109" y="6"/>
                    </a:lnTo>
                    <a:lnTo>
                      <a:pt x="111" y="6"/>
                    </a:lnTo>
                    <a:lnTo>
                      <a:pt x="111" y="5"/>
                    </a:lnTo>
                    <a:lnTo>
                      <a:pt x="113" y="6"/>
                    </a:lnTo>
                    <a:lnTo>
                      <a:pt x="114" y="7"/>
                    </a:lnTo>
                    <a:lnTo>
                      <a:pt x="118" y="8"/>
                    </a:lnTo>
                    <a:lnTo>
                      <a:pt x="118" y="515"/>
                    </a:lnTo>
                    <a:lnTo>
                      <a:pt x="118" y="515"/>
                    </a:lnTo>
                    <a:lnTo>
                      <a:pt x="118" y="510"/>
                    </a:lnTo>
                    <a:lnTo>
                      <a:pt x="116" y="513"/>
                    </a:lnTo>
                    <a:lnTo>
                      <a:pt x="115" y="510"/>
                    </a:lnTo>
                    <a:lnTo>
                      <a:pt x="114" y="511"/>
                    </a:lnTo>
                    <a:lnTo>
                      <a:pt x="110" y="508"/>
                    </a:lnTo>
                    <a:lnTo>
                      <a:pt x="109" y="509"/>
                    </a:lnTo>
                    <a:lnTo>
                      <a:pt x="110" y="510"/>
                    </a:lnTo>
                    <a:lnTo>
                      <a:pt x="108" y="508"/>
                    </a:lnTo>
                    <a:lnTo>
                      <a:pt x="107" y="509"/>
                    </a:lnTo>
                    <a:lnTo>
                      <a:pt x="105" y="502"/>
                    </a:lnTo>
                    <a:lnTo>
                      <a:pt x="103" y="501"/>
                    </a:lnTo>
                    <a:lnTo>
                      <a:pt x="102" y="501"/>
                    </a:lnTo>
                    <a:lnTo>
                      <a:pt x="100" y="503"/>
                    </a:lnTo>
                    <a:lnTo>
                      <a:pt x="101" y="501"/>
                    </a:lnTo>
                    <a:lnTo>
                      <a:pt x="101" y="499"/>
                    </a:lnTo>
                    <a:lnTo>
                      <a:pt x="99" y="499"/>
                    </a:lnTo>
                    <a:lnTo>
                      <a:pt x="99" y="500"/>
                    </a:lnTo>
                    <a:lnTo>
                      <a:pt x="97" y="497"/>
                    </a:lnTo>
                    <a:lnTo>
                      <a:pt x="97" y="499"/>
                    </a:lnTo>
                    <a:lnTo>
                      <a:pt x="96" y="500"/>
                    </a:lnTo>
                    <a:lnTo>
                      <a:pt x="94" y="498"/>
                    </a:lnTo>
                    <a:lnTo>
                      <a:pt x="93" y="501"/>
                    </a:lnTo>
                    <a:lnTo>
                      <a:pt x="92" y="499"/>
                    </a:lnTo>
                    <a:lnTo>
                      <a:pt x="91" y="501"/>
                    </a:lnTo>
                    <a:lnTo>
                      <a:pt x="90" y="501"/>
                    </a:lnTo>
                    <a:lnTo>
                      <a:pt x="90" y="502"/>
                    </a:lnTo>
                    <a:lnTo>
                      <a:pt x="89" y="500"/>
                    </a:lnTo>
                    <a:lnTo>
                      <a:pt x="89" y="502"/>
                    </a:lnTo>
                    <a:lnTo>
                      <a:pt x="88" y="501"/>
                    </a:lnTo>
                    <a:lnTo>
                      <a:pt x="85" y="501"/>
                    </a:lnTo>
                    <a:lnTo>
                      <a:pt x="84" y="503"/>
                    </a:lnTo>
                    <a:lnTo>
                      <a:pt x="83" y="502"/>
                    </a:lnTo>
                    <a:lnTo>
                      <a:pt x="82" y="505"/>
                    </a:lnTo>
                    <a:lnTo>
                      <a:pt x="81" y="500"/>
                    </a:lnTo>
                    <a:lnTo>
                      <a:pt x="81" y="502"/>
                    </a:lnTo>
                    <a:lnTo>
                      <a:pt x="78" y="502"/>
                    </a:lnTo>
                    <a:lnTo>
                      <a:pt x="78" y="506"/>
                    </a:lnTo>
                    <a:lnTo>
                      <a:pt x="77" y="500"/>
                    </a:lnTo>
                    <a:lnTo>
                      <a:pt x="76" y="501"/>
                    </a:lnTo>
                    <a:lnTo>
                      <a:pt x="76" y="499"/>
                    </a:lnTo>
                    <a:lnTo>
                      <a:pt x="74" y="499"/>
                    </a:lnTo>
                    <a:lnTo>
                      <a:pt x="75" y="503"/>
                    </a:lnTo>
                    <a:lnTo>
                      <a:pt x="75" y="502"/>
                    </a:lnTo>
                    <a:lnTo>
                      <a:pt x="74" y="503"/>
                    </a:lnTo>
                    <a:lnTo>
                      <a:pt x="74" y="501"/>
                    </a:lnTo>
                    <a:lnTo>
                      <a:pt x="73" y="500"/>
                    </a:lnTo>
                    <a:lnTo>
                      <a:pt x="73" y="509"/>
                    </a:lnTo>
                    <a:lnTo>
                      <a:pt x="72" y="502"/>
                    </a:lnTo>
                    <a:lnTo>
                      <a:pt x="71" y="505"/>
                    </a:lnTo>
                    <a:lnTo>
                      <a:pt x="71" y="502"/>
                    </a:lnTo>
                    <a:lnTo>
                      <a:pt x="69" y="502"/>
                    </a:lnTo>
                    <a:lnTo>
                      <a:pt x="68" y="505"/>
                    </a:lnTo>
                    <a:lnTo>
                      <a:pt x="68" y="501"/>
                    </a:lnTo>
                    <a:lnTo>
                      <a:pt x="66" y="501"/>
                    </a:lnTo>
                    <a:lnTo>
                      <a:pt x="66" y="503"/>
                    </a:lnTo>
                    <a:lnTo>
                      <a:pt x="64" y="502"/>
                    </a:lnTo>
                    <a:lnTo>
                      <a:pt x="65" y="503"/>
                    </a:lnTo>
                    <a:lnTo>
                      <a:pt x="63" y="501"/>
                    </a:lnTo>
                    <a:lnTo>
                      <a:pt x="59" y="502"/>
                    </a:lnTo>
                    <a:lnTo>
                      <a:pt x="58" y="498"/>
                    </a:lnTo>
                    <a:lnTo>
                      <a:pt x="56" y="497"/>
                    </a:lnTo>
                    <a:lnTo>
                      <a:pt x="56" y="499"/>
                    </a:lnTo>
                    <a:lnTo>
                      <a:pt x="55" y="500"/>
                    </a:lnTo>
                    <a:lnTo>
                      <a:pt x="53" y="501"/>
                    </a:lnTo>
                    <a:lnTo>
                      <a:pt x="52" y="500"/>
                    </a:lnTo>
                    <a:lnTo>
                      <a:pt x="51" y="502"/>
                    </a:lnTo>
                    <a:lnTo>
                      <a:pt x="50" y="501"/>
                    </a:lnTo>
                    <a:lnTo>
                      <a:pt x="50" y="501"/>
                    </a:lnTo>
                    <a:lnTo>
                      <a:pt x="51" y="501"/>
                    </a:lnTo>
                    <a:lnTo>
                      <a:pt x="51" y="498"/>
                    </a:lnTo>
                    <a:lnTo>
                      <a:pt x="49" y="501"/>
                    </a:lnTo>
                    <a:lnTo>
                      <a:pt x="48" y="498"/>
                    </a:lnTo>
                    <a:lnTo>
                      <a:pt x="47" y="495"/>
                    </a:lnTo>
                    <a:lnTo>
                      <a:pt x="47" y="499"/>
                    </a:lnTo>
                    <a:lnTo>
                      <a:pt x="46" y="497"/>
                    </a:lnTo>
                    <a:lnTo>
                      <a:pt x="44" y="502"/>
                    </a:lnTo>
                    <a:lnTo>
                      <a:pt x="44" y="500"/>
                    </a:lnTo>
                    <a:lnTo>
                      <a:pt x="42" y="499"/>
                    </a:lnTo>
                    <a:lnTo>
                      <a:pt x="42" y="500"/>
                    </a:lnTo>
                    <a:lnTo>
                      <a:pt x="40" y="499"/>
                    </a:lnTo>
                    <a:lnTo>
                      <a:pt x="39" y="500"/>
                    </a:lnTo>
                    <a:lnTo>
                      <a:pt x="40" y="501"/>
                    </a:lnTo>
                    <a:lnTo>
                      <a:pt x="38" y="499"/>
                    </a:lnTo>
                    <a:lnTo>
                      <a:pt x="35" y="500"/>
                    </a:lnTo>
                    <a:lnTo>
                      <a:pt x="34" y="502"/>
                    </a:lnTo>
                    <a:lnTo>
                      <a:pt x="33" y="502"/>
                    </a:lnTo>
                    <a:lnTo>
                      <a:pt x="32" y="502"/>
                    </a:lnTo>
                    <a:lnTo>
                      <a:pt x="32" y="505"/>
                    </a:lnTo>
                    <a:lnTo>
                      <a:pt x="30" y="502"/>
                    </a:lnTo>
                    <a:lnTo>
                      <a:pt x="25" y="502"/>
                    </a:lnTo>
                    <a:lnTo>
                      <a:pt x="24" y="506"/>
                    </a:lnTo>
                    <a:lnTo>
                      <a:pt x="23" y="505"/>
                    </a:lnTo>
                    <a:lnTo>
                      <a:pt x="22" y="506"/>
                    </a:lnTo>
                    <a:lnTo>
                      <a:pt x="23" y="507"/>
                    </a:lnTo>
                    <a:lnTo>
                      <a:pt x="21" y="506"/>
                    </a:lnTo>
                    <a:lnTo>
                      <a:pt x="23" y="508"/>
                    </a:lnTo>
                    <a:lnTo>
                      <a:pt x="21" y="508"/>
                    </a:lnTo>
                    <a:lnTo>
                      <a:pt x="19" y="509"/>
                    </a:lnTo>
                    <a:lnTo>
                      <a:pt x="18" y="507"/>
                    </a:lnTo>
                    <a:lnTo>
                      <a:pt x="17" y="507"/>
                    </a:lnTo>
                    <a:lnTo>
                      <a:pt x="17" y="510"/>
                    </a:lnTo>
                    <a:lnTo>
                      <a:pt x="15" y="507"/>
                    </a:lnTo>
                    <a:lnTo>
                      <a:pt x="16" y="509"/>
                    </a:lnTo>
                    <a:lnTo>
                      <a:pt x="14" y="507"/>
                    </a:lnTo>
                    <a:lnTo>
                      <a:pt x="13" y="506"/>
                    </a:lnTo>
                    <a:lnTo>
                      <a:pt x="11" y="507"/>
                    </a:lnTo>
                    <a:lnTo>
                      <a:pt x="11" y="506"/>
                    </a:lnTo>
                    <a:lnTo>
                      <a:pt x="10" y="507"/>
                    </a:lnTo>
                    <a:lnTo>
                      <a:pt x="10" y="505"/>
                    </a:lnTo>
                    <a:lnTo>
                      <a:pt x="8" y="503"/>
                    </a:lnTo>
                    <a:lnTo>
                      <a:pt x="8" y="505"/>
                    </a:lnTo>
                    <a:lnTo>
                      <a:pt x="8" y="501"/>
                    </a:lnTo>
                    <a:lnTo>
                      <a:pt x="6" y="503"/>
                    </a:lnTo>
                    <a:lnTo>
                      <a:pt x="6" y="501"/>
                    </a:lnTo>
                    <a:lnTo>
                      <a:pt x="4" y="500"/>
                    </a:lnTo>
                    <a:lnTo>
                      <a:pt x="1" y="501"/>
                    </a:lnTo>
                    <a:lnTo>
                      <a:pt x="0" y="501"/>
                    </a:lnTo>
                    <a:lnTo>
                      <a:pt x="0" y="5"/>
                    </a:lnTo>
                    <a:lnTo>
                      <a:pt x="4" y="3"/>
                    </a:lnTo>
                    <a:lnTo>
                      <a:pt x="5" y="5"/>
                    </a:lnTo>
                    <a:lnTo>
                      <a:pt x="8" y="4"/>
                    </a:lnTo>
                    <a:lnTo>
                      <a:pt x="7" y="5"/>
                    </a:lnTo>
                    <a:lnTo>
                      <a:pt x="9" y="5"/>
                    </a:lnTo>
                    <a:lnTo>
                      <a:pt x="9" y="4"/>
                    </a:lnTo>
                    <a:lnTo>
                      <a:pt x="10" y="5"/>
                    </a:lnTo>
                    <a:lnTo>
                      <a:pt x="11" y="8"/>
                    </a:lnTo>
                    <a:lnTo>
                      <a:pt x="13" y="8"/>
                    </a:lnTo>
                    <a:lnTo>
                      <a:pt x="15" y="7"/>
                    </a:lnTo>
                    <a:lnTo>
                      <a:pt x="15" y="9"/>
                    </a:lnTo>
                    <a:lnTo>
                      <a:pt x="16" y="8"/>
                    </a:lnTo>
                    <a:lnTo>
                      <a:pt x="16" y="10"/>
                    </a:lnTo>
                    <a:lnTo>
                      <a:pt x="17" y="9"/>
                    </a:lnTo>
                    <a:lnTo>
                      <a:pt x="18" y="10"/>
                    </a:lnTo>
                    <a:lnTo>
                      <a:pt x="17" y="6"/>
                    </a:lnTo>
                    <a:lnTo>
                      <a:pt x="19" y="9"/>
                    </a:lnTo>
                    <a:lnTo>
                      <a:pt x="19" y="8"/>
                    </a:lnTo>
                    <a:lnTo>
                      <a:pt x="21" y="10"/>
                    </a:lnTo>
                    <a:lnTo>
                      <a:pt x="23" y="12"/>
                    </a:lnTo>
                    <a:lnTo>
                      <a:pt x="22" y="9"/>
                    </a:lnTo>
                    <a:lnTo>
                      <a:pt x="22" y="6"/>
                    </a:lnTo>
                    <a:lnTo>
                      <a:pt x="23" y="8"/>
                    </a:lnTo>
                    <a:lnTo>
                      <a:pt x="23" y="8"/>
                    </a:lnTo>
                    <a:lnTo>
                      <a:pt x="25" y="8"/>
                    </a:lnTo>
                    <a:lnTo>
                      <a:pt x="23" y="5"/>
                    </a:lnTo>
                    <a:lnTo>
                      <a:pt x="25" y="7"/>
                    </a:lnTo>
                    <a:lnTo>
                      <a:pt x="26" y="5"/>
                    </a:lnTo>
                    <a:lnTo>
                      <a:pt x="28" y="5"/>
                    </a:lnTo>
                    <a:lnTo>
                      <a:pt x="27" y="4"/>
                    </a:lnTo>
                    <a:lnTo>
                      <a:pt x="30" y="3"/>
                    </a:lnTo>
                    <a:lnTo>
                      <a:pt x="31" y="5"/>
                    </a:lnTo>
                    <a:lnTo>
                      <a:pt x="32" y="5"/>
                    </a:lnTo>
                    <a:lnTo>
                      <a:pt x="32" y="3"/>
                    </a:lnTo>
                    <a:lnTo>
                      <a:pt x="33" y="5"/>
                    </a:lnTo>
                    <a:lnTo>
                      <a:pt x="36" y="4"/>
                    </a:lnTo>
                    <a:lnTo>
                      <a:pt x="36" y="6"/>
                    </a:lnTo>
                    <a:lnTo>
                      <a:pt x="38" y="5"/>
                    </a:lnTo>
                    <a:lnTo>
                      <a:pt x="38" y="6"/>
                    </a:lnTo>
                    <a:lnTo>
                      <a:pt x="40" y="8"/>
                    </a:lnTo>
                    <a:lnTo>
                      <a:pt x="40" y="5"/>
                    </a:lnTo>
                    <a:lnTo>
                      <a:pt x="42" y="7"/>
                    </a:lnTo>
                    <a:lnTo>
                      <a:pt x="46" y="6"/>
                    </a:lnTo>
                    <a:lnTo>
                      <a:pt x="49" y="7"/>
                    </a:lnTo>
                    <a:lnTo>
                      <a:pt x="50" y="6"/>
                    </a:lnTo>
                    <a:lnTo>
                      <a:pt x="52" y="6"/>
                    </a:lnTo>
                    <a:lnTo>
                      <a:pt x="52" y="7"/>
                    </a:lnTo>
                    <a:lnTo>
                      <a:pt x="53" y="8"/>
                    </a:lnTo>
                    <a:lnTo>
                      <a:pt x="57" y="8"/>
                    </a:lnTo>
                    <a:lnTo>
                      <a:pt x="57" y="9"/>
                    </a:lnTo>
                    <a:lnTo>
                      <a:pt x="57" y="8"/>
                    </a:lnTo>
                    <a:lnTo>
                      <a:pt x="56" y="6"/>
                    </a:lnTo>
                    <a:lnTo>
                      <a:pt x="58" y="8"/>
                    </a:lnTo>
                    <a:lnTo>
                      <a:pt x="58" y="6"/>
                    </a:lnTo>
                    <a:lnTo>
                      <a:pt x="60" y="12"/>
                    </a:lnTo>
                    <a:lnTo>
                      <a:pt x="61" y="10"/>
                    </a:lnTo>
                    <a:lnTo>
                      <a:pt x="61" y="8"/>
                    </a:lnTo>
                    <a:lnTo>
                      <a:pt x="64" y="10"/>
                    </a:lnTo>
                    <a:lnTo>
                      <a:pt x="65" y="8"/>
                    </a:lnTo>
                    <a:lnTo>
                      <a:pt x="69" y="10"/>
                    </a:lnTo>
                    <a:lnTo>
                      <a:pt x="68" y="9"/>
                    </a:lnTo>
                    <a:lnTo>
                      <a:pt x="68" y="8"/>
                    </a:lnTo>
                    <a:lnTo>
                      <a:pt x="68" y="8"/>
                    </a:lnTo>
                    <a:lnTo>
                      <a:pt x="75" y="10"/>
                    </a:lnTo>
                    <a:lnTo>
                      <a:pt x="75" y="5"/>
                    </a:lnTo>
                    <a:lnTo>
                      <a:pt x="78" y="10"/>
                    </a:lnTo>
                    <a:lnTo>
                      <a:pt x="78" y="7"/>
                    </a:lnTo>
                    <a:lnTo>
                      <a:pt x="81" y="7"/>
                    </a:lnTo>
                    <a:lnTo>
                      <a:pt x="84" y="13"/>
                    </a:lnTo>
                    <a:lnTo>
                      <a:pt x="84" y="16"/>
                    </a:lnTo>
                    <a:lnTo>
                      <a:pt x="86" y="16"/>
                    </a:lnTo>
                    <a:lnTo>
                      <a:pt x="86" y="16"/>
                    </a:lnTo>
                    <a:lnTo>
                      <a:pt x="86" y="15"/>
                    </a:lnTo>
                    <a:lnTo>
                      <a:pt x="86" y="16"/>
                    </a:lnTo>
                    <a:lnTo>
                      <a:pt x="89" y="15"/>
                    </a:lnTo>
                    <a:lnTo>
                      <a:pt x="89" y="15"/>
                    </a:lnTo>
                    <a:lnTo>
                      <a:pt x="89" y="14"/>
                    </a:lnTo>
                    <a:lnTo>
                      <a:pt x="89" y="15"/>
                    </a:lnTo>
                    <a:lnTo>
                      <a:pt x="89" y="12"/>
                    </a:lnTo>
                    <a:lnTo>
                      <a:pt x="91" y="17"/>
                    </a:lnTo>
                    <a:lnTo>
                      <a:pt x="91" y="15"/>
                    </a:lnTo>
                    <a:lnTo>
                      <a:pt x="92" y="15"/>
                    </a:lnTo>
                    <a:lnTo>
                      <a:pt x="93" y="12"/>
                    </a:lnTo>
                    <a:lnTo>
                      <a:pt x="93" y="13"/>
                    </a:lnTo>
                    <a:lnTo>
                      <a:pt x="94" y="13"/>
                    </a:lnTo>
                    <a:lnTo>
                      <a:pt x="94" y="12"/>
                    </a:lnTo>
                    <a:lnTo>
                      <a:pt x="96" y="14"/>
                    </a:lnTo>
                    <a:lnTo>
                      <a:pt x="97" y="13"/>
                    </a:lnTo>
                    <a:lnTo>
                      <a:pt x="96" y="10"/>
                    </a:lnTo>
                    <a:lnTo>
                      <a:pt x="97" y="12"/>
                    </a:lnTo>
                    <a:lnTo>
                      <a:pt x="97" y="10"/>
                    </a:lnTo>
                    <a:lnTo>
                      <a:pt x="98" y="9"/>
                    </a:lnTo>
                    <a:lnTo>
                      <a:pt x="97" y="9"/>
                    </a:lnTo>
                    <a:lnTo>
                      <a:pt x="98" y="8"/>
                    </a:lnTo>
                    <a:lnTo>
                      <a:pt x="99" y="5"/>
                    </a:lnTo>
                    <a:lnTo>
                      <a:pt x="99" y="5"/>
                    </a:lnTo>
                    <a:lnTo>
                      <a:pt x="100" y="6"/>
                    </a:lnTo>
                    <a:lnTo>
                      <a:pt x="101" y="6"/>
                    </a:lnTo>
                    <a:lnTo>
                      <a:pt x="99" y="5"/>
                    </a:lnTo>
                    <a:lnTo>
                      <a:pt x="99" y="5"/>
                    </a:lnTo>
                    <a:lnTo>
                      <a:pt x="99" y="5"/>
                    </a:lnTo>
                    <a:lnTo>
                      <a:pt x="94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E20074"/>
                  </a:buClr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0" cap="none" spc="0" normalizeH="0" baseline="0" noProof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79" name="Freeform 144"/>
              <p:cNvSpPr>
                <a:spLocks/>
              </p:cNvSpPr>
              <p:nvPr/>
            </p:nvSpPr>
            <p:spPr bwMode="auto">
              <a:xfrm>
                <a:off x="11731626" y="552451"/>
                <a:ext cx="187325" cy="822325"/>
              </a:xfrm>
              <a:custGeom>
                <a:avLst/>
                <a:gdLst>
                  <a:gd name="T0" fmla="*/ 12 w 118"/>
                  <a:gd name="T1" fmla="*/ 8 h 518"/>
                  <a:gd name="T2" fmla="*/ 21 w 118"/>
                  <a:gd name="T3" fmla="*/ 13 h 518"/>
                  <a:gd name="T4" fmla="*/ 25 w 118"/>
                  <a:gd name="T5" fmla="*/ 12 h 518"/>
                  <a:gd name="T6" fmla="*/ 32 w 118"/>
                  <a:gd name="T7" fmla="*/ 16 h 518"/>
                  <a:gd name="T8" fmla="*/ 38 w 118"/>
                  <a:gd name="T9" fmla="*/ 18 h 518"/>
                  <a:gd name="T10" fmla="*/ 48 w 118"/>
                  <a:gd name="T11" fmla="*/ 28 h 518"/>
                  <a:gd name="T12" fmla="*/ 54 w 118"/>
                  <a:gd name="T13" fmla="*/ 24 h 518"/>
                  <a:gd name="T14" fmla="*/ 59 w 118"/>
                  <a:gd name="T15" fmla="*/ 29 h 518"/>
                  <a:gd name="T16" fmla="*/ 64 w 118"/>
                  <a:gd name="T17" fmla="*/ 28 h 518"/>
                  <a:gd name="T18" fmla="*/ 67 w 118"/>
                  <a:gd name="T19" fmla="*/ 29 h 518"/>
                  <a:gd name="T20" fmla="*/ 71 w 118"/>
                  <a:gd name="T21" fmla="*/ 30 h 518"/>
                  <a:gd name="T22" fmla="*/ 73 w 118"/>
                  <a:gd name="T23" fmla="*/ 28 h 518"/>
                  <a:gd name="T24" fmla="*/ 79 w 118"/>
                  <a:gd name="T25" fmla="*/ 29 h 518"/>
                  <a:gd name="T26" fmla="*/ 84 w 118"/>
                  <a:gd name="T27" fmla="*/ 33 h 518"/>
                  <a:gd name="T28" fmla="*/ 89 w 118"/>
                  <a:gd name="T29" fmla="*/ 38 h 518"/>
                  <a:gd name="T30" fmla="*/ 94 w 118"/>
                  <a:gd name="T31" fmla="*/ 36 h 518"/>
                  <a:gd name="T32" fmla="*/ 100 w 118"/>
                  <a:gd name="T33" fmla="*/ 36 h 518"/>
                  <a:gd name="T34" fmla="*/ 106 w 118"/>
                  <a:gd name="T35" fmla="*/ 33 h 518"/>
                  <a:gd name="T36" fmla="*/ 112 w 118"/>
                  <a:gd name="T37" fmla="*/ 39 h 518"/>
                  <a:gd name="T38" fmla="*/ 117 w 118"/>
                  <a:gd name="T39" fmla="*/ 39 h 518"/>
                  <a:gd name="T40" fmla="*/ 118 w 118"/>
                  <a:gd name="T41" fmla="*/ 507 h 518"/>
                  <a:gd name="T42" fmla="*/ 110 w 118"/>
                  <a:gd name="T43" fmla="*/ 506 h 518"/>
                  <a:gd name="T44" fmla="*/ 105 w 118"/>
                  <a:gd name="T45" fmla="*/ 507 h 518"/>
                  <a:gd name="T46" fmla="*/ 105 w 118"/>
                  <a:gd name="T47" fmla="*/ 506 h 518"/>
                  <a:gd name="T48" fmla="*/ 100 w 118"/>
                  <a:gd name="T49" fmla="*/ 505 h 518"/>
                  <a:gd name="T50" fmla="*/ 99 w 118"/>
                  <a:gd name="T51" fmla="*/ 506 h 518"/>
                  <a:gd name="T52" fmla="*/ 94 w 118"/>
                  <a:gd name="T53" fmla="*/ 506 h 518"/>
                  <a:gd name="T54" fmla="*/ 92 w 118"/>
                  <a:gd name="T55" fmla="*/ 505 h 518"/>
                  <a:gd name="T56" fmla="*/ 88 w 118"/>
                  <a:gd name="T57" fmla="*/ 509 h 518"/>
                  <a:gd name="T58" fmla="*/ 84 w 118"/>
                  <a:gd name="T59" fmla="*/ 504 h 518"/>
                  <a:gd name="T60" fmla="*/ 82 w 118"/>
                  <a:gd name="T61" fmla="*/ 503 h 518"/>
                  <a:gd name="T62" fmla="*/ 79 w 118"/>
                  <a:gd name="T63" fmla="*/ 501 h 518"/>
                  <a:gd name="T64" fmla="*/ 73 w 118"/>
                  <a:gd name="T65" fmla="*/ 506 h 518"/>
                  <a:gd name="T66" fmla="*/ 65 w 118"/>
                  <a:gd name="T67" fmla="*/ 512 h 518"/>
                  <a:gd name="T68" fmla="*/ 59 w 118"/>
                  <a:gd name="T69" fmla="*/ 511 h 518"/>
                  <a:gd name="T70" fmla="*/ 57 w 118"/>
                  <a:gd name="T71" fmla="*/ 512 h 518"/>
                  <a:gd name="T72" fmla="*/ 50 w 118"/>
                  <a:gd name="T73" fmla="*/ 510 h 518"/>
                  <a:gd name="T74" fmla="*/ 47 w 118"/>
                  <a:gd name="T75" fmla="*/ 513 h 518"/>
                  <a:gd name="T76" fmla="*/ 42 w 118"/>
                  <a:gd name="T77" fmla="*/ 507 h 518"/>
                  <a:gd name="T78" fmla="*/ 40 w 118"/>
                  <a:gd name="T79" fmla="*/ 516 h 518"/>
                  <a:gd name="T80" fmla="*/ 37 w 118"/>
                  <a:gd name="T81" fmla="*/ 515 h 518"/>
                  <a:gd name="T82" fmla="*/ 31 w 118"/>
                  <a:gd name="T83" fmla="*/ 515 h 518"/>
                  <a:gd name="T84" fmla="*/ 23 w 118"/>
                  <a:gd name="T85" fmla="*/ 506 h 518"/>
                  <a:gd name="T86" fmla="*/ 21 w 118"/>
                  <a:gd name="T87" fmla="*/ 509 h 518"/>
                  <a:gd name="T88" fmla="*/ 17 w 118"/>
                  <a:gd name="T89" fmla="*/ 511 h 518"/>
                  <a:gd name="T90" fmla="*/ 9 w 118"/>
                  <a:gd name="T91" fmla="*/ 509 h 518"/>
                  <a:gd name="T92" fmla="*/ 8 w 118"/>
                  <a:gd name="T93" fmla="*/ 507 h 518"/>
                  <a:gd name="T94" fmla="*/ 2 w 118"/>
                  <a:gd name="T95" fmla="*/ 509 h 518"/>
                  <a:gd name="T96" fmla="*/ 6 w 118"/>
                  <a:gd name="T97" fmla="*/ 6 h 518"/>
                  <a:gd name="T98" fmla="*/ 7 w 118"/>
                  <a:gd name="T99" fmla="*/ 5 h 5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18" h="518">
                    <a:moveTo>
                      <a:pt x="4" y="0"/>
                    </a:moveTo>
                    <a:lnTo>
                      <a:pt x="12" y="8"/>
                    </a:lnTo>
                    <a:lnTo>
                      <a:pt x="12" y="9"/>
                    </a:lnTo>
                    <a:lnTo>
                      <a:pt x="12" y="8"/>
                    </a:lnTo>
                    <a:lnTo>
                      <a:pt x="20" y="12"/>
                    </a:lnTo>
                    <a:lnTo>
                      <a:pt x="18" y="13"/>
                    </a:lnTo>
                    <a:lnTo>
                      <a:pt x="21" y="12"/>
                    </a:lnTo>
                    <a:lnTo>
                      <a:pt x="21" y="13"/>
                    </a:lnTo>
                    <a:lnTo>
                      <a:pt x="22" y="13"/>
                    </a:lnTo>
                    <a:lnTo>
                      <a:pt x="23" y="11"/>
                    </a:lnTo>
                    <a:lnTo>
                      <a:pt x="23" y="12"/>
                    </a:lnTo>
                    <a:lnTo>
                      <a:pt x="25" y="12"/>
                    </a:lnTo>
                    <a:lnTo>
                      <a:pt x="24" y="11"/>
                    </a:lnTo>
                    <a:lnTo>
                      <a:pt x="27" y="11"/>
                    </a:lnTo>
                    <a:lnTo>
                      <a:pt x="32" y="17"/>
                    </a:lnTo>
                    <a:lnTo>
                      <a:pt x="32" y="16"/>
                    </a:lnTo>
                    <a:lnTo>
                      <a:pt x="33" y="18"/>
                    </a:lnTo>
                    <a:lnTo>
                      <a:pt x="33" y="19"/>
                    </a:lnTo>
                    <a:lnTo>
                      <a:pt x="37" y="20"/>
                    </a:lnTo>
                    <a:lnTo>
                      <a:pt x="38" y="18"/>
                    </a:lnTo>
                    <a:lnTo>
                      <a:pt x="40" y="21"/>
                    </a:lnTo>
                    <a:lnTo>
                      <a:pt x="41" y="19"/>
                    </a:lnTo>
                    <a:lnTo>
                      <a:pt x="42" y="21"/>
                    </a:lnTo>
                    <a:lnTo>
                      <a:pt x="48" y="28"/>
                    </a:lnTo>
                    <a:lnTo>
                      <a:pt x="51" y="26"/>
                    </a:lnTo>
                    <a:lnTo>
                      <a:pt x="51" y="24"/>
                    </a:lnTo>
                    <a:lnTo>
                      <a:pt x="52" y="27"/>
                    </a:lnTo>
                    <a:lnTo>
                      <a:pt x="54" y="24"/>
                    </a:lnTo>
                    <a:lnTo>
                      <a:pt x="55" y="28"/>
                    </a:lnTo>
                    <a:lnTo>
                      <a:pt x="55" y="25"/>
                    </a:lnTo>
                    <a:lnTo>
                      <a:pt x="58" y="29"/>
                    </a:lnTo>
                    <a:lnTo>
                      <a:pt x="59" y="29"/>
                    </a:lnTo>
                    <a:lnTo>
                      <a:pt x="59" y="31"/>
                    </a:lnTo>
                    <a:lnTo>
                      <a:pt x="60" y="31"/>
                    </a:lnTo>
                    <a:lnTo>
                      <a:pt x="60" y="27"/>
                    </a:lnTo>
                    <a:lnTo>
                      <a:pt x="64" y="28"/>
                    </a:lnTo>
                    <a:lnTo>
                      <a:pt x="64" y="30"/>
                    </a:lnTo>
                    <a:lnTo>
                      <a:pt x="65" y="31"/>
                    </a:lnTo>
                    <a:lnTo>
                      <a:pt x="65" y="29"/>
                    </a:lnTo>
                    <a:lnTo>
                      <a:pt x="67" y="29"/>
                    </a:lnTo>
                    <a:lnTo>
                      <a:pt x="68" y="30"/>
                    </a:lnTo>
                    <a:lnTo>
                      <a:pt x="70" y="27"/>
                    </a:lnTo>
                    <a:lnTo>
                      <a:pt x="70" y="28"/>
                    </a:lnTo>
                    <a:lnTo>
                      <a:pt x="71" y="30"/>
                    </a:lnTo>
                    <a:lnTo>
                      <a:pt x="71" y="28"/>
                    </a:lnTo>
                    <a:lnTo>
                      <a:pt x="72" y="30"/>
                    </a:lnTo>
                    <a:lnTo>
                      <a:pt x="72" y="28"/>
                    </a:lnTo>
                    <a:lnTo>
                      <a:pt x="73" y="28"/>
                    </a:lnTo>
                    <a:lnTo>
                      <a:pt x="75" y="30"/>
                    </a:lnTo>
                    <a:lnTo>
                      <a:pt x="75" y="28"/>
                    </a:lnTo>
                    <a:lnTo>
                      <a:pt x="77" y="30"/>
                    </a:lnTo>
                    <a:lnTo>
                      <a:pt x="79" y="29"/>
                    </a:lnTo>
                    <a:lnTo>
                      <a:pt x="80" y="33"/>
                    </a:lnTo>
                    <a:lnTo>
                      <a:pt x="81" y="30"/>
                    </a:lnTo>
                    <a:lnTo>
                      <a:pt x="82" y="33"/>
                    </a:lnTo>
                    <a:lnTo>
                      <a:pt x="84" y="33"/>
                    </a:lnTo>
                    <a:lnTo>
                      <a:pt x="82" y="30"/>
                    </a:lnTo>
                    <a:lnTo>
                      <a:pt x="83" y="29"/>
                    </a:lnTo>
                    <a:lnTo>
                      <a:pt x="88" y="31"/>
                    </a:lnTo>
                    <a:lnTo>
                      <a:pt x="89" y="38"/>
                    </a:lnTo>
                    <a:lnTo>
                      <a:pt x="89" y="31"/>
                    </a:lnTo>
                    <a:lnTo>
                      <a:pt x="92" y="37"/>
                    </a:lnTo>
                    <a:lnTo>
                      <a:pt x="93" y="31"/>
                    </a:lnTo>
                    <a:lnTo>
                      <a:pt x="94" y="36"/>
                    </a:lnTo>
                    <a:lnTo>
                      <a:pt x="97" y="34"/>
                    </a:lnTo>
                    <a:lnTo>
                      <a:pt x="99" y="36"/>
                    </a:lnTo>
                    <a:lnTo>
                      <a:pt x="98" y="30"/>
                    </a:lnTo>
                    <a:lnTo>
                      <a:pt x="100" y="36"/>
                    </a:lnTo>
                    <a:lnTo>
                      <a:pt x="102" y="36"/>
                    </a:lnTo>
                    <a:lnTo>
                      <a:pt x="101" y="33"/>
                    </a:lnTo>
                    <a:lnTo>
                      <a:pt x="105" y="34"/>
                    </a:lnTo>
                    <a:lnTo>
                      <a:pt x="106" y="33"/>
                    </a:lnTo>
                    <a:lnTo>
                      <a:pt x="109" y="37"/>
                    </a:lnTo>
                    <a:lnTo>
                      <a:pt x="109" y="35"/>
                    </a:lnTo>
                    <a:lnTo>
                      <a:pt x="112" y="36"/>
                    </a:lnTo>
                    <a:lnTo>
                      <a:pt x="112" y="39"/>
                    </a:lnTo>
                    <a:lnTo>
                      <a:pt x="113" y="39"/>
                    </a:lnTo>
                    <a:lnTo>
                      <a:pt x="113" y="37"/>
                    </a:lnTo>
                    <a:lnTo>
                      <a:pt x="115" y="41"/>
                    </a:lnTo>
                    <a:lnTo>
                      <a:pt x="117" y="39"/>
                    </a:lnTo>
                    <a:lnTo>
                      <a:pt x="115" y="33"/>
                    </a:lnTo>
                    <a:lnTo>
                      <a:pt x="116" y="33"/>
                    </a:lnTo>
                    <a:lnTo>
                      <a:pt x="118" y="37"/>
                    </a:lnTo>
                    <a:lnTo>
                      <a:pt x="118" y="507"/>
                    </a:lnTo>
                    <a:lnTo>
                      <a:pt x="117" y="506"/>
                    </a:lnTo>
                    <a:lnTo>
                      <a:pt x="114" y="511"/>
                    </a:lnTo>
                    <a:lnTo>
                      <a:pt x="112" y="507"/>
                    </a:lnTo>
                    <a:lnTo>
                      <a:pt x="110" y="506"/>
                    </a:lnTo>
                    <a:lnTo>
                      <a:pt x="109" y="509"/>
                    </a:lnTo>
                    <a:lnTo>
                      <a:pt x="107" y="505"/>
                    </a:lnTo>
                    <a:lnTo>
                      <a:pt x="106" y="505"/>
                    </a:lnTo>
                    <a:lnTo>
                      <a:pt x="105" y="507"/>
                    </a:lnTo>
                    <a:lnTo>
                      <a:pt x="105" y="509"/>
                    </a:lnTo>
                    <a:lnTo>
                      <a:pt x="105" y="509"/>
                    </a:lnTo>
                    <a:lnTo>
                      <a:pt x="105" y="507"/>
                    </a:lnTo>
                    <a:lnTo>
                      <a:pt x="105" y="506"/>
                    </a:lnTo>
                    <a:lnTo>
                      <a:pt x="105" y="505"/>
                    </a:lnTo>
                    <a:lnTo>
                      <a:pt x="105" y="504"/>
                    </a:lnTo>
                    <a:lnTo>
                      <a:pt x="100" y="504"/>
                    </a:lnTo>
                    <a:lnTo>
                      <a:pt x="100" y="505"/>
                    </a:lnTo>
                    <a:lnTo>
                      <a:pt x="99" y="506"/>
                    </a:lnTo>
                    <a:lnTo>
                      <a:pt x="98" y="506"/>
                    </a:lnTo>
                    <a:lnTo>
                      <a:pt x="99" y="506"/>
                    </a:lnTo>
                    <a:lnTo>
                      <a:pt x="99" y="506"/>
                    </a:lnTo>
                    <a:lnTo>
                      <a:pt x="101" y="506"/>
                    </a:lnTo>
                    <a:lnTo>
                      <a:pt x="101" y="509"/>
                    </a:lnTo>
                    <a:lnTo>
                      <a:pt x="96" y="505"/>
                    </a:lnTo>
                    <a:lnTo>
                      <a:pt x="94" y="506"/>
                    </a:lnTo>
                    <a:lnTo>
                      <a:pt x="94" y="504"/>
                    </a:lnTo>
                    <a:lnTo>
                      <a:pt x="93" y="507"/>
                    </a:lnTo>
                    <a:lnTo>
                      <a:pt x="92" y="507"/>
                    </a:lnTo>
                    <a:lnTo>
                      <a:pt x="92" y="505"/>
                    </a:lnTo>
                    <a:lnTo>
                      <a:pt x="91" y="507"/>
                    </a:lnTo>
                    <a:lnTo>
                      <a:pt x="91" y="506"/>
                    </a:lnTo>
                    <a:lnTo>
                      <a:pt x="91" y="510"/>
                    </a:lnTo>
                    <a:lnTo>
                      <a:pt x="88" y="509"/>
                    </a:lnTo>
                    <a:lnTo>
                      <a:pt x="88" y="505"/>
                    </a:lnTo>
                    <a:lnTo>
                      <a:pt x="87" y="506"/>
                    </a:lnTo>
                    <a:lnTo>
                      <a:pt x="85" y="503"/>
                    </a:lnTo>
                    <a:lnTo>
                      <a:pt x="84" y="504"/>
                    </a:lnTo>
                    <a:lnTo>
                      <a:pt x="84" y="501"/>
                    </a:lnTo>
                    <a:lnTo>
                      <a:pt x="82" y="501"/>
                    </a:lnTo>
                    <a:lnTo>
                      <a:pt x="83" y="503"/>
                    </a:lnTo>
                    <a:lnTo>
                      <a:pt x="82" y="503"/>
                    </a:lnTo>
                    <a:lnTo>
                      <a:pt x="81" y="501"/>
                    </a:lnTo>
                    <a:lnTo>
                      <a:pt x="80" y="501"/>
                    </a:lnTo>
                    <a:lnTo>
                      <a:pt x="79" y="502"/>
                    </a:lnTo>
                    <a:lnTo>
                      <a:pt x="79" y="501"/>
                    </a:lnTo>
                    <a:lnTo>
                      <a:pt x="77" y="501"/>
                    </a:lnTo>
                    <a:lnTo>
                      <a:pt x="77" y="503"/>
                    </a:lnTo>
                    <a:lnTo>
                      <a:pt x="76" y="502"/>
                    </a:lnTo>
                    <a:lnTo>
                      <a:pt x="73" y="506"/>
                    </a:lnTo>
                    <a:lnTo>
                      <a:pt x="74" y="502"/>
                    </a:lnTo>
                    <a:lnTo>
                      <a:pt x="68" y="511"/>
                    </a:lnTo>
                    <a:lnTo>
                      <a:pt x="67" y="512"/>
                    </a:lnTo>
                    <a:lnTo>
                      <a:pt x="65" y="512"/>
                    </a:lnTo>
                    <a:lnTo>
                      <a:pt x="62" y="515"/>
                    </a:lnTo>
                    <a:lnTo>
                      <a:pt x="62" y="512"/>
                    </a:lnTo>
                    <a:lnTo>
                      <a:pt x="59" y="512"/>
                    </a:lnTo>
                    <a:lnTo>
                      <a:pt x="59" y="511"/>
                    </a:lnTo>
                    <a:lnTo>
                      <a:pt x="59" y="512"/>
                    </a:lnTo>
                    <a:lnTo>
                      <a:pt x="59" y="512"/>
                    </a:lnTo>
                    <a:lnTo>
                      <a:pt x="58" y="514"/>
                    </a:lnTo>
                    <a:lnTo>
                      <a:pt x="57" y="512"/>
                    </a:lnTo>
                    <a:lnTo>
                      <a:pt x="55" y="513"/>
                    </a:lnTo>
                    <a:lnTo>
                      <a:pt x="54" y="512"/>
                    </a:lnTo>
                    <a:lnTo>
                      <a:pt x="52" y="510"/>
                    </a:lnTo>
                    <a:lnTo>
                      <a:pt x="50" y="510"/>
                    </a:lnTo>
                    <a:lnTo>
                      <a:pt x="47" y="507"/>
                    </a:lnTo>
                    <a:lnTo>
                      <a:pt x="48" y="510"/>
                    </a:lnTo>
                    <a:lnTo>
                      <a:pt x="46" y="509"/>
                    </a:lnTo>
                    <a:lnTo>
                      <a:pt x="47" y="513"/>
                    </a:lnTo>
                    <a:lnTo>
                      <a:pt x="45" y="509"/>
                    </a:lnTo>
                    <a:lnTo>
                      <a:pt x="43" y="510"/>
                    </a:lnTo>
                    <a:lnTo>
                      <a:pt x="43" y="509"/>
                    </a:lnTo>
                    <a:lnTo>
                      <a:pt x="42" y="507"/>
                    </a:lnTo>
                    <a:lnTo>
                      <a:pt x="42" y="513"/>
                    </a:lnTo>
                    <a:lnTo>
                      <a:pt x="42" y="509"/>
                    </a:lnTo>
                    <a:lnTo>
                      <a:pt x="42" y="515"/>
                    </a:lnTo>
                    <a:lnTo>
                      <a:pt x="40" y="516"/>
                    </a:lnTo>
                    <a:lnTo>
                      <a:pt x="39" y="516"/>
                    </a:lnTo>
                    <a:lnTo>
                      <a:pt x="37" y="515"/>
                    </a:lnTo>
                    <a:lnTo>
                      <a:pt x="37" y="514"/>
                    </a:lnTo>
                    <a:lnTo>
                      <a:pt x="37" y="515"/>
                    </a:lnTo>
                    <a:lnTo>
                      <a:pt x="37" y="515"/>
                    </a:lnTo>
                    <a:lnTo>
                      <a:pt x="37" y="518"/>
                    </a:lnTo>
                    <a:lnTo>
                      <a:pt x="35" y="516"/>
                    </a:lnTo>
                    <a:lnTo>
                      <a:pt x="31" y="515"/>
                    </a:lnTo>
                    <a:lnTo>
                      <a:pt x="31" y="511"/>
                    </a:lnTo>
                    <a:lnTo>
                      <a:pt x="25" y="510"/>
                    </a:lnTo>
                    <a:lnTo>
                      <a:pt x="25" y="512"/>
                    </a:lnTo>
                    <a:lnTo>
                      <a:pt x="23" y="506"/>
                    </a:lnTo>
                    <a:lnTo>
                      <a:pt x="23" y="507"/>
                    </a:lnTo>
                    <a:lnTo>
                      <a:pt x="21" y="507"/>
                    </a:lnTo>
                    <a:lnTo>
                      <a:pt x="22" y="510"/>
                    </a:lnTo>
                    <a:lnTo>
                      <a:pt x="21" y="509"/>
                    </a:lnTo>
                    <a:lnTo>
                      <a:pt x="21" y="511"/>
                    </a:lnTo>
                    <a:lnTo>
                      <a:pt x="20" y="509"/>
                    </a:lnTo>
                    <a:lnTo>
                      <a:pt x="17" y="509"/>
                    </a:lnTo>
                    <a:lnTo>
                      <a:pt x="17" y="511"/>
                    </a:lnTo>
                    <a:lnTo>
                      <a:pt x="16" y="509"/>
                    </a:lnTo>
                    <a:lnTo>
                      <a:pt x="14" y="511"/>
                    </a:lnTo>
                    <a:lnTo>
                      <a:pt x="10" y="506"/>
                    </a:lnTo>
                    <a:lnTo>
                      <a:pt x="9" y="509"/>
                    </a:lnTo>
                    <a:lnTo>
                      <a:pt x="8" y="507"/>
                    </a:lnTo>
                    <a:lnTo>
                      <a:pt x="8" y="506"/>
                    </a:lnTo>
                    <a:lnTo>
                      <a:pt x="7" y="506"/>
                    </a:lnTo>
                    <a:lnTo>
                      <a:pt x="8" y="507"/>
                    </a:lnTo>
                    <a:lnTo>
                      <a:pt x="8" y="509"/>
                    </a:lnTo>
                    <a:lnTo>
                      <a:pt x="6" y="506"/>
                    </a:lnTo>
                    <a:lnTo>
                      <a:pt x="5" y="512"/>
                    </a:lnTo>
                    <a:lnTo>
                      <a:pt x="2" y="509"/>
                    </a:lnTo>
                    <a:lnTo>
                      <a:pt x="1" y="511"/>
                    </a:lnTo>
                    <a:lnTo>
                      <a:pt x="0" y="511"/>
                    </a:lnTo>
                    <a:lnTo>
                      <a:pt x="0" y="4"/>
                    </a:lnTo>
                    <a:lnTo>
                      <a:pt x="6" y="6"/>
                    </a:lnTo>
                    <a:lnTo>
                      <a:pt x="8" y="9"/>
                    </a:lnTo>
                    <a:lnTo>
                      <a:pt x="8" y="8"/>
                    </a:lnTo>
                    <a:lnTo>
                      <a:pt x="6" y="6"/>
                    </a:lnTo>
                    <a:lnTo>
                      <a:pt x="7" y="5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E20074"/>
                  </a:buClr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0" cap="none" spc="0" normalizeH="0" baseline="0" noProof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0" name="Freeform 145"/>
              <p:cNvSpPr>
                <a:spLocks/>
              </p:cNvSpPr>
              <p:nvPr/>
            </p:nvSpPr>
            <p:spPr bwMode="auto">
              <a:xfrm>
                <a:off x="11918951" y="609601"/>
                <a:ext cx="187325" cy="758825"/>
              </a:xfrm>
              <a:custGeom>
                <a:avLst/>
                <a:gdLst>
                  <a:gd name="T0" fmla="*/ 15 w 118"/>
                  <a:gd name="T1" fmla="*/ 3 h 478"/>
                  <a:gd name="T2" fmla="*/ 21 w 118"/>
                  <a:gd name="T3" fmla="*/ 7 h 478"/>
                  <a:gd name="T4" fmla="*/ 23 w 118"/>
                  <a:gd name="T5" fmla="*/ 6 h 478"/>
                  <a:gd name="T6" fmla="*/ 28 w 118"/>
                  <a:gd name="T7" fmla="*/ 1 h 478"/>
                  <a:gd name="T8" fmla="*/ 29 w 118"/>
                  <a:gd name="T9" fmla="*/ 3 h 478"/>
                  <a:gd name="T10" fmla="*/ 33 w 118"/>
                  <a:gd name="T11" fmla="*/ 5 h 478"/>
                  <a:gd name="T12" fmla="*/ 34 w 118"/>
                  <a:gd name="T13" fmla="*/ 8 h 478"/>
                  <a:gd name="T14" fmla="*/ 37 w 118"/>
                  <a:gd name="T15" fmla="*/ 6 h 478"/>
                  <a:gd name="T16" fmla="*/ 41 w 118"/>
                  <a:gd name="T17" fmla="*/ 3 h 478"/>
                  <a:gd name="T18" fmla="*/ 45 w 118"/>
                  <a:gd name="T19" fmla="*/ 5 h 478"/>
                  <a:gd name="T20" fmla="*/ 47 w 118"/>
                  <a:gd name="T21" fmla="*/ 6 h 478"/>
                  <a:gd name="T22" fmla="*/ 51 w 118"/>
                  <a:gd name="T23" fmla="*/ 5 h 478"/>
                  <a:gd name="T24" fmla="*/ 55 w 118"/>
                  <a:gd name="T25" fmla="*/ 9 h 478"/>
                  <a:gd name="T26" fmla="*/ 58 w 118"/>
                  <a:gd name="T27" fmla="*/ 7 h 478"/>
                  <a:gd name="T28" fmla="*/ 68 w 118"/>
                  <a:gd name="T29" fmla="*/ 3 h 478"/>
                  <a:gd name="T30" fmla="*/ 72 w 118"/>
                  <a:gd name="T31" fmla="*/ 5 h 478"/>
                  <a:gd name="T32" fmla="*/ 76 w 118"/>
                  <a:gd name="T33" fmla="*/ 3 h 478"/>
                  <a:gd name="T34" fmla="*/ 81 w 118"/>
                  <a:gd name="T35" fmla="*/ 6 h 478"/>
                  <a:gd name="T36" fmla="*/ 86 w 118"/>
                  <a:gd name="T37" fmla="*/ 5 h 478"/>
                  <a:gd name="T38" fmla="*/ 90 w 118"/>
                  <a:gd name="T39" fmla="*/ 5 h 478"/>
                  <a:gd name="T40" fmla="*/ 91 w 118"/>
                  <a:gd name="T41" fmla="*/ 6 h 478"/>
                  <a:gd name="T42" fmla="*/ 99 w 118"/>
                  <a:gd name="T43" fmla="*/ 6 h 478"/>
                  <a:gd name="T44" fmla="*/ 105 w 118"/>
                  <a:gd name="T45" fmla="*/ 2 h 478"/>
                  <a:gd name="T46" fmla="*/ 118 w 118"/>
                  <a:gd name="T47" fmla="*/ 6 h 478"/>
                  <a:gd name="T48" fmla="*/ 118 w 118"/>
                  <a:gd name="T49" fmla="*/ 473 h 478"/>
                  <a:gd name="T50" fmla="*/ 108 w 118"/>
                  <a:gd name="T51" fmla="*/ 471 h 478"/>
                  <a:gd name="T52" fmla="*/ 104 w 118"/>
                  <a:gd name="T53" fmla="*/ 473 h 478"/>
                  <a:gd name="T54" fmla="*/ 103 w 118"/>
                  <a:gd name="T55" fmla="*/ 474 h 478"/>
                  <a:gd name="T56" fmla="*/ 92 w 118"/>
                  <a:gd name="T57" fmla="*/ 473 h 478"/>
                  <a:gd name="T58" fmla="*/ 89 w 118"/>
                  <a:gd name="T59" fmla="*/ 468 h 478"/>
                  <a:gd name="T60" fmla="*/ 84 w 118"/>
                  <a:gd name="T61" fmla="*/ 463 h 478"/>
                  <a:gd name="T62" fmla="*/ 82 w 118"/>
                  <a:gd name="T63" fmla="*/ 465 h 478"/>
                  <a:gd name="T64" fmla="*/ 76 w 118"/>
                  <a:gd name="T65" fmla="*/ 468 h 478"/>
                  <a:gd name="T66" fmla="*/ 73 w 118"/>
                  <a:gd name="T67" fmla="*/ 467 h 478"/>
                  <a:gd name="T68" fmla="*/ 64 w 118"/>
                  <a:gd name="T69" fmla="*/ 466 h 478"/>
                  <a:gd name="T70" fmla="*/ 62 w 118"/>
                  <a:gd name="T71" fmla="*/ 468 h 478"/>
                  <a:gd name="T72" fmla="*/ 53 w 118"/>
                  <a:gd name="T73" fmla="*/ 470 h 478"/>
                  <a:gd name="T74" fmla="*/ 50 w 118"/>
                  <a:gd name="T75" fmla="*/ 466 h 478"/>
                  <a:gd name="T76" fmla="*/ 45 w 118"/>
                  <a:gd name="T77" fmla="*/ 463 h 478"/>
                  <a:gd name="T78" fmla="*/ 40 w 118"/>
                  <a:gd name="T79" fmla="*/ 462 h 478"/>
                  <a:gd name="T80" fmla="*/ 38 w 118"/>
                  <a:gd name="T81" fmla="*/ 465 h 478"/>
                  <a:gd name="T82" fmla="*/ 37 w 118"/>
                  <a:gd name="T83" fmla="*/ 465 h 478"/>
                  <a:gd name="T84" fmla="*/ 33 w 118"/>
                  <a:gd name="T85" fmla="*/ 465 h 478"/>
                  <a:gd name="T86" fmla="*/ 30 w 118"/>
                  <a:gd name="T87" fmla="*/ 466 h 478"/>
                  <a:gd name="T88" fmla="*/ 26 w 118"/>
                  <a:gd name="T89" fmla="*/ 466 h 478"/>
                  <a:gd name="T90" fmla="*/ 22 w 118"/>
                  <a:gd name="T91" fmla="*/ 471 h 478"/>
                  <a:gd name="T92" fmla="*/ 17 w 118"/>
                  <a:gd name="T93" fmla="*/ 469 h 478"/>
                  <a:gd name="T94" fmla="*/ 16 w 118"/>
                  <a:gd name="T95" fmla="*/ 478 h 478"/>
                  <a:gd name="T96" fmla="*/ 7 w 118"/>
                  <a:gd name="T97" fmla="*/ 473 h 478"/>
                  <a:gd name="T98" fmla="*/ 4 w 118"/>
                  <a:gd name="T99" fmla="*/ 473 h 478"/>
                  <a:gd name="T100" fmla="*/ 0 w 118"/>
                  <a:gd name="T101" fmla="*/ 1 h 478"/>
                  <a:gd name="T102" fmla="*/ 4 w 118"/>
                  <a:gd name="T103" fmla="*/ 5 h 478"/>
                  <a:gd name="T104" fmla="*/ 5 w 118"/>
                  <a:gd name="T105" fmla="*/ 5 h 478"/>
                  <a:gd name="T106" fmla="*/ 7 w 118"/>
                  <a:gd name="T107" fmla="*/ 0 h 478"/>
                  <a:gd name="T108" fmla="*/ 8 w 118"/>
                  <a:gd name="T109" fmla="*/ 2 h 4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18" h="478">
                    <a:moveTo>
                      <a:pt x="9" y="0"/>
                    </a:moveTo>
                    <a:lnTo>
                      <a:pt x="13" y="6"/>
                    </a:lnTo>
                    <a:lnTo>
                      <a:pt x="15" y="3"/>
                    </a:lnTo>
                    <a:lnTo>
                      <a:pt x="16" y="7"/>
                    </a:lnTo>
                    <a:lnTo>
                      <a:pt x="20" y="9"/>
                    </a:lnTo>
                    <a:lnTo>
                      <a:pt x="21" y="7"/>
                    </a:lnTo>
                    <a:lnTo>
                      <a:pt x="20" y="3"/>
                    </a:lnTo>
                    <a:lnTo>
                      <a:pt x="22" y="6"/>
                    </a:lnTo>
                    <a:lnTo>
                      <a:pt x="23" y="6"/>
                    </a:lnTo>
                    <a:lnTo>
                      <a:pt x="25" y="2"/>
                    </a:lnTo>
                    <a:lnTo>
                      <a:pt x="25" y="5"/>
                    </a:lnTo>
                    <a:lnTo>
                      <a:pt x="28" y="1"/>
                    </a:lnTo>
                    <a:lnTo>
                      <a:pt x="26" y="3"/>
                    </a:lnTo>
                    <a:lnTo>
                      <a:pt x="29" y="6"/>
                    </a:lnTo>
                    <a:lnTo>
                      <a:pt x="29" y="3"/>
                    </a:lnTo>
                    <a:lnTo>
                      <a:pt x="31" y="5"/>
                    </a:lnTo>
                    <a:lnTo>
                      <a:pt x="31" y="7"/>
                    </a:lnTo>
                    <a:lnTo>
                      <a:pt x="33" y="5"/>
                    </a:lnTo>
                    <a:lnTo>
                      <a:pt x="33" y="6"/>
                    </a:lnTo>
                    <a:lnTo>
                      <a:pt x="32" y="7"/>
                    </a:lnTo>
                    <a:lnTo>
                      <a:pt x="34" y="8"/>
                    </a:lnTo>
                    <a:lnTo>
                      <a:pt x="36" y="6"/>
                    </a:lnTo>
                    <a:lnTo>
                      <a:pt x="37" y="7"/>
                    </a:lnTo>
                    <a:lnTo>
                      <a:pt x="37" y="6"/>
                    </a:lnTo>
                    <a:lnTo>
                      <a:pt x="38" y="7"/>
                    </a:lnTo>
                    <a:lnTo>
                      <a:pt x="39" y="5"/>
                    </a:lnTo>
                    <a:lnTo>
                      <a:pt x="41" y="3"/>
                    </a:lnTo>
                    <a:lnTo>
                      <a:pt x="41" y="7"/>
                    </a:lnTo>
                    <a:lnTo>
                      <a:pt x="44" y="5"/>
                    </a:lnTo>
                    <a:lnTo>
                      <a:pt x="45" y="5"/>
                    </a:lnTo>
                    <a:lnTo>
                      <a:pt x="45" y="8"/>
                    </a:lnTo>
                    <a:lnTo>
                      <a:pt x="48" y="8"/>
                    </a:lnTo>
                    <a:lnTo>
                      <a:pt x="47" y="6"/>
                    </a:lnTo>
                    <a:lnTo>
                      <a:pt x="48" y="6"/>
                    </a:lnTo>
                    <a:lnTo>
                      <a:pt x="50" y="8"/>
                    </a:lnTo>
                    <a:lnTo>
                      <a:pt x="51" y="5"/>
                    </a:lnTo>
                    <a:lnTo>
                      <a:pt x="53" y="5"/>
                    </a:lnTo>
                    <a:lnTo>
                      <a:pt x="53" y="8"/>
                    </a:lnTo>
                    <a:lnTo>
                      <a:pt x="55" y="9"/>
                    </a:lnTo>
                    <a:lnTo>
                      <a:pt x="55" y="7"/>
                    </a:lnTo>
                    <a:lnTo>
                      <a:pt x="56" y="8"/>
                    </a:lnTo>
                    <a:lnTo>
                      <a:pt x="58" y="7"/>
                    </a:lnTo>
                    <a:lnTo>
                      <a:pt x="58" y="6"/>
                    </a:lnTo>
                    <a:lnTo>
                      <a:pt x="66" y="3"/>
                    </a:lnTo>
                    <a:lnTo>
                      <a:pt x="68" y="3"/>
                    </a:lnTo>
                    <a:lnTo>
                      <a:pt x="68" y="5"/>
                    </a:lnTo>
                    <a:lnTo>
                      <a:pt x="71" y="3"/>
                    </a:lnTo>
                    <a:lnTo>
                      <a:pt x="72" y="5"/>
                    </a:lnTo>
                    <a:lnTo>
                      <a:pt x="72" y="2"/>
                    </a:lnTo>
                    <a:lnTo>
                      <a:pt x="76" y="5"/>
                    </a:lnTo>
                    <a:lnTo>
                      <a:pt x="76" y="3"/>
                    </a:lnTo>
                    <a:lnTo>
                      <a:pt x="76" y="5"/>
                    </a:lnTo>
                    <a:lnTo>
                      <a:pt x="81" y="5"/>
                    </a:lnTo>
                    <a:lnTo>
                      <a:pt x="81" y="6"/>
                    </a:lnTo>
                    <a:lnTo>
                      <a:pt x="83" y="6"/>
                    </a:lnTo>
                    <a:lnTo>
                      <a:pt x="82" y="6"/>
                    </a:lnTo>
                    <a:lnTo>
                      <a:pt x="86" y="5"/>
                    </a:lnTo>
                    <a:lnTo>
                      <a:pt x="86" y="6"/>
                    </a:lnTo>
                    <a:lnTo>
                      <a:pt x="87" y="5"/>
                    </a:lnTo>
                    <a:lnTo>
                      <a:pt x="90" y="5"/>
                    </a:lnTo>
                    <a:lnTo>
                      <a:pt x="92" y="1"/>
                    </a:lnTo>
                    <a:lnTo>
                      <a:pt x="91" y="5"/>
                    </a:lnTo>
                    <a:lnTo>
                      <a:pt x="91" y="6"/>
                    </a:lnTo>
                    <a:lnTo>
                      <a:pt x="95" y="5"/>
                    </a:lnTo>
                    <a:lnTo>
                      <a:pt x="95" y="7"/>
                    </a:lnTo>
                    <a:lnTo>
                      <a:pt x="99" y="6"/>
                    </a:lnTo>
                    <a:lnTo>
                      <a:pt x="100" y="2"/>
                    </a:lnTo>
                    <a:lnTo>
                      <a:pt x="104" y="0"/>
                    </a:lnTo>
                    <a:lnTo>
                      <a:pt x="105" y="2"/>
                    </a:lnTo>
                    <a:lnTo>
                      <a:pt x="115" y="6"/>
                    </a:lnTo>
                    <a:lnTo>
                      <a:pt x="115" y="3"/>
                    </a:lnTo>
                    <a:lnTo>
                      <a:pt x="118" y="6"/>
                    </a:lnTo>
                    <a:lnTo>
                      <a:pt x="118" y="469"/>
                    </a:lnTo>
                    <a:lnTo>
                      <a:pt x="114" y="469"/>
                    </a:lnTo>
                    <a:lnTo>
                      <a:pt x="118" y="473"/>
                    </a:lnTo>
                    <a:lnTo>
                      <a:pt x="109" y="467"/>
                    </a:lnTo>
                    <a:lnTo>
                      <a:pt x="112" y="474"/>
                    </a:lnTo>
                    <a:lnTo>
                      <a:pt x="108" y="471"/>
                    </a:lnTo>
                    <a:lnTo>
                      <a:pt x="107" y="473"/>
                    </a:lnTo>
                    <a:lnTo>
                      <a:pt x="108" y="475"/>
                    </a:lnTo>
                    <a:lnTo>
                      <a:pt x="104" y="473"/>
                    </a:lnTo>
                    <a:lnTo>
                      <a:pt x="104" y="474"/>
                    </a:lnTo>
                    <a:lnTo>
                      <a:pt x="100" y="474"/>
                    </a:lnTo>
                    <a:lnTo>
                      <a:pt x="103" y="474"/>
                    </a:lnTo>
                    <a:lnTo>
                      <a:pt x="103" y="475"/>
                    </a:lnTo>
                    <a:lnTo>
                      <a:pt x="99" y="476"/>
                    </a:lnTo>
                    <a:lnTo>
                      <a:pt x="92" y="473"/>
                    </a:lnTo>
                    <a:lnTo>
                      <a:pt x="90" y="470"/>
                    </a:lnTo>
                    <a:lnTo>
                      <a:pt x="90" y="473"/>
                    </a:lnTo>
                    <a:lnTo>
                      <a:pt x="89" y="468"/>
                    </a:lnTo>
                    <a:lnTo>
                      <a:pt x="88" y="470"/>
                    </a:lnTo>
                    <a:lnTo>
                      <a:pt x="84" y="461"/>
                    </a:lnTo>
                    <a:lnTo>
                      <a:pt x="84" y="463"/>
                    </a:lnTo>
                    <a:lnTo>
                      <a:pt x="83" y="462"/>
                    </a:lnTo>
                    <a:lnTo>
                      <a:pt x="82" y="462"/>
                    </a:lnTo>
                    <a:lnTo>
                      <a:pt x="82" y="465"/>
                    </a:lnTo>
                    <a:lnTo>
                      <a:pt x="79" y="465"/>
                    </a:lnTo>
                    <a:lnTo>
                      <a:pt x="76" y="463"/>
                    </a:lnTo>
                    <a:lnTo>
                      <a:pt x="76" y="468"/>
                    </a:lnTo>
                    <a:lnTo>
                      <a:pt x="74" y="465"/>
                    </a:lnTo>
                    <a:lnTo>
                      <a:pt x="74" y="468"/>
                    </a:lnTo>
                    <a:lnTo>
                      <a:pt x="73" y="467"/>
                    </a:lnTo>
                    <a:lnTo>
                      <a:pt x="71" y="468"/>
                    </a:lnTo>
                    <a:lnTo>
                      <a:pt x="66" y="465"/>
                    </a:lnTo>
                    <a:lnTo>
                      <a:pt x="64" y="466"/>
                    </a:lnTo>
                    <a:lnTo>
                      <a:pt x="65" y="467"/>
                    </a:lnTo>
                    <a:lnTo>
                      <a:pt x="63" y="468"/>
                    </a:lnTo>
                    <a:lnTo>
                      <a:pt x="62" y="468"/>
                    </a:lnTo>
                    <a:lnTo>
                      <a:pt x="56" y="470"/>
                    </a:lnTo>
                    <a:lnTo>
                      <a:pt x="56" y="468"/>
                    </a:lnTo>
                    <a:lnTo>
                      <a:pt x="53" y="470"/>
                    </a:lnTo>
                    <a:lnTo>
                      <a:pt x="54" y="468"/>
                    </a:lnTo>
                    <a:lnTo>
                      <a:pt x="53" y="466"/>
                    </a:lnTo>
                    <a:lnTo>
                      <a:pt x="50" y="466"/>
                    </a:lnTo>
                    <a:lnTo>
                      <a:pt x="48" y="463"/>
                    </a:lnTo>
                    <a:lnTo>
                      <a:pt x="48" y="466"/>
                    </a:lnTo>
                    <a:lnTo>
                      <a:pt x="45" y="463"/>
                    </a:lnTo>
                    <a:lnTo>
                      <a:pt x="44" y="461"/>
                    </a:lnTo>
                    <a:lnTo>
                      <a:pt x="41" y="465"/>
                    </a:lnTo>
                    <a:lnTo>
                      <a:pt x="40" y="462"/>
                    </a:lnTo>
                    <a:lnTo>
                      <a:pt x="38" y="462"/>
                    </a:lnTo>
                    <a:lnTo>
                      <a:pt x="40" y="465"/>
                    </a:lnTo>
                    <a:lnTo>
                      <a:pt x="38" y="465"/>
                    </a:lnTo>
                    <a:lnTo>
                      <a:pt x="40" y="466"/>
                    </a:lnTo>
                    <a:lnTo>
                      <a:pt x="37" y="466"/>
                    </a:lnTo>
                    <a:lnTo>
                      <a:pt x="37" y="465"/>
                    </a:lnTo>
                    <a:lnTo>
                      <a:pt x="36" y="466"/>
                    </a:lnTo>
                    <a:lnTo>
                      <a:pt x="34" y="465"/>
                    </a:lnTo>
                    <a:lnTo>
                      <a:pt x="33" y="465"/>
                    </a:lnTo>
                    <a:lnTo>
                      <a:pt x="32" y="468"/>
                    </a:lnTo>
                    <a:lnTo>
                      <a:pt x="30" y="465"/>
                    </a:lnTo>
                    <a:lnTo>
                      <a:pt x="30" y="466"/>
                    </a:lnTo>
                    <a:lnTo>
                      <a:pt x="28" y="465"/>
                    </a:lnTo>
                    <a:lnTo>
                      <a:pt x="28" y="468"/>
                    </a:lnTo>
                    <a:lnTo>
                      <a:pt x="26" y="466"/>
                    </a:lnTo>
                    <a:lnTo>
                      <a:pt x="23" y="467"/>
                    </a:lnTo>
                    <a:lnTo>
                      <a:pt x="23" y="470"/>
                    </a:lnTo>
                    <a:lnTo>
                      <a:pt x="22" y="471"/>
                    </a:lnTo>
                    <a:lnTo>
                      <a:pt x="20" y="471"/>
                    </a:lnTo>
                    <a:lnTo>
                      <a:pt x="19" y="469"/>
                    </a:lnTo>
                    <a:lnTo>
                      <a:pt x="17" y="469"/>
                    </a:lnTo>
                    <a:lnTo>
                      <a:pt x="17" y="471"/>
                    </a:lnTo>
                    <a:lnTo>
                      <a:pt x="16" y="469"/>
                    </a:lnTo>
                    <a:lnTo>
                      <a:pt x="16" y="478"/>
                    </a:lnTo>
                    <a:lnTo>
                      <a:pt x="12" y="473"/>
                    </a:lnTo>
                    <a:lnTo>
                      <a:pt x="8" y="471"/>
                    </a:lnTo>
                    <a:lnTo>
                      <a:pt x="7" y="473"/>
                    </a:lnTo>
                    <a:lnTo>
                      <a:pt x="11" y="474"/>
                    </a:lnTo>
                    <a:lnTo>
                      <a:pt x="7" y="473"/>
                    </a:lnTo>
                    <a:lnTo>
                      <a:pt x="4" y="473"/>
                    </a:lnTo>
                    <a:lnTo>
                      <a:pt x="1" y="471"/>
                    </a:lnTo>
                    <a:lnTo>
                      <a:pt x="0" y="471"/>
                    </a:lnTo>
                    <a:lnTo>
                      <a:pt x="0" y="1"/>
                    </a:lnTo>
                    <a:lnTo>
                      <a:pt x="1" y="5"/>
                    </a:lnTo>
                    <a:lnTo>
                      <a:pt x="3" y="1"/>
                    </a:lnTo>
                    <a:lnTo>
                      <a:pt x="4" y="5"/>
                    </a:lnTo>
                    <a:lnTo>
                      <a:pt x="5" y="2"/>
                    </a:lnTo>
                    <a:lnTo>
                      <a:pt x="6" y="2"/>
                    </a:lnTo>
                    <a:lnTo>
                      <a:pt x="5" y="5"/>
                    </a:lnTo>
                    <a:lnTo>
                      <a:pt x="6" y="0"/>
                    </a:lnTo>
                    <a:lnTo>
                      <a:pt x="6" y="1"/>
                    </a:lnTo>
                    <a:lnTo>
                      <a:pt x="7" y="0"/>
                    </a:lnTo>
                    <a:lnTo>
                      <a:pt x="8" y="1"/>
                    </a:lnTo>
                    <a:lnTo>
                      <a:pt x="8" y="1"/>
                    </a:lnTo>
                    <a:lnTo>
                      <a:pt x="8" y="2"/>
                    </a:lnTo>
                    <a:lnTo>
                      <a:pt x="9" y="2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E20074"/>
                  </a:buClr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0" cap="none" spc="0" normalizeH="0" baseline="0" noProof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1" name="Freeform 146"/>
              <p:cNvSpPr>
                <a:spLocks noEditPoints="1"/>
              </p:cNvSpPr>
              <p:nvPr/>
            </p:nvSpPr>
            <p:spPr bwMode="auto">
              <a:xfrm>
                <a:off x="12106276" y="612776"/>
                <a:ext cx="185738" cy="742950"/>
              </a:xfrm>
              <a:custGeom>
                <a:avLst/>
                <a:gdLst>
                  <a:gd name="T0" fmla="*/ 61 w 117"/>
                  <a:gd name="T1" fmla="*/ 459 h 468"/>
                  <a:gd name="T2" fmla="*/ 56 w 117"/>
                  <a:gd name="T3" fmla="*/ 458 h 468"/>
                  <a:gd name="T4" fmla="*/ 54 w 117"/>
                  <a:gd name="T5" fmla="*/ 459 h 468"/>
                  <a:gd name="T6" fmla="*/ 98 w 117"/>
                  <a:gd name="T7" fmla="*/ 15 h 468"/>
                  <a:gd name="T8" fmla="*/ 113 w 117"/>
                  <a:gd name="T9" fmla="*/ 12 h 468"/>
                  <a:gd name="T10" fmla="*/ 17 w 117"/>
                  <a:gd name="T11" fmla="*/ 8 h 468"/>
                  <a:gd name="T12" fmla="*/ 4 w 117"/>
                  <a:gd name="T13" fmla="*/ 5 h 468"/>
                  <a:gd name="T14" fmla="*/ 5 w 117"/>
                  <a:gd name="T15" fmla="*/ 4 h 468"/>
                  <a:gd name="T16" fmla="*/ 25 w 117"/>
                  <a:gd name="T17" fmla="*/ 3 h 468"/>
                  <a:gd name="T18" fmla="*/ 28 w 117"/>
                  <a:gd name="T19" fmla="*/ 5 h 468"/>
                  <a:gd name="T20" fmla="*/ 42 w 117"/>
                  <a:gd name="T21" fmla="*/ 13 h 468"/>
                  <a:gd name="T22" fmla="*/ 45 w 117"/>
                  <a:gd name="T23" fmla="*/ 15 h 468"/>
                  <a:gd name="T24" fmla="*/ 54 w 117"/>
                  <a:gd name="T25" fmla="*/ 17 h 468"/>
                  <a:gd name="T26" fmla="*/ 60 w 117"/>
                  <a:gd name="T27" fmla="*/ 18 h 468"/>
                  <a:gd name="T28" fmla="*/ 66 w 117"/>
                  <a:gd name="T29" fmla="*/ 22 h 468"/>
                  <a:gd name="T30" fmla="*/ 73 w 117"/>
                  <a:gd name="T31" fmla="*/ 17 h 468"/>
                  <a:gd name="T32" fmla="*/ 79 w 117"/>
                  <a:gd name="T33" fmla="*/ 17 h 468"/>
                  <a:gd name="T34" fmla="*/ 86 w 117"/>
                  <a:gd name="T35" fmla="*/ 20 h 468"/>
                  <a:gd name="T36" fmla="*/ 91 w 117"/>
                  <a:gd name="T37" fmla="*/ 14 h 468"/>
                  <a:gd name="T38" fmla="*/ 98 w 117"/>
                  <a:gd name="T39" fmla="*/ 17 h 468"/>
                  <a:gd name="T40" fmla="*/ 100 w 117"/>
                  <a:gd name="T41" fmla="*/ 15 h 468"/>
                  <a:gd name="T42" fmla="*/ 106 w 117"/>
                  <a:gd name="T43" fmla="*/ 13 h 468"/>
                  <a:gd name="T44" fmla="*/ 115 w 117"/>
                  <a:gd name="T45" fmla="*/ 12 h 468"/>
                  <a:gd name="T46" fmla="*/ 117 w 117"/>
                  <a:gd name="T47" fmla="*/ 12 h 468"/>
                  <a:gd name="T48" fmla="*/ 116 w 117"/>
                  <a:gd name="T49" fmla="*/ 458 h 468"/>
                  <a:gd name="T50" fmla="*/ 115 w 117"/>
                  <a:gd name="T51" fmla="*/ 461 h 468"/>
                  <a:gd name="T52" fmla="*/ 113 w 117"/>
                  <a:gd name="T53" fmla="*/ 461 h 468"/>
                  <a:gd name="T54" fmla="*/ 107 w 117"/>
                  <a:gd name="T55" fmla="*/ 459 h 468"/>
                  <a:gd name="T56" fmla="*/ 105 w 117"/>
                  <a:gd name="T57" fmla="*/ 463 h 468"/>
                  <a:gd name="T58" fmla="*/ 102 w 117"/>
                  <a:gd name="T59" fmla="*/ 458 h 468"/>
                  <a:gd name="T60" fmla="*/ 99 w 117"/>
                  <a:gd name="T61" fmla="*/ 458 h 468"/>
                  <a:gd name="T62" fmla="*/ 96 w 117"/>
                  <a:gd name="T63" fmla="*/ 457 h 468"/>
                  <a:gd name="T64" fmla="*/ 92 w 117"/>
                  <a:gd name="T65" fmla="*/ 456 h 468"/>
                  <a:gd name="T66" fmla="*/ 94 w 117"/>
                  <a:gd name="T67" fmla="*/ 458 h 468"/>
                  <a:gd name="T68" fmla="*/ 87 w 117"/>
                  <a:gd name="T69" fmla="*/ 458 h 468"/>
                  <a:gd name="T70" fmla="*/ 79 w 117"/>
                  <a:gd name="T71" fmla="*/ 460 h 468"/>
                  <a:gd name="T72" fmla="*/ 72 w 117"/>
                  <a:gd name="T73" fmla="*/ 457 h 468"/>
                  <a:gd name="T74" fmla="*/ 62 w 117"/>
                  <a:gd name="T75" fmla="*/ 458 h 468"/>
                  <a:gd name="T76" fmla="*/ 60 w 117"/>
                  <a:gd name="T77" fmla="*/ 456 h 468"/>
                  <a:gd name="T78" fmla="*/ 58 w 117"/>
                  <a:gd name="T79" fmla="*/ 459 h 468"/>
                  <a:gd name="T80" fmla="*/ 53 w 117"/>
                  <a:gd name="T81" fmla="*/ 460 h 468"/>
                  <a:gd name="T82" fmla="*/ 44 w 117"/>
                  <a:gd name="T83" fmla="*/ 457 h 468"/>
                  <a:gd name="T84" fmla="*/ 38 w 117"/>
                  <a:gd name="T85" fmla="*/ 452 h 468"/>
                  <a:gd name="T86" fmla="*/ 35 w 117"/>
                  <a:gd name="T87" fmla="*/ 456 h 468"/>
                  <a:gd name="T88" fmla="*/ 20 w 117"/>
                  <a:gd name="T89" fmla="*/ 460 h 468"/>
                  <a:gd name="T90" fmla="*/ 19 w 117"/>
                  <a:gd name="T91" fmla="*/ 464 h 468"/>
                  <a:gd name="T92" fmla="*/ 11 w 117"/>
                  <a:gd name="T93" fmla="*/ 464 h 468"/>
                  <a:gd name="T94" fmla="*/ 10 w 117"/>
                  <a:gd name="T95" fmla="*/ 467 h 468"/>
                  <a:gd name="T96" fmla="*/ 2 w 117"/>
                  <a:gd name="T97" fmla="*/ 467 h 468"/>
                  <a:gd name="T98" fmla="*/ 3 w 117"/>
                  <a:gd name="T99" fmla="*/ 6 h 468"/>
                  <a:gd name="T100" fmla="*/ 10 w 117"/>
                  <a:gd name="T101" fmla="*/ 7 h 468"/>
                  <a:gd name="T102" fmla="*/ 17 w 117"/>
                  <a:gd name="T103" fmla="*/ 9 h 468"/>
                  <a:gd name="T104" fmla="*/ 19 w 117"/>
                  <a:gd name="T105" fmla="*/ 7 h 468"/>
                  <a:gd name="T106" fmla="*/ 20 w 117"/>
                  <a:gd name="T107" fmla="*/ 5 h 468"/>
                  <a:gd name="T108" fmla="*/ 29 w 117"/>
                  <a:gd name="T109" fmla="*/ 0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17" h="468">
                    <a:moveTo>
                      <a:pt x="61" y="459"/>
                    </a:moveTo>
                    <a:lnTo>
                      <a:pt x="62" y="460"/>
                    </a:lnTo>
                    <a:lnTo>
                      <a:pt x="61" y="460"/>
                    </a:lnTo>
                    <a:lnTo>
                      <a:pt x="61" y="459"/>
                    </a:lnTo>
                    <a:close/>
                    <a:moveTo>
                      <a:pt x="56" y="458"/>
                    </a:moveTo>
                    <a:lnTo>
                      <a:pt x="57" y="458"/>
                    </a:lnTo>
                    <a:lnTo>
                      <a:pt x="57" y="459"/>
                    </a:lnTo>
                    <a:lnTo>
                      <a:pt x="56" y="458"/>
                    </a:lnTo>
                    <a:close/>
                    <a:moveTo>
                      <a:pt x="54" y="457"/>
                    </a:moveTo>
                    <a:lnTo>
                      <a:pt x="56" y="458"/>
                    </a:lnTo>
                    <a:lnTo>
                      <a:pt x="55" y="458"/>
                    </a:lnTo>
                    <a:lnTo>
                      <a:pt x="54" y="459"/>
                    </a:lnTo>
                    <a:lnTo>
                      <a:pt x="54" y="457"/>
                    </a:lnTo>
                    <a:close/>
                    <a:moveTo>
                      <a:pt x="97" y="15"/>
                    </a:moveTo>
                    <a:lnTo>
                      <a:pt x="98" y="15"/>
                    </a:lnTo>
                    <a:lnTo>
                      <a:pt x="98" y="15"/>
                    </a:lnTo>
                    <a:lnTo>
                      <a:pt x="97" y="15"/>
                    </a:lnTo>
                    <a:close/>
                    <a:moveTo>
                      <a:pt x="113" y="11"/>
                    </a:moveTo>
                    <a:lnTo>
                      <a:pt x="113" y="12"/>
                    </a:lnTo>
                    <a:lnTo>
                      <a:pt x="113" y="12"/>
                    </a:lnTo>
                    <a:lnTo>
                      <a:pt x="113" y="11"/>
                    </a:lnTo>
                    <a:close/>
                    <a:moveTo>
                      <a:pt x="17" y="8"/>
                    </a:moveTo>
                    <a:lnTo>
                      <a:pt x="17" y="8"/>
                    </a:lnTo>
                    <a:lnTo>
                      <a:pt x="17" y="8"/>
                    </a:lnTo>
                    <a:lnTo>
                      <a:pt x="17" y="8"/>
                    </a:lnTo>
                    <a:close/>
                    <a:moveTo>
                      <a:pt x="4" y="4"/>
                    </a:moveTo>
                    <a:lnTo>
                      <a:pt x="5" y="4"/>
                    </a:lnTo>
                    <a:lnTo>
                      <a:pt x="4" y="5"/>
                    </a:lnTo>
                    <a:lnTo>
                      <a:pt x="4" y="4"/>
                    </a:lnTo>
                    <a:close/>
                    <a:moveTo>
                      <a:pt x="5" y="3"/>
                    </a:moveTo>
                    <a:lnTo>
                      <a:pt x="5" y="5"/>
                    </a:lnTo>
                    <a:lnTo>
                      <a:pt x="5" y="4"/>
                    </a:lnTo>
                    <a:lnTo>
                      <a:pt x="5" y="3"/>
                    </a:lnTo>
                    <a:close/>
                    <a:moveTo>
                      <a:pt x="27" y="1"/>
                    </a:moveTo>
                    <a:lnTo>
                      <a:pt x="25" y="3"/>
                    </a:lnTo>
                    <a:lnTo>
                      <a:pt x="25" y="3"/>
                    </a:lnTo>
                    <a:lnTo>
                      <a:pt x="27" y="1"/>
                    </a:lnTo>
                    <a:close/>
                    <a:moveTo>
                      <a:pt x="29" y="0"/>
                    </a:moveTo>
                    <a:lnTo>
                      <a:pt x="25" y="5"/>
                    </a:lnTo>
                    <a:lnTo>
                      <a:pt x="28" y="5"/>
                    </a:lnTo>
                    <a:lnTo>
                      <a:pt x="35" y="5"/>
                    </a:lnTo>
                    <a:lnTo>
                      <a:pt x="37" y="7"/>
                    </a:lnTo>
                    <a:lnTo>
                      <a:pt x="37" y="8"/>
                    </a:lnTo>
                    <a:lnTo>
                      <a:pt x="42" y="13"/>
                    </a:lnTo>
                    <a:lnTo>
                      <a:pt x="44" y="18"/>
                    </a:lnTo>
                    <a:lnTo>
                      <a:pt x="44" y="15"/>
                    </a:lnTo>
                    <a:lnTo>
                      <a:pt x="45" y="17"/>
                    </a:lnTo>
                    <a:lnTo>
                      <a:pt x="45" y="15"/>
                    </a:lnTo>
                    <a:lnTo>
                      <a:pt x="47" y="14"/>
                    </a:lnTo>
                    <a:lnTo>
                      <a:pt x="48" y="15"/>
                    </a:lnTo>
                    <a:lnTo>
                      <a:pt x="49" y="18"/>
                    </a:lnTo>
                    <a:lnTo>
                      <a:pt x="54" y="17"/>
                    </a:lnTo>
                    <a:lnTo>
                      <a:pt x="53" y="18"/>
                    </a:lnTo>
                    <a:lnTo>
                      <a:pt x="55" y="18"/>
                    </a:lnTo>
                    <a:lnTo>
                      <a:pt x="55" y="21"/>
                    </a:lnTo>
                    <a:lnTo>
                      <a:pt x="60" y="18"/>
                    </a:lnTo>
                    <a:lnTo>
                      <a:pt x="61" y="16"/>
                    </a:lnTo>
                    <a:lnTo>
                      <a:pt x="62" y="21"/>
                    </a:lnTo>
                    <a:lnTo>
                      <a:pt x="65" y="20"/>
                    </a:lnTo>
                    <a:lnTo>
                      <a:pt x="66" y="22"/>
                    </a:lnTo>
                    <a:lnTo>
                      <a:pt x="66" y="18"/>
                    </a:lnTo>
                    <a:lnTo>
                      <a:pt x="71" y="22"/>
                    </a:lnTo>
                    <a:lnTo>
                      <a:pt x="73" y="21"/>
                    </a:lnTo>
                    <a:lnTo>
                      <a:pt x="73" y="17"/>
                    </a:lnTo>
                    <a:lnTo>
                      <a:pt x="74" y="17"/>
                    </a:lnTo>
                    <a:lnTo>
                      <a:pt x="75" y="20"/>
                    </a:lnTo>
                    <a:lnTo>
                      <a:pt x="80" y="20"/>
                    </a:lnTo>
                    <a:lnTo>
                      <a:pt x="79" y="17"/>
                    </a:lnTo>
                    <a:lnTo>
                      <a:pt x="80" y="20"/>
                    </a:lnTo>
                    <a:lnTo>
                      <a:pt x="83" y="20"/>
                    </a:lnTo>
                    <a:lnTo>
                      <a:pt x="82" y="18"/>
                    </a:lnTo>
                    <a:lnTo>
                      <a:pt x="86" y="20"/>
                    </a:lnTo>
                    <a:lnTo>
                      <a:pt x="87" y="18"/>
                    </a:lnTo>
                    <a:lnTo>
                      <a:pt x="87" y="16"/>
                    </a:lnTo>
                    <a:lnTo>
                      <a:pt x="90" y="14"/>
                    </a:lnTo>
                    <a:lnTo>
                      <a:pt x="91" y="14"/>
                    </a:lnTo>
                    <a:lnTo>
                      <a:pt x="96" y="17"/>
                    </a:lnTo>
                    <a:lnTo>
                      <a:pt x="96" y="15"/>
                    </a:lnTo>
                    <a:lnTo>
                      <a:pt x="96" y="14"/>
                    </a:lnTo>
                    <a:lnTo>
                      <a:pt x="98" y="17"/>
                    </a:lnTo>
                    <a:lnTo>
                      <a:pt x="98" y="15"/>
                    </a:lnTo>
                    <a:lnTo>
                      <a:pt x="99" y="16"/>
                    </a:lnTo>
                    <a:lnTo>
                      <a:pt x="98" y="15"/>
                    </a:lnTo>
                    <a:lnTo>
                      <a:pt x="100" y="15"/>
                    </a:lnTo>
                    <a:lnTo>
                      <a:pt x="102" y="11"/>
                    </a:lnTo>
                    <a:lnTo>
                      <a:pt x="104" y="11"/>
                    </a:lnTo>
                    <a:lnTo>
                      <a:pt x="104" y="13"/>
                    </a:lnTo>
                    <a:lnTo>
                      <a:pt x="106" y="13"/>
                    </a:lnTo>
                    <a:lnTo>
                      <a:pt x="107" y="14"/>
                    </a:lnTo>
                    <a:lnTo>
                      <a:pt x="112" y="13"/>
                    </a:lnTo>
                    <a:lnTo>
                      <a:pt x="113" y="12"/>
                    </a:lnTo>
                    <a:lnTo>
                      <a:pt x="115" y="12"/>
                    </a:lnTo>
                    <a:lnTo>
                      <a:pt x="115" y="12"/>
                    </a:lnTo>
                    <a:lnTo>
                      <a:pt x="115" y="12"/>
                    </a:lnTo>
                    <a:lnTo>
                      <a:pt x="116" y="13"/>
                    </a:lnTo>
                    <a:lnTo>
                      <a:pt x="117" y="12"/>
                    </a:lnTo>
                    <a:lnTo>
                      <a:pt x="117" y="458"/>
                    </a:lnTo>
                    <a:lnTo>
                      <a:pt x="117" y="457"/>
                    </a:lnTo>
                    <a:lnTo>
                      <a:pt x="117" y="461"/>
                    </a:lnTo>
                    <a:lnTo>
                      <a:pt x="116" y="458"/>
                    </a:lnTo>
                    <a:lnTo>
                      <a:pt x="116" y="463"/>
                    </a:lnTo>
                    <a:lnTo>
                      <a:pt x="115" y="460"/>
                    </a:lnTo>
                    <a:lnTo>
                      <a:pt x="114" y="460"/>
                    </a:lnTo>
                    <a:lnTo>
                      <a:pt x="115" y="461"/>
                    </a:lnTo>
                    <a:lnTo>
                      <a:pt x="115" y="463"/>
                    </a:lnTo>
                    <a:lnTo>
                      <a:pt x="115" y="463"/>
                    </a:lnTo>
                    <a:lnTo>
                      <a:pt x="111" y="463"/>
                    </a:lnTo>
                    <a:lnTo>
                      <a:pt x="113" y="461"/>
                    </a:lnTo>
                    <a:lnTo>
                      <a:pt x="111" y="459"/>
                    </a:lnTo>
                    <a:lnTo>
                      <a:pt x="111" y="461"/>
                    </a:lnTo>
                    <a:lnTo>
                      <a:pt x="108" y="463"/>
                    </a:lnTo>
                    <a:lnTo>
                      <a:pt x="107" y="459"/>
                    </a:lnTo>
                    <a:lnTo>
                      <a:pt x="106" y="461"/>
                    </a:lnTo>
                    <a:lnTo>
                      <a:pt x="107" y="464"/>
                    </a:lnTo>
                    <a:lnTo>
                      <a:pt x="105" y="461"/>
                    </a:lnTo>
                    <a:lnTo>
                      <a:pt x="105" y="463"/>
                    </a:lnTo>
                    <a:lnTo>
                      <a:pt x="104" y="461"/>
                    </a:lnTo>
                    <a:lnTo>
                      <a:pt x="104" y="458"/>
                    </a:lnTo>
                    <a:lnTo>
                      <a:pt x="102" y="460"/>
                    </a:lnTo>
                    <a:lnTo>
                      <a:pt x="102" y="458"/>
                    </a:lnTo>
                    <a:lnTo>
                      <a:pt x="99" y="459"/>
                    </a:lnTo>
                    <a:lnTo>
                      <a:pt x="100" y="457"/>
                    </a:lnTo>
                    <a:lnTo>
                      <a:pt x="100" y="456"/>
                    </a:lnTo>
                    <a:lnTo>
                      <a:pt x="99" y="458"/>
                    </a:lnTo>
                    <a:lnTo>
                      <a:pt x="97" y="456"/>
                    </a:lnTo>
                    <a:lnTo>
                      <a:pt x="96" y="456"/>
                    </a:lnTo>
                    <a:lnTo>
                      <a:pt x="98" y="459"/>
                    </a:lnTo>
                    <a:lnTo>
                      <a:pt x="96" y="457"/>
                    </a:lnTo>
                    <a:lnTo>
                      <a:pt x="95" y="455"/>
                    </a:lnTo>
                    <a:lnTo>
                      <a:pt x="94" y="456"/>
                    </a:lnTo>
                    <a:lnTo>
                      <a:pt x="94" y="453"/>
                    </a:lnTo>
                    <a:lnTo>
                      <a:pt x="92" y="456"/>
                    </a:lnTo>
                    <a:lnTo>
                      <a:pt x="90" y="453"/>
                    </a:lnTo>
                    <a:lnTo>
                      <a:pt x="92" y="457"/>
                    </a:lnTo>
                    <a:lnTo>
                      <a:pt x="94" y="457"/>
                    </a:lnTo>
                    <a:lnTo>
                      <a:pt x="94" y="458"/>
                    </a:lnTo>
                    <a:lnTo>
                      <a:pt x="89" y="456"/>
                    </a:lnTo>
                    <a:lnTo>
                      <a:pt x="90" y="457"/>
                    </a:lnTo>
                    <a:lnTo>
                      <a:pt x="87" y="456"/>
                    </a:lnTo>
                    <a:lnTo>
                      <a:pt x="87" y="458"/>
                    </a:lnTo>
                    <a:lnTo>
                      <a:pt x="86" y="456"/>
                    </a:lnTo>
                    <a:lnTo>
                      <a:pt x="85" y="461"/>
                    </a:lnTo>
                    <a:lnTo>
                      <a:pt x="80" y="458"/>
                    </a:lnTo>
                    <a:lnTo>
                      <a:pt x="79" y="460"/>
                    </a:lnTo>
                    <a:lnTo>
                      <a:pt x="77" y="458"/>
                    </a:lnTo>
                    <a:lnTo>
                      <a:pt x="74" y="459"/>
                    </a:lnTo>
                    <a:lnTo>
                      <a:pt x="73" y="457"/>
                    </a:lnTo>
                    <a:lnTo>
                      <a:pt x="72" y="457"/>
                    </a:lnTo>
                    <a:lnTo>
                      <a:pt x="72" y="459"/>
                    </a:lnTo>
                    <a:lnTo>
                      <a:pt x="70" y="457"/>
                    </a:lnTo>
                    <a:lnTo>
                      <a:pt x="70" y="458"/>
                    </a:lnTo>
                    <a:lnTo>
                      <a:pt x="62" y="458"/>
                    </a:lnTo>
                    <a:lnTo>
                      <a:pt x="63" y="459"/>
                    </a:lnTo>
                    <a:lnTo>
                      <a:pt x="61" y="457"/>
                    </a:lnTo>
                    <a:lnTo>
                      <a:pt x="62" y="458"/>
                    </a:lnTo>
                    <a:lnTo>
                      <a:pt x="60" y="456"/>
                    </a:lnTo>
                    <a:lnTo>
                      <a:pt x="60" y="459"/>
                    </a:lnTo>
                    <a:lnTo>
                      <a:pt x="61" y="460"/>
                    </a:lnTo>
                    <a:lnTo>
                      <a:pt x="61" y="460"/>
                    </a:lnTo>
                    <a:lnTo>
                      <a:pt x="58" y="459"/>
                    </a:lnTo>
                    <a:lnTo>
                      <a:pt x="57" y="458"/>
                    </a:lnTo>
                    <a:lnTo>
                      <a:pt x="54" y="455"/>
                    </a:lnTo>
                    <a:lnTo>
                      <a:pt x="53" y="457"/>
                    </a:lnTo>
                    <a:lnTo>
                      <a:pt x="53" y="460"/>
                    </a:lnTo>
                    <a:lnTo>
                      <a:pt x="52" y="457"/>
                    </a:lnTo>
                    <a:lnTo>
                      <a:pt x="50" y="456"/>
                    </a:lnTo>
                    <a:lnTo>
                      <a:pt x="45" y="458"/>
                    </a:lnTo>
                    <a:lnTo>
                      <a:pt x="44" y="457"/>
                    </a:lnTo>
                    <a:lnTo>
                      <a:pt x="44" y="452"/>
                    </a:lnTo>
                    <a:lnTo>
                      <a:pt x="39" y="451"/>
                    </a:lnTo>
                    <a:lnTo>
                      <a:pt x="40" y="453"/>
                    </a:lnTo>
                    <a:lnTo>
                      <a:pt x="38" y="452"/>
                    </a:lnTo>
                    <a:lnTo>
                      <a:pt x="37" y="455"/>
                    </a:lnTo>
                    <a:lnTo>
                      <a:pt x="38" y="456"/>
                    </a:lnTo>
                    <a:lnTo>
                      <a:pt x="35" y="453"/>
                    </a:lnTo>
                    <a:lnTo>
                      <a:pt x="35" y="456"/>
                    </a:lnTo>
                    <a:lnTo>
                      <a:pt x="32" y="455"/>
                    </a:lnTo>
                    <a:lnTo>
                      <a:pt x="33" y="457"/>
                    </a:lnTo>
                    <a:lnTo>
                      <a:pt x="24" y="458"/>
                    </a:lnTo>
                    <a:lnTo>
                      <a:pt x="20" y="460"/>
                    </a:lnTo>
                    <a:lnTo>
                      <a:pt x="20" y="461"/>
                    </a:lnTo>
                    <a:lnTo>
                      <a:pt x="19" y="459"/>
                    </a:lnTo>
                    <a:lnTo>
                      <a:pt x="17" y="461"/>
                    </a:lnTo>
                    <a:lnTo>
                      <a:pt x="19" y="464"/>
                    </a:lnTo>
                    <a:lnTo>
                      <a:pt x="15" y="461"/>
                    </a:lnTo>
                    <a:lnTo>
                      <a:pt x="14" y="464"/>
                    </a:lnTo>
                    <a:lnTo>
                      <a:pt x="13" y="463"/>
                    </a:lnTo>
                    <a:lnTo>
                      <a:pt x="11" y="464"/>
                    </a:lnTo>
                    <a:lnTo>
                      <a:pt x="12" y="464"/>
                    </a:lnTo>
                    <a:lnTo>
                      <a:pt x="12" y="468"/>
                    </a:lnTo>
                    <a:lnTo>
                      <a:pt x="11" y="466"/>
                    </a:lnTo>
                    <a:lnTo>
                      <a:pt x="10" y="467"/>
                    </a:lnTo>
                    <a:lnTo>
                      <a:pt x="10" y="466"/>
                    </a:lnTo>
                    <a:lnTo>
                      <a:pt x="10" y="468"/>
                    </a:lnTo>
                    <a:lnTo>
                      <a:pt x="7" y="468"/>
                    </a:lnTo>
                    <a:lnTo>
                      <a:pt x="2" y="467"/>
                    </a:lnTo>
                    <a:lnTo>
                      <a:pt x="0" y="467"/>
                    </a:lnTo>
                    <a:lnTo>
                      <a:pt x="0" y="4"/>
                    </a:lnTo>
                    <a:lnTo>
                      <a:pt x="2" y="5"/>
                    </a:lnTo>
                    <a:lnTo>
                      <a:pt x="3" y="6"/>
                    </a:lnTo>
                    <a:lnTo>
                      <a:pt x="4" y="6"/>
                    </a:lnTo>
                    <a:lnTo>
                      <a:pt x="4" y="5"/>
                    </a:lnTo>
                    <a:lnTo>
                      <a:pt x="5" y="6"/>
                    </a:lnTo>
                    <a:lnTo>
                      <a:pt x="10" y="7"/>
                    </a:lnTo>
                    <a:lnTo>
                      <a:pt x="12" y="5"/>
                    </a:lnTo>
                    <a:lnTo>
                      <a:pt x="15" y="9"/>
                    </a:lnTo>
                    <a:lnTo>
                      <a:pt x="16" y="7"/>
                    </a:lnTo>
                    <a:lnTo>
                      <a:pt x="17" y="9"/>
                    </a:lnTo>
                    <a:lnTo>
                      <a:pt x="19" y="8"/>
                    </a:lnTo>
                    <a:lnTo>
                      <a:pt x="17" y="8"/>
                    </a:lnTo>
                    <a:lnTo>
                      <a:pt x="19" y="7"/>
                    </a:lnTo>
                    <a:lnTo>
                      <a:pt x="19" y="7"/>
                    </a:lnTo>
                    <a:lnTo>
                      <a:pt x="20" y="5"/>
                    </a:lnTo>
                    <a:lnTo>
                      <a:pt x="20" y="5"/>
                    </a:lnTo>
                    <a:lnTo>
                      <a:pt x="20" y="4"/>
                    </a:lnTo>
                    <a:lnTo>
                      <a:pt x="20" y="5"/>
                    </a:lnTo>
                    <a:lnTo>
                      <a:pt x="20" y="6"/>
                    </a:lnTo>
                    <a:lnTo>
                      <a:pt x="25" y="3"/>
                    </a:lnTo>
                    <a:lnTo>
                      <a:pt x="25" y="4"/>
                    </a:lnTo>
                    <a:lnTo>
                      <a:pt x="29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E20074"/>
                  </a:buClr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0" cap="none" spc="0" normalizeH="0" baseline="0" noProof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2" name="Freeform 147"/>
              <p:cNvSpPr>
                <a:spLocks noEditPoints="1"/>
              </p:cNvSpPr>
              <p:nvPr/>
            </p:nvSpPr>
            <p:spPr bwMode="auto">
              <a:xfrm>
                <a:off x="12292014" y="609601"/>
                <a:ext cx="188913" cy="750888"/>
              </a:xfrm>
              <a:custGeom>
                <a:avLst/>
                <a:gdLst>
                  <a:gd name="T0" fmla="*/ 116 w 119"/>
                  <a:gd name="T1" fmla="*/ 5 h 473"/>
                  <a:gd name="T2" fmla="*/ 99 w 119"/>
                  <a:gd name="T3" fmla="*/ 1 h 473"/>
                  <a:gd name="T4" fmla="*/ 113 w 119"/>
                  <a:gd name="T5" fmla="*/ 3 h 473"/>
                  <a:gd name="T6" fmla="*/ 117 w 119"/>
                  <a:gd name="T7" fmla="*/ 7 h 473"/>
                  <a:gd name="T8" fmla="*/ 119 w 119"/>
                  <a:gd name="T9" fmla="*/ 3 h 473"/>
                  <a:gd name="T10" fmla="*/ 119 w 119"/>
                  <a:gd name="T11" fmla="*/ 465 h 473"/>
                  <a:gd name="T12" fmla="*/ 105 w 119"/>
                  <a:gd name="T13" fmla="*/ 466 h 473"/>
                  <a:gd name="T14" fmla="*/ 102 w 119"/>
                  <a:gd name="T15" fmla="*/ 462 h 473"/>
                  <a:gd name="T16" fmla="*/ 92 w 119"/>
                  <a:gd name="T17" fmla="*/ 466 h 473"/>
                  <a:gd name="T18" fmla="*/ 81 w 119"/>
                  <a:gd name="T19" fmla="*/ 465 h 473"/>
                  <a:gd name="T20" fmla="*/ 73 w 119"/>
                  <a:gd name="T21" fmla="*/ 462 h 473"/>
                  <a:gd name="T22" fmla="*/ 69 w 119"/>
                  <a:gd name="T23" fmla="*/ 465 h 473"/>
                  <a:gd name="T24" fmla="*/ 67 w 119"/>
                  <a:gd name="T25" fmla="*/ 467 h 473"/>
                  <a:gd name="T26" fmla="*/ 65 w 119"/>
                  <a:gd name="T27" fmla="*/ 467 h 473"/>
                  <a:gd name="T28" fmla="*/ 56 w 119"/>
                  <a:gd name="T29" fmla="*/ 465 h 473"/>
                  <a:gd name="T30" fmla="*/ 54 w 119"/>
                  <a:gd name="T31" fmla="*/ 465 h 473"/>
                  <a:gd name="T32" fmla="*/ 49 w 119"/>
                  <a:gd name="T33" fmla="*/ 466 h 473"/>
                  <a:gd name="T34" fmla="*/ 38 w 119"/>
                  <a:gd name="T35" fmla="*/ 468 h 473"/>
                  <a:gd name="T36" fmla="*/ 35 w 119"/>
                  <a:gd name="T37" fmla="*/ 470 h 473"/>
                  <a:gd name="T38" fmla="*/ 30 w 119"/>
                  <a:gd name="T39" fmla="*/ 470 h 473"/>
                  <a:gd name="T40" fmla="*/ 24 w 119"/>
                  <a:gd name="T41" fmla="*/ 467 h 473"/>
                  <a:gd name="T42" fmla="*/ 21 w 119"/>
                  <a:gd name="T43" fmla="*/ 466 h 473"/>
                  <a:gd name="T44" fmla="*/ 16 w 119"/>
                  <a:gd name="T45" fmla="*/ 463 h 473"/>
                  <a:gd name="T46" fmla="*/ 13 w 119"/>
                  <a:gd name="T47" fmla="*/ 466 h 473"/>
                  <a:gd name="T48" fmla="*/ 8 w 119"/>
                  <a:gd name="T49" fmla="*/ 465 h 473"/>
                  <a:gd name="T50" fmla="*/ 6 w 119"/>
                  <a:gd name="T51" fmla="*/ 461 h 473"/>
                  <a:gd name="T52" fmla="*/ 4 w 119"/>
                  <a:gd name="T53" fmla="*/ 465 h 473"/>
                  <a:gd name="T54" fmla="*/ 3 w 119"/>
                  <a:gd name="T55" fmla="*/ 15 h 473"/>
                  <a:gd name="T56" fmla="*/ 7 w 119"/>
                  <a:gd name="T57" fmla="*/ 15 h 473"/>
                  <a:gd name="T58" fmla="*/ 10 w 119"/>
                  <a:gd name="T59" fmla="*/ 14 h 473"/>
                  <a:gd name="T60" fmla="*/ 13 w 119"/>
                  <a:gd name="T61" fmla="*/ 14 h 473"/>
                  <a:gd name="T62" fmla="*/ 16 w 119"/>
                  <a:gd name="T63" fmla="*/ 15 h 473"/>
                  <a:gd name="T64" fmla="*/ 24 w 119"/>
                  <a:gd name="T65" fmla="*/ 15 h 473"/>
                  <a:gd name="T66" fmla="*/ 28 w 119"/>
                  <a:gd name="T67" fmla="*/ 16 h 473"/>
                  <a:gd name="T68" fmla="*/ 32 w 119"/>
                  <a:gd name="T69" fmla="*/ 16 h 473"/>
                  <a:gd name="T70" fmla="*/ 37 w 119"/>
                  <a:gd name="T71" fmla="*/ 18 h 473"/>
                  <a:gd name="T72" fmla="*/ 38 w 119"/>
                  <a:gd name="T73" fmla="*/ 18 h 473"/>
                  <a:gd name="T74" fmla="*/ 46 w 119"/>
                  <a:gd name="T75" fmla="*/ 20 h 473"/>
                  <a:gd name="T76" fmla="*/ 54 w 119"/>
                  <a:gd name="T77" fmla="*/ 8 h 473"/>
                  <a:gd name="T78" fmla="*/ 61 w 119"/>
                  <a:gd name="T79" fmla="*/ 9 h 473"/>
                  <a:gd name="T80" fmla="*/ 63 w 119"/>
                  <a:gd name="T81" fmla="*/ 9 h 473"/>
                  <a:gd name="T82" fmla="*/ 64 w 119"/>
                  <a:gd name="T83" fmla="*/ 9 h 473"/>
                  <a:gd name="T84" fmla="*/ 72 w 119"/>
                  <a:gd name="T85" fmla="*/ 5 h 473"/>
                  <a:gd name="T86" fmla="*/ 78 w 119"/>
                  <a:gd name="T87" fmla="*/ 5 h 473"/>
                  <a:gd name="T88" fmla="*/ 86 w 119"/>
                  <a:gd name="T89" fmla="*/ 6 h 473"/>
                  <a:gd name="T90" fmla="*/ 89 w 119"/>
                  <a:gd name="T91" fmla="*/ 2 h 473"/>
                  <a:gd name="T92" fmla="*/ 91 w 119"/>
                  <a:gd name="T93" fmla="*/ 6 h 473"/>
                  <a:gd name="T94" fmla="*/ 97 w 119"/>
                  <a:gd name="T95" fmla="*/ 3 h 473"/>
                  <a:gd name="T96" fmla="*/ 102 w 119"/>
                  <a:gd name="T97" fmla="*/ 9 h 473"/>
                  <a:gd name="T98" fmla="*/ 102 w 119"/>
                  <a:gd name="T99" fmla="*/ 3 h 473"/>
                  <a:gd name="T100" fmla="*/ 107 w 119"/>
                  <a:gd name="T101" fmla="*/ 3 h 4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19" h="473">
                    <a:moveTo>
                      <a:pt x="116" y="5"/>
                    </a:moveTo>
                    <a:lnTo>
                      <a:pt x="117" y="5"/>
                    </a:lnTo>
                    <a:lnTo>
                      <a:pt x="117" y="5"/>
                    </a:lnTo>
                    <a:lnTo>
                      <a:pt x="116" y="5"/>
                    </a:lnTo>
                    <a:close/>
                    <a:moveTo>
                      <a:pt x="99" y="1"/>
                    </a:moveTo>
                    <a:lnTo>
                      <a:pt x="97" y="3"/>
                    </a:lnTo>
                    <a:lnTo>
                      <a:pt x="97" y="2"/>
                    </a:lnTo>
                    <a:lnTo>
                      <a:pt x="99" y="1"/>
                    </a:lnTo>
                    <a:close/>
                    <a:moveTo>
                      <a:pt x="109" y="0"/>
                    </a:moveTo>
                    <a:lnTo>
                      <a:pt x="111" y="1"/>
                    </a:lnTo>
                    <a:lnTo>
                      <a:pt x="113" y="5"/>
                    </a:lnTo>
                    <a:lnTo>
                      <a:pt x="113" y="3"/>
                    </a:lnTo>
                    <a:lnTo>
                      <a:pt x="114" y="6"/>
                    </a:lnTo>
                    <a:lnTo>
                      <a:pt x="115" y="2"/>
                    </a:lnTo>
                    <a:lnTo>
                      <a:pt x="116" y="7"/>
                    </a:lnTo>
                    <a:lnTo>
                      <a:pt x="117" y="7"/>
                    </a:lnTo>
                    <a:lnTo>
                      <a:pt x="117" y="5"/>
                    </a:lnTo>
                    <a:lnTo>
                      <a:pt x="119" y="5"/>
                    </a:lnTo>
                    <a:lnTo>
                      <a:pt x="119" y="3"/>
                    </a:lnTo>
                    <a:lnTo>
                      <a:pt x="119" y="3"/>
                    </a:lnTo>
                    <a:lnTo>
                      <a:pt x="119" y="463"/>
                    </a:lnTo>
                    <a:lnTo>
                      <a:pt x="119" y="463"/>
                    </a:lnTo>
                    <a:lnTo>
                      <a:pt x="119" y="465"/>
                    </a:lnTo>
                    <a:lnTo>
                      <a:pt x="119" y="465"/>
                    </a:lnTo>
                    <a:lnTo>
                      <a:pt x="109" y="466"/>
                    </a:lnTo>
                    <a:lnTo>
                      <a:pt x="106" y="465"/>
                    </a:lnTo>
                    <a:lnTo>
                      <a:pt x="104" y="463"/>
                    </a:lnTo>
                    <a:lnTo>
                      <a:pt x="105" y="466"/>
                    </a:lnTo>
                    <a:lnTo>
                      <a:pt x="104" y="465"/>
                    </a:lnTo>
                    <a:lnTo>
                      <a:pt x="104" y="463"/>
                    </a:lnTo>
                    <a:lnTo>
                      <a:pt x="103" y="465"/>
                    </a:lnTo>
                    <a:lnTo>
                      <a:pt x="102" y="462"/>
                    </a:lnTo>
                    <a:lnTo>
                      <a:pt x="100" y="466"/>
                    </a:lnTo>
                    <a:lnTo>
                      <a:pt x="98" y="463"/>
                    </a:lnTo>
                    <a:lnTo>
                      <a:pt x="98" y="467"/>
                    </a:lnTo>
                    <a:lnTo>
                      <a:pt x="92" y="466"/>
                    </a:lnTo>
                    <a:lnTo>
                      <a:pt x="94" y="469"/>
                    </a:lnTo>
                    <a:lnTo>
                      <a:pt x="88" y="468"/>
                    </a:lnTo>
                    <a:lnTo>
                      <a:pt x="82" y="468"/>
                    </a:lnTo>
                    <a:lnTo>
                      <a:pt x="81" y="465"/>
                    </a:lnTo>
                    <a:lnTo>
                      <a:pt x="78" y="462"/>
                    </a:lnTo>
                    <a:lnTo>
                      <a:pt x="75" y="461"/>
                    </a:lnTo>
                    <a:lnTo>
                      <a:pt x="74" y="465"/>
                    </a:lnTo>
                    <a:lnTo>
                      <a:pt x="73" y="462"/>
                    </a:lnTo>
                    <a:lnTo>
                      <a:pt x="69" y="465"/>
                    </a:lnTo>
                    <a:lnTo>
                      <a:pt x="69" y="463"/>
                    </a:lnTo>
                    <a:lnTo>
                      <a:pt x="69" y="465"/>
                    </a:lnTo>
                    <a:lnTo>
                      <a:pt x="69" y="465"/>
                    </a:lnTo>
                    <a:lnTo>
                      <a:pt x="70" y="466"/>
                    </a:lnTo>
                    <a:lnTo>
                      <a:pt x="69" y="466"/>
                    </a:lnTo>
                    <a:lnTo>
                      <a:pt x="69" y="467"/>
                    </a:lnTo>
                    <a:lnTo>
                      <a:pt x="67" y="467"/>
                    </a:lnTo>
                    <a:lnTo>
                      <a:pt x="67" y="465"/>
                    </a:lnTo>
                    <a:lnTo>
                      <a:pt x="66" y="463"/>
                    </a:lnTo>
                    <a:lnTo>
                      <a:pt x="66" y="466"/>
                    </a:lnTo>
                    <a:lnTo>
                      <a:pt x="65" y="467"/>
                    </a:lnTo>
                    <a:lnTo>
                      <a:pt x="63" y="465"/>
                    </a:lnTo>
                    <a:lnTo>
                      <a:pt x="57" y="463"/>
                    </a:lnTo>
                    <a:lnTo>
                      <a:pt x="58" y="465"/>
                    </a:lnTo>
                    <a:lnTo>
                      <a:pt x="56" y="465"/>
                    </a:lnTo>
                    <a:lnTo>
                      <a:pt x="56" y="467"/>
                    </a:lnTo>
                    <a:lnTo>
                      <a:pt x="55" y="465"/>
                    </a:lnTo>
                    <a:lnTo>
                      <a:pt x="55" y="467"/>
                    </a:lnTo>
                    <a:lnTo>
                      <a:pt x="54" y="465"/>
                    </a:lnTo>
                    <a:lnTo>
                      <a:pt x="53" y="466"/>
                    </a:lnTo>
                    <a:lnTo>
                      <a:pt x="53" y="465"/>
                    </a:lnTo>
                    <a:lnTo>
                      <a:pt x="52" y="466"/>
                    </a:lnTo>
                    <a:lnTo>
                      <a:pt x="49" y="466"/>
                    </a:lnTo>
                    <a:lnTo>
                      <a:pt x="48" y="467"/>
                    </a:lnTo>
                    <a:lnTo>
                      <a:pt x="45" y="473"/>
                    </a:lnTo>
                    <a:lnTo>
                      <a:pt x="39" y="471"/>
                    </a:lnTo>
                    <a:lnTo>
                      <a:pt x="38" y="468"/>
                    </a:lnTo>
                    <a:lnTo>
                      <a:pt x="38" y="468"/>
                    </a:lnTo>
                    <a:lnTo>
                      <a:pt x="37" y="469"/>
                    </a:lnTo>
                    <a:lnTo>
                      <a:pt x="37" y="473"/>
                    </a:lnTo>
                    <a:lnTo>
                      <a:pt x="35" y="470"/>
                    </a:lnTo>
                    <a:lnTo>
                      <a:pt x="35" y="473"/>
                    </a:lnTo>
                    <a:lnTo>
                      <a:pt x="31" y="469"/>
                    </a:lnTo>
                    <a:lnTo>
                      <a:pt x="31" y="471"/>
                    </a:lnTo>
                    <a:lnTo>
                      <a:pt x="30" y="470"/>
                    </a:lnTo>
                    <a:lnTo>
                      <a:pt x="30" y="471"/>
                    </a:lnTo>
                    <a:lnTo>
                      <a:pt x="27" y="470"/>
                    </a:lnTo>
                    <a:lnTo>
                      <a:pt x="28" y="473"/>
                    </a:lnTo>
                    <a:lnTo>
                      <a:pt x="24" y="467"/>
                    </a:lnTo>
                    <a:lnTo>
                      <a:pt x="22" y="468"/>
                    </a:lnTo>
                    <a:lnTo>
                      <a:pt x="23" y="465"/>
                    </a:lnTo>
                    <a:lnTo>
                      <a:pt x="22" y="465"/>
                    </a:lnTo>
                    <a:lnTo>
                      <a:pt x="21" y="466"/>
                    </a:lnTo>
                    <a:lnTo>
                      <a:pt x="20" y="465"/>
                    </a:lnTo>
                    <a:lnTo>
                      <a:pt x="19" y="466"/>
                    </a:lnTo>
                    <a:lnTo>
                      <a:pt x="17" y="466"/>
                    </a:lnTo>
                    <a:lnTo>
                      <a:pt x="16" y="463"/>
                    </a:lnTo>
                    <a:lnTo>
                      <a:pt x="17" y="467"/>
                    </a:lnTo>
                    <a:lnTo>
                      <a:pt x="15" y="463"/>
                    </a:lnTo>
                    <a:lnTo>
                      <a:pt x="14" y="463"/>
                    </a:lnTo>
                    <a:lnTo>
                      <a:pt x="13" y="466"/>
                    </a:lnTo>
                    <a:lnTo>
                      <a:pt x="12" y="465"/>
                    </a:lnTo>
                    <a:lnTo>
                      <a:pt x="12" y="467"/>
                    </a:lnTo>
                    <a:lnTo>
                      <a:pt x="8" y="466"/>
                    </a:lnTo>
                    <a:lnTo>
                      <a:pt x="8" y="465"/>
                    </a:lnTo>
                    <a:lnTo>
                      <a:pt x="7" y="463"/>
                    </a:lnTo>
                    <a:lnTo>
                      <a:pt x="5" y="465"/>
                    </a:lnTo>
                    <a:lnTo>
                      <a:pt x="6" y="465"/>
                    </a:lnTo>
                    <a:lnTo>
                      <a:pt x="6" y="461"/>
                    </a:lnTo>
                    <a:lnTo>
                      <a:pt x="5" y="465"/>
                    </a:lnTo>
                    <a:lnTo>
                      <a:pt x="3" y="459"/>
                    </a:lnTo>
                    <a:lnTo>
                      <a:pt x="2" y="460"/>
                    </a:lnTo>
                    <a:lnTo>
                      <a:pt x="4" y="465"/>
                    </a:lnTo>
                    <a:lnTo>
                      <a:pt x="0" y="460"/>
                    </a:lnTo>
                    <a:lnTo>
                      <a:pt x="0" y="14"/>
                    </a:lnTo>
                    <a:lnTo>
                      <a:pt x="2" y="14"/>
                    </a:lnTo>
                    <a:lnTo>
                      <a:pt x="3" y="15"/>
                    </a:lnTo>
                    <a:lnTo>
                      <a:pt x="5" y="15"/>
                    </a:lnTo>
                    <a:lnTo>
                      <a:pt x="5" y="11"/>
                    </a:lnTo>
                    <a:lnTo>
                      <a:pt x="6" y="15"/>
                    </a:lnTo>
                    <a:lnTo>
                      <a:pt x="7" y="15"/>
                    </a:lnTo>
                    <a:lnTo>
                      <a:pt x="6" y="13"/>
                    </a:lnTo>
                    <a:lnTo>
                      <a:pt x="6" y="10"/>
                    </a:lnTo>
                    <a:lnTo>
                      <a:pt x="8" y="14"/>
                    </a:lnTo>
                    <a:lnTo>
                      <a:pt x="10" y="14"/>
                    </a:lnTo>
                    <a:lnTo>
                      <a:pt x="10" y="15"/>
                    </a:lnTo>
                    <a:lnTo>
                      <a:pt x="11" y="17"/>
                    </a:lnTo>
                    <a:lnTo>
                      <a:pt x="13" y="17"/>
                    </a:lnTo>
                    <a:lnTo>
                      <a:pt x="13" y="14"/>
                    </a:lnTo>
                    <a:lnTo>
                      <a:pt x="15" y="15"/>
                    </a:lnTo>
                    <a:lnTo>
                      <a:pt x="15" y="11"/>
                    </a:lnTo>
                    <a:lnTo>
                      <a:pt x="15" y="14"/>
                    </a:lnTo>
                    <a:lnTo>
                      <a:pt x="16" y="15"/>
                    </a:lnTo>
                    <a:lnTo>
                      <a:pt x="21" y="11"/>
                    </a:lnTo>
                    <a:lnTo>
                      <a:pt x="23" y="16"/>
                    </a:lnTo>
                    <a:lnTo>
                      <a:pt x="24" y="13"/>
                    </a:lnTo>
                    <a:lnTo>
                      <a:pt x="24" y="15"/>
                    </a:lnTo>
                    <a:lnTo>
                      <a:pt x="25" y="16"/>
                    </a:lnTo>
                    <a:lnTo>
                      <a:pt x="27" y="14"/>
                    </a:lnTo>
                    <a:lnTo>
                      <a:pt x="29" y="13"/>
                    </a:lnTo>
                    <a:lnTo>
                      <a:pt x="28" y="16"/>
                    </a:lnTo>
                    <a:lnTo>
                      <a:pt x="29" y="14"/>
                    </a:lnTo>
                    <a:lnTo>
                      <a:pt x="30" y="16"/>
                    </a:lnTo>
                    <a:lnTo>
                      <a:pt x="30" y="15"/>
                    </a:lnTo>
                    <a:lnTo>
                      <a:pt x="32" y="16"/>
                    </a:lnTo>
                    <a:lnTo>
                      <a:pt x="30" y="16"/>
                    </a:lnTo>
                    <a:lnTo>
                      <a:pt x="33" y="18"/>
                    </a:lnTo>
                    <a:lnTo>
                      <a:pt x="32" y="17"/>
                    </a:lnTo>
                    <a:lnTo>
                      <a:pt x="37" y="18"/>
                    </a:lnTo>
                    <a:lnTo>
                      <a:pt x="38" y="22"/>
                    </a:lnTo>
                    <a:lnTo>
                      <a:pt x="38" y="19"/>
                    </a:lnTo>
                    <a:lnTo>
                      <a:pt x="38" y="19"/>
                    </a:lnTo>
                    <a:lnTo>
                      <a:pt x="38" y="18"/>
                    </a:lnTo>
                    <a:lnTo>
                      <a:pt x="39" y="20"/>
                    </a:lnTo>
                    <a:lnTo>
                      <a:pt x="40" y="19"/>
                    </a:lnTo>
                    <a:lnTo>
                      <a:pt x="45" y="22"/>
                    </a:lnTo>
                    <a:lnTo>
                      <a:pt x="46" y="20"/>
                    </a:lnTo>
                    <a:lnTo>
                      <a:pt x="47" y="19"/>
                    </a:lnTo>
                    <a:lnTo>
                      <a:pt x="48" y="17"/>
                    </a:lnTo>
                    <a:lnTo>
                      <a:pt x="54" y="7"/>
                    </a:lnTo>
                    <a:lnTo>
                      <a:pt x="54" y="8"/>
                    </a:lnTo>
                    <a:lnTo>
                      <a:pt x="54" y="10"/>
                    </a:lnTo>
                    <a:lnTo>
                      <a:pt x="55" y="7"/>
                    </a:lnTo>
                    <a:lnTo>
                      <a:pt x="58" y="11"/>
                    </a:lnTo>
                    <a:lnTo>
                      <a:pt x="61" y="9"/>
                    </a:lnTo>
                    <a:lnTo>
                      <a:pt x="61" y="10"/>
                    </a:lnTo>
                    <a:lnTo>
                      <a:pt x="62" y="9"/>
                    </a:lnTo>
                    <a:lnTo>
                      <a:pt x="62" y="11"/>
                    </a:lnTo>
                    <a:lnTo>
                      <a:pt x="63" y="9"/>
                    </a:lnTo>
                    <a:lnTo>
                      <a:pt x="62" y="9"/>
                    </a:lnTo>
                    <a:lnTo>
                      <a:pt x="63" y="7"/>
                    </a:lnTo>
                    <a:lnTo>
                      <a:pt x="64" y="10"/>
                    </a:lnTo>
                    <a:lnTo>
                      <a:pt x="64" y="9"/>
                    </a:lnTo>
                    <a:lnTo>
                      <a:pt x="65" y="10"/>
                    </a:lnTo>
                    <a:lnTo>
                      <a:pt x="67" y="8"/>
                    </a:lnTo>
                    <a:lnTo>
                      <a:pt x="73" y="6"/>
                    </a:lnTo>
                    <a:lnTo>
                      <a:pt x="72" y="5"/>
                    </a:lnTo>
                    <a:lnTo>
                      <a:pt x="74" y="3"/>
                    </a:lnTo>
                    <a:lnTo>
                      <a:pt x="75" y="8"/>
                    </a:lnTo>
                    <a:lnTo>
                      <a:pt x="78" y="2"/>
                    </a:lnTo>
                    <a:lnTo>
                      <a:pt x="78" y="5"/>
                    </a:lnTo>
                    <a:lnTo>
                      <a:pt x="79" y="3"/>
                    </a:lnTo>
                    <a:lnTo>
                      <a:pt x="81" y="1"/>
                    </a:lnTo>
                    <a:lnTo>
                      <a:pt x="82" y="5"/>
                    </a:lnTo>
                    <a:lnTo>
                      <a:pt x="86" y="6"/>
                    </a:lnTo>
                    <a:lnTo>
                      <a:pt x="87" y="5"/>
                    </a:lnTo>
                    <a:lnTo>
                      <a:pt x="88" y="7"/>
                    </a:lnTo>
                    <a:lnTo>
                      <a:pt x="89" y="7"/>
                    </a:lnTo>
                    <a:lnTo>
                      <a:pt x="89" y="2"/>
                    </a:lnTo>
                    <a:lnTo>
                      <a:pt x="90" y="6"/>
                    </a:lnTo>
                    <a:lnTo>
                      <a:pt x="91" y="2"/>
                    </a:lnTo>
                    <a:lnTo>
                      <a:pt x="92" y="3"/>
                    </a:lnTo>
                    <a:lnTo>
                      <a:pt x="91" y="6"/>
                    </a:lnTo>
                    <a:lnTo>
                      <a:pt x="94" y="5"/>
                    </a:lnTo>
                    <a:lnTo>
                      <a:pt x="94" y="2"/>
                    </a:lnTo>
                    <a:lnTo>
                      <a:pt x="95" y="5"/>
                    </a:lnTo>
                    <a:lnTo>
                      <a:pt x="97" y="3"/>
                    </a:lnTo>
                    <a:lnTo>
                      <a:pt x="97" y="5"/>
                    </a:lnTo>
                    <a:lnTo>
                      <a:pt x="98" y="6"/>
                    </a:lnTo>
                    <a:lnTo>
                      <a:pt x="99" y="3"/>
                    </a:lnTo>
                    <a:lnTo>
                      <a:pt x="102" y="9"/>
                    </a:lnTo>
                    <a:lnTo>
                      <a:pt x="102" y="8"/>
                    </a:lnTo>
                    <a:lnTo>
                      <a:pt x="99" y="5"/>
                    </a:lnTo>
                    <a:lnTo>
                      <a:pt x="103" y="5"/>
                    </a:lnTo>
                    <a:lnTo>
                      <a:pt x="102" y="3"/>
                    </a:lnTo>
                    <a:lnTo>
                      <a:pt x="105" y="7"/>
                    </a:lnTo>
                    <a:lnTo>
                      <a:pt x="105" y="6"/>
                    </a:lnTo>
                    <a:lnTo>
                      <a:pt x="106" y="7"/>
                    </a:lnTo>
                    <a:lnTo>
                      <a:pt x="107" y="3"/>
                    </a:lnTo>
                    <a:lnTo>
                      <a:pt x="111" y="3"/>
                    </a:lnTo>
                    <a:lnTo>
                      <a:pt x="111" y="3"/>
                    </a:lnTo>
                    <a:lnTo>
                      <a:pt x="109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E20074"/>
                  </a:buClr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0" cap="none" spc="0" normalizeH="0" baseline="0" noProof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3" name="Freeform 148"/>
              <p:cNvSpPr>
                <a:spLocks noEditPoints="1"/>
              </p:cNvSpPr>
              <p:nvPr/>
            </p:nvSpPr>
            <p:spPr bwMode="auto">
              <a:xfrm>
                <a:off x="12480926" y="593726"/>
                <a:ext cx="187325" cy="790575"/>
              </a:xfrm>
              <a:custGeom>
                <a:avLst/>
                <a:gdLst>
                  <a:gd name="T0" fmla="*/ 0 w 118"/>
                  <a:gd name="T1" fmla="*/ 475 h 498"/>
                  <a:gd name="T2" fmla="*/ 68 w 118"/>
                  <a:gd name="T3" fmla="*/ 8 h 498"/>
                  <a:gd name="T4" fmla="*/ 109 w 118"/>
                  <a:gd name="T5" fmla="*/ 4 h 498"/>
                  <a:gd name="T6" fmla="*/ 113 w 118"/>
                  <a:gd name="T7" fmla="*/ 1 h 498"/>
                  <a:gd name="T8" fmla="*/ 117 w 118"/>
                  <a:gd name="T9" fmla="*/ 2 h 498"/>
                  <a:gd name="T10" fmla="*/ 118 w 118"/>
                  <a:gd name="T11" fmla="*/ 497 h 498"/>
                  <a:gd name="T12" fmla="*/ 112 w 118"/>
                  <a:gd name="T13" fmla="*/ 495 h 498"/>
                  <a:gd name="T14" fmla="*/ 109 w 118"/>
                  <a:gd name="T15" fmla="*/ 496 h 498"/>
                  <a:gd name="T16" fmla="*/ 103 w 118"/>
                  <a:gd name="T17" fmla="*/ 487 h 498"/>
                  <a:gd name="T18" fmla="*/ 98 w 118"/>
                  <a:gd name="T19" fmla="*/ 485 h 498"/>
                  <a:gd name="T20" fmla="*/ 96 w 118"/>
                  <a:gd name="T21" fmla="*/ 487 h 498"/>
                  <a:gd name="T22" fmla="*/ 92 w 118"/>
                  <a:gd name="T23" fmla="*/ 484 h 498"/>
                  <a:gd name="T24" fmla="*/ 86 w 118"/>
                  <a:gd name="T25" fmla="*/ 484 h 498"/>
                  <a:gd name="T26" fmla="*/ 81 w 118"/>
                  <a:gd name="T27" fmla="*/ 481 h 498"/>
                  <a:gd name="T28" fmla="*/ 79 w 118"/>
                  <a:gd name="T29" fmla="*/ 483 h 498"/>
                  <a:gd name="T30" fmla="*/ 73 w 118"/>
                  <a:gd name="T31" fmla="*/ 483 h 498"/>
                  <a:gd name="T32" fmla="*/ 57 w 118"/>
                  <a:gd name="T33" fmla="*/ 475 h 498"/>
                  <a:gd name="T34" fmla="*/ 53 w 118"/>
                  <a:gd name="T35" fmla="*/ 473 h 498"/>
                  <a:gd name="T36" fmla="*/ 51 w 118"/>
                  <a:gd name="T37" fmla="*/ 471 h 498"/>
                  <a:gd name="T38" fmla="*/ 46 w 118"/>
                  <a:gd name="T39" fmla="*/ 472 h 498"/>
                  <a:gd name="T40" fmla="*/ 42 w 118"/>
                  <a:gd name="T41" fmla="*/ 468 h 498"/>
                  <a:gd name="T42" fmla="*/ 38 w 118"/>
                  <a:gd name="T43" fmla="*/ 470 h 498"/>
                  <a:gd name="T44" fmla="*/ 31 w 118"/>
                  <a:gd name="T45" fmla="*/ 472 h 498"/>
                  <a:gd name="T46" fmla="*/ 23 w 118"/>
                  <a:gd name="T47" fmla="*/ 476 h 498"/>
                  <a:gd name="T48" fmla="*/ 18 w 118"/>
                  <a:gd name="T49" fmla="*/ 472 h 498"/>
                  <a:gd name="T50" fmla="*/ 11 w 118"/>
                  <a:gd name="T51" fmla="*/ 473 h 498"/>
                  <a:gd name="T52" fmla="*/ 1 w 118"/>
                  <a:gd name="T53" fmla="*/ 473 h 498"/>
                  <a:gd name="T54" fmla="*/ 3 w 118"/>
                  <a:gd name="T55" fmla="*/ 12 h 498"/>
                  <a:gd name="T56" fmla="*/ 10 w 118"/>
                  <a:gd name="T57" fmla="*/ 7 h 498"/>
                  <a:gd name="T58" fmla="*/ 18 w 118"/>
                  <a:gd name="T59" fmla="*/ 16 h 498"/>
                  <a:gd name="T60" fmla="*/ 19 w 118"/>
                  <a:gd name="T61" fmla="*/ 16 h 498"/>
                  <a:gd name="T62" fmla="*/ 25 w 118"/>
                  <a:gd name="T63" fmla="*/ 17 h 498"/>
                  <a:gd name="T64" fmla="*/ 30 w 118"/>
                  <a:gd name="T65" fmla="*/ 13 h 498"/>
                  <a:gd name="T66" fmla="*/ 35 w 118"/>
                  <a:gd name="T67" fmla="*/ 10 h 498"/>
                  <a:gd name="T68" fmla="*/ 39 w 118"/>
                  <a:gd name="T69" fmla="*/ 12 h 498"/>
                  <a:gd name="T70" fmla="*/ 45 w 118"/>
                  <a:gd name="T71" fmla="*/ 13 h 498"/>
                  <a:gd name="T72" fmla="*/ 51 w 118"/>
                  <a:gd name="T73" fmla="*/ 8 h 498"/>
                  <a:gd name="T74" fmla="*/ 55 w 118"/>
                  <a:gd name="T75" fmla="*/ 13 h 498"/>
                  <a:gd name="T76" fmla="*/ 60 w 118"/>
                  <a:gd name="T77" fmla="*/ 9 h 498"/>
                  <a:gd name="T78" fmla="*/ 68 w 118"/>
                  <a:gd name="T79" fmla="*/ 9 h 498"/>
                  <a:gd name="T80" fmla="*/ 72 w 118"/>
                  <a:gd name="T81" fmla="*/ 12 h 498"/>
                  <a:gd name="T82" fmla="*/ 80 w 118"/>
                  <a:gd name="T83" fmla="*/ 16 h 498"/>
                  <a:gd name="T84" fmla="*/ 86 w 118"/>
                  <a:gd name="T85" fmla="*/ 12 h 498"/>
                  <a:gd name="T86" fmla="*/ 90 w 118"/>
                  <a:gd name="T87" fmla="*/ 13 h 498"/>
                  <a:gd name="T88" fmla="*/ 94 w 118"/>
                  <a:gd name="T89" fmla="*/ 9 h 498"/>
                  <a:gd name="T90" fmla="*/ 100 w 118"/>
                  <a:gd name="T91" fmla="*/ 11 h 498"/>
                  <a:gd name="T92" fmla="*/ 107 w 118"/>
                  <a:gd name="T93" fmla="*/ 7 h 498"/>
                  <a:gd name="T94" fmla="*/ 109 w 118"/>
                  <a:gd name="T95" fmla="*/ 0 h 4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18" h="498">
                    <a:moveTo>
                      <a:pt x="0" y="475"/>
                    </a:moveTo>
                    <a:lnTo>
                      <a:pt x="0" y="475"/>
                    </a:lnTo>
                    <a:lnTo>
                      <a:pt x="0" y="475"/>
                    </a:lnTo>
                    <a:lnTo>
                      <a:pt x="0" y="475"/>
                    </a:lnTo>
                    <a:close/>
                    <a:moveTo>
                      <a:pt x="68" y="8"/>
                    </a:moveTo>
                    <a:lnTo>
                      <a:pt x="68" y="10"/>
                    </a:lnTo>
                    <a:lnTo>
                      <a:pt x="68" y="9"/>
                    </a:lnTo>
                    <a:lnTo>
                      <a:pt x="68" y="8"/>
                    </a:lnTo>
                    <a:close/>
                    <a:moveTo>
                      <a:pt x="109" y="0"/>
                    </a:moveTo>
                    <a:lnTo>
                      <a:pt x="109" y="0"/>
                    </a:lnTo>
                    <a:lnTo>
                      <a:pt x="109" y="2"/>
                    </a:lnTo>
                    <a:lnTo>
                      <a:pt x="109" y="4"/>
                    </a:lnTo>
                    <a:lnTo>
                      <a:pt x="110" y="2"/>
                    </a:lnTo>
                    <a:lnTo>
                      <a:pt x="111" y="2"/>
                    </a:lnTo>
                    <a:lnTo>
                      <a:pt x="112" y="2"/>
                    </a:lnTo>
                    <a:lnTo>
                      <a:pt x="113" y="1"/>
                    </a:lnTo>
                    <a:lnTo>
                      <a:pt x="114" y="1"/>
                    </a:lnTo>
                    <a:lnTo>
                      <a:pt x="115" y="4"/>
                    </a:lnTo>
                    <a:lnTo>
                      <a:pt x="115" y="2"/>
                    </a:lnTo>
                    <a:lnTo>
                      <a:pt x="117" y="2"/>
                    </a:lnTo>
                    <a:lnTo>
                      <a:pt x="117" y="0"/>
                    </a:lnTo>
                    <a:lnTo>
                      <a:pt x="118" y="2"/>
                    </a:lnTo>
                    <a:lnTo>
                      <a:pt x="118" y="496"/>
                    </a:lnTo>
                    <a:lnTo>
                      <a:pt x="118" y="497"/>
                    </a:lnTo>
                    <a:lnTo>
                      <a:pt x="118" y="498"/>
                    </a:lnTo>
                    <a:lnTo>
                      <a:pt x="114" y="495"/>
                    </a:lnTo>
                    <a:lnTo>
                      <a:pt x="113" y="493"/>
                    </a:lnTo>
                    <a:lnTo>
                      <a:pt x="112" y="495"/>
                    </a:lnTo>
                    <a:lnTo>
                      <a:pt x="111" y="492"/>
                    </a:lnTo>
                    <a:lnTo>
                      <a:pt x="110" y="494"/>
                    </a:lnTo>
                    <a:lnTo>
                      <a:pt x="109" y="492"/>
                    </a:lnTo>
                    <a:lnTo>
                      <a:pt x="109" y="496"/>
                    </a:lnTo>
                    <a:lnTo>
                      <a:pt x="107" y="490"/>
                    </a:lnTo>
                    <a:lnTo>
                      <a:pt x="106" y="492"/>
                    </a:lnTo>
                    <a:lnTo>
                      <a:pt x="105" y="488"/>
                    </a:lnTo>
                    <a:lnTo>
                      <a:pt x="103" y="487"/>
                    </a:lnTo>
                    <a:lnTo>
                      <a:pt x="104" y="492"/>
                    </a:lnTo>
                    <a:lnTo>
                      <a:pt x="102" y="489"/>
                    </a:lnTo>
                    <a:lnTo>
                      <a:pt x="103" y="490"/>
                    </a:lnTo>
                    <a:lnTo>
                      <a:pt x="98" y="485"/>
                    </a:lnTo>
                    <a:lnTo>
                      <a:pt x="98" y="488"/>
                    </a:lnTo>
                    <a:lnTo>
                      <a:pt x="97" y="492"/>
                    </a:lnTo>
                    <a:lnTo>
                      <a:pt x="96" y="483"/>
                    </a:lnTo>
                    <a:lnTo>
                      <a:pt x="96" y="487"/>
                    </a:lnTo>
                    <a:lnTo>
                      <a:pt x="95" y="484"/>
                    </a:lnTo>
                    <a:lnTo>
                      <a:pt x="94" y="485"/>
                    </a:lnTo>
                    <a:lnTo>
                      <a:pt x="93" y="483"/>
                    </a:lnTo>
                    <a:lnTo>
                      <a:pt x="92" y="484"/>
                    </a:lnTo>
                    <a:lnTo>
                      <a:pt x="93" y="486"/>
                    </a:lnTo>
                    <a:lnTo>
                      <a:pt x="89" y="483"/>
                    </a:lnTo>
                    <a:lnTo>
                      <a:pt x="88" y="483"/>
                    </a:lnTo>
                    <a:lnTo>
                      <a:pt x="86" y="484"/>
                    </a:lnTo>
                    <a:lnTo>
                      <a:pt x="87" y="485"/>
                    </a:lnTo>
                    <a:lnTo>
                      <a:pt x="85" y="485"/>
                    </a:lnTo>
                    <a:lnTo>
                      <a:pt x="85" y="483"/>
                    </a:lnTo>
                    <a:lnTo>
                      <a:pt x="81" y="481"/>
                    </a:lnTo>
                    <a:lnTo>
                      <a:pt x="80" y="484"/>
                    </a:lnTo>
                    <a:lnTo>
                      <a:pt x="80" y="481"/>
                    </a:lnTo>
                    <a:lnTo>
                      <a:pt x="79" y="485"/>
                    </a:lnTo>
                    <a:lnTo>
                      <a:pt x="79" y="483"/>
                    </a:lnTo>
                    <a:lnTo>
                      <a:pt x="78" y="481"/>
                    </a:lnTo>
                    <a:lnTo>
                      <a:pt x="77" y="483"/>
                    </a:lnTo>
                    <a:lnTo>
                      <a:pt x="75" y="481"/>
                    </a:lnTo>
                    <a:lnTo>
                      <a:pt x="73" y="483"/>
                    </a:lnTo>
                    <a:lnTo>
                      <a:pt x="70" y="483"/>
                    </a:lnTo>
                    <a:lnTo>
                      <a:pt x="65" y="476"/>
                    </a:lnTo>
                    <a:lnTo>
                      <a:pt x="64" y="477"/>
                    </a:lnTo>
                    <a:lnTo>
                      <a:pt x="57" y="475"/>
                    </a:lnTo>
                    <a:lnTo>
                      <a:pt x="56" y="477"/>
                    </a:lnTo>
                    <a:lnTo>
                      <a:pt x="54" y="477"/>
                    </a:lnTo>
                    <a:lnTo>
                      <a:pt x="52" y="473"/>
                    </a:lnTo>
                    <a:lnTo>
                      <a:pt x="53" y="473"/>
                    </a:lnTo>
                    <a:lnTo>
                      <a:pt x="53" y="472"/>
                    </a:lnTo>
                    <a:lnTo>
                      <a:pt x="51" y="475"/>
                    </a:lnTo>
                    <a:lnTo>
                      <a:pt x="51" y="472"/>
                    </a:lnTo>
                    <a:lnTo>
                      <a:pt x="51" y="471"/>
                    </a:lnTo>
                    <a:lnTo>
                      <a:pt x="48" y="469"/>
                    </a:lnTo>
                    <a:lnTo>
                      <a:pt x="47" y="477"/>
                    </a:lnTo>
                    <a:lnTo>
                      <a:pt x="47" y="471"/>
                    </a:lnTo>
                    <a:lnTo>
                      <a:pt x="46" y="472"/>
                    </a:lnTo>
                    <a:lnTo>
                      <a:pt x="44" y="469"/>
                    </a:lnTo>
                    <a:lnTo>
                      <a:pt x="43" y="470"/>
                    </a:lnTo>
                    <a:lnTo>
                      <a:pt x="43" y="468"/>
                    </a:lnTo>
                    <a:lnTo>
                      <a:pt x="42" y="468"/>
                    </a:lnTo>
                    <a:lnTo>
                      <a:pt x="42" y="470"/>
                    </a:lnTo>
                    <a:lnTo>
                      <a:pt x="40" y="472"/>
                    </a:lnTo>
                    <a:lnTo>
                      <a:pt x="39" y="470"/>
                    </a:lnTo>
                    <a:lnTo>
                      <a:pt x="38" y="470"/>
                    </a:lnTo>
                    <a:lnTo>
                      <a:pt x="39" y="473"/>
                    </a:lnTo>
                    <a:lnTo>
                      <a:pt x="34" y="469"/>
                    </a:lnTo>
                    <a:lnTo>
                      <a:pt x="34" y="468"/>
                    </a:lnTo>
                    <a:lnTo>
                      <a:pt x="31" y="472"/>
                    </a:lnTo>
                    <a:lnTo>
                      <a:pt x="30" y="470"/>
                    </a:lnTo>
                    <a:lnTo>
                      <a:pt x="29" y="475"/>
                    </a:lnTo>
                    <a:lnTo>
                      <a:pt x="27" y="476"/>
                    </a:lnTo>
                    <a:lnTo>
                      <a:pt x="23" y="476"/>
                    </a:lnTo>
                    <a:lnTo>
                      <a:pt x="20" y="472"/>
                    </a:lnTo>
                    <a:lnTo>
                      <a:pt x="20" y="469"/>
                    </a:lnTo>
                    <a:lnTo>
                      <a:pt x="20" y="471"/>
                    </a:lnTo>
                    <a:lnTo>
                      <a:pt x="18" y="472"/>
                    </a:lnTo>
                    <a:lnTo>
                      <a:pt x="17" y="471"/>
                    </a:lnTo>
                    <a:lnTo>
                      <a:pt x="17" y="472"/>
                    </a:lnTo>
                    <a:lnTo>
                      <a:pt x="14" y="475"/>
                    </a:lnTo>
                    <a:lnTo>
                      <a:pt x="11" y="473"/>
                    </a:lnTo>
                    <a:lnTo>
                      <a:pt x="11" y="475"/>
                    </a:lnTo>
                    <a:lnTo>
                      <a:pt x="11" y="472"/>
                    </a:lnTo>
                    <a:lnTo>
                      <a:pt x="3" y="473"/>
                    </a:lnTo>
                    <a:lnTo>
                      <a:pt x="1" y="473"/>
                    </a:lnTo>
                    <a:lnTo>
                      <a:pt x="2" y="475"/>
                    </a:lnTo>
                    <a:lnTo>
                      <a:pt x="0" y="473"/>
                    </a:lnTo>
                    <a:lnTo>
                      <a:pt x="0" y="13"/>
                    </a:lnTo>
                    <a:lnTo>
                      <a:pt x="3" y="12"/>
                    </a:lnTo>
                    <a:lnTo>
                      <a:pt x="3" y="11"/>
                    </a:lnTo>
                    <a:lnTo>
                      <a:pt x="8" y="9"/>
                    </a:lnTo>
                    <a:lnTo>
                      <a:pt x="9" y="10"/>
                    </a:lnTo>
                    <a:lnTo>
                      <a:pt x="10" y="7"/>
                    </a:lnTo>
                    <a:lnTo>
                      <a:pt x="11" y="10"/>
                    </a:lnTo>
                    <a:lnTo>
                      <a:pt x="12" y="9"/>
                    </a:lnTo>
                    <a:lnTo>
                      <a:pt x="15" y="12"/>
                    </a:lnTo>
                    <a:lnTo>
                      <a:pt x="18" y="16"/>
                    </a:lnTo>
                    <a:lnTo>
                      <a:pt x="17" y="12"/>
                    </a:lnTo>
                    <a:lnTo>
                      <a:pt x="18" y="13"/>
                    </a:lnTo>
                    <a:lnTo>
                      <a:pt x="20" y="13"/>
                    </a:lnTo>
                    <a:lnTo>
                      <a:pt x="19" y="16"/>
                    </a:lnTo>
                    <a:lnTo>
                      <a:pt x="20" y="13"/>
                    </a:lnTo>
                    <a:lnTo>
                      <a:pt x="21" y="16"/>
                    </a:lnTo>
                    <a:lnTo>
                      <a:pt x="22" y="13"/>
                    </a:lnTo>
                    <a:lnTo>
                      <a:pt x="25" y="17"/>
                    </a:lnTo>
                    <a:lnTo>
                      <a:pt x="28" y="17"/>
                    </a:lnTo>
                    <a:lnTo>
                      <a:pt x="28" y="15"/>
                    </a:lnTo>
                    <a:lnTo>
                      <a:pt x="29" y="12"/>
                    </a:lnTo>
                    <a:lnTo>
                      <a:pt x="30" y="13"/>
                    </a:lnTo>
                    <a:lnTo>
                      <a:pt x="31" y="11"/>
                    </a:lnTo>
                    <a:lnTo>
                      <a:pt x="32" y="12"/>
                    </a:lnTo>
                    <a:lnTo>
                      <a:pt x="35" y="12"/>
                    </a:lnTo>
                    <a:lnTo>
                      <a:pt x="35" y="10"/>
                    </a:lnTo>
                    <a:lnTo>
                      <a:pt x="34" y="9"/>
                    </a:lnTo>
                    <a:lnTo>
                      <a:pt x="38" y="13"/>
                    </a:lnTo>
                    <a:lnTo>
                      <a:pt x="38" y="10"/>
                    </a:lnTo>
                    <a:lnTo>
                      <a:pt x="39" y="12"/>
                    </a:lnTo>
                    <a:lnTo>
                      <a:pt x="40" y="11"/>
                    </a:lnTo>
                    <a:lnTo>
                      <a:pt x="43" y="13"/>
                    </a:lnTo>
                    <a:lnTo>
                      <a:pt x="44" y="11"/>
                    </a:lnTo>
                    <a:lnTo>
                      <a:pt x="45" y="13"/>
                    </a:lnTo>
                    <a:lnTo>
                      <a:pt x="47" y="9"/>
                    </a:lnTo>
                    <a:lnTo>
                      <a:pt x="48" y="11"/>
                    </a:lnTo>
                    <a:lnTo>
                      <a:pt x="48" y="8"/>
                    </a:lnTo>
                    <a:lnTo>
                      <a:pt x="51" y="8"/>
                    </a:lnTo>
                    <a:lnTo>
                      <a:pt x="52" y="11"/>
                    </a:lnTo>
                    <a:lnTo>
                      <a:pt x="54" y="11"/>
                    </a:lnTo>
                    <a:lnTo>
                      <a:pt x="54" y="12"/>
                    </a:lnTo>
                    <a:lnTo>
                      <a:pt x="55" y="13"/>
                    </a:lnTo>
                    <a:lnTo>
                      <a:pt x="57" y="10"/>
                    </a:lnTo>
                    <a:lnTo>
                      <a:pt x="57" y="11"/>
                    </a:lnTo>
                    <a:lnTo>
                      <a:pt x="60" y="12"/>
                    </a:lnTo>
                    <a:lnTo>
                      <a:pt x="60" y="9"/>
                    </a:lnTo>
                    <a:lnTo>
                      <a:pt x="61" y="9"/>
                    </a:lnTo>
                    <a:lnTo>
                      <a:pt x="63" y="11"/>
                    </a:lnTo>
                    <a:lnTo>
                      <a:pt x="64" y="8"/>
                    </a:lnTo>
                    <a:lnTo>
                      <a:pt x="68" y="9"/>
                    </a:lnTo>
                    <a:lnTo>
                      <a:pt x="68" y="10"/>
                    </a:lnTo>
                    <a:lnTo>
                      <a:pt x="71" y="12"/>
                    </a:lnTo>
                    <a:lnTo>
                      <a:pt x="71" y="13"/>
                    </a:lnTo>
                    <a:lnTo>
                      <a:pt x="72" y="12"/>
                    </a:lnTo>
                    <a:lnTo>
                      <a:pt x="76" y="15"/>
                    </a:lnTo>
                    <a:lnTo>
                      <a:pt x="76" y="13"/>
                    </a:lnTo>
                    <a:lnTo>
                      <a:pt x="78" y="13"/>
                    </a:lnTo>
                    <a:lnTo>
                      <a:pt x="80" y="16"/>
                    </a:lnTo>
                    <a:lnTo>
                      <a:pt x="82" y="11"/>
                    </a:lnTo>
                    <a:lnTo>
                      <a:pt x="82" y="15"/>
                    </a:lnTo>
                    <a:lnTo>
                      <a:pt x="85" y="15"/>
                    </a:lnTo>
                    <a:lnTo>
                      <a:pt x="86" y="12"/>
                    </a:lnTo>
                    <a:lnTo>
                      <a:pt x="87" y="15"/>
                    </a:lnTo>
                    <a:lnTo>
                      <a:pt x="87" y="13"/>
                    </a:lnTo>
                    <a:lnTo>
                      <a:pt x="90" y="11"/>
                    </a:lnTo>
                    <a:lnTo>
                      <a:pt x="90" y="13"/>
                    </a:lnTo>
                    <a:lnTo>
                      <a:pt x="92" y="13"/>
                    </a:lnTo>
                    <a:lnTo>
                      <a:pt x="93" y="11"/>
                    </a:lnTo>
                    <a:lnTo>
                      <a:pt x="94" y="12"/>
                    </a:lnTo>
                    <a:lnTo>
                      <a:pt x="94" y="9"/>
                    </a:lnTo>
                    <a:lnTo>
                      <a:pt x="97" y="10"/>
                    </a:lnTo>
                    <a:lnTo>
                      <a:pt x="98" y="9"/>
                    </a:lnTo>
                    <a:lnTo>
                      <a:pt x="98" y="9"/>
                    </a:lnTo>
                    <a:lnTo>
                      <a:pt x="100" y="11"/>
                    </a:lnTo>
                    <a:lnTo>
                      <a:pt x="100" y="9"/>
                    </a:lnTo>
                    <a:lnTo>
                      <a:pt x="102" y="7"/>
                    </a:lnTo>
                    <a:lnTo>
                      <a:pt x="103" y="8"/>
                    </a:lnTo>
                    <a:lnTo>
                      <a:pt x="107" y="7"/>
                    </a:lnTo>
                    <a:lnTo>
                      <a:pt x="109" y="4"/>
                    </a:lnTo>
                    <a:lnTo>
                      <a:pt x="109" y="2"/>
                    </a:lnTo>
                    <a:lnTo>
                      <a:pt x="109" y="1"/>
                    </a:lnTo>
                    <a:lnTo>
                      <a:pt x="109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E20074"/>
                  </a:buClr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0" cap="none" spc="0" normalizeH="0" baseline="0" noProof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4" name="Freeform 149"/>
              <p:cNvSpPr>
                <a:spLocks noEditPoints="1"/>
              </p:cNvSpPr>
              <p:nvPr/>
            </p:nvSpPr>
            <p:spPr bwMode="auto">
              <a:xfrm>
                <a:off x="12668251" y="592139"/>
                <a:ext cx="187325" cy="804863"/>
              </a:xfrm>
              <a:custGeom>
                <a:avLst/>
                <a:gdLst>
                  <a:gd name="T0" fmla="*/ 71 w 118"/>
                  <a:gd name="T1" fmla="*/ 2 h 507"/>
                  <a:gd name="T2" fmla="*/ 116 w 118"/>
                  <a:gd name="T3" fmla="*/ 502 h 507"/>
                  <a:gd name="T4" fmla="*/ 112 w 118"/>
                  <a:gd name="T5" fmla="*/ 503 h 507"/>
                  <a:gd name="T6" fmla="*/ 109 w 118"/>
                  <a:gd name="T7" fmla="*/ 503 h 507"/>
                  <a:gd name="T8" fmla="*/ 106 w 118"/>
                  <a:gd name="T9" fmla="*/ 506 h 507"/>
                  <a:gd name="T10" fmla="*/ 101 w 118"/>
                  <a:gd name="T11" fmla="*/ 507 h 507"/>
                  <a:gd name="T12" fmla="*/ 95 w 118"/>
                  <a:gd name="T13" fmla="*/ 504 h 507"/>
                  <a:gd name="T14" fmla="*/ 93 w 118"/>
                  <a:gd name="T15" fmla="*/ 503 h 507"/>
                  <a:gd name="T16" fmla="*/ 85 w 118"/>
                  <a:gd name="T17" fmla="*/ 498 h 507"/>
                  <a:gd name="T18" fmla="*/ 79 w 118"/>
                  <a:gd name="T19" fmla="*/ 503 h 507"/>
                  <a:gd name="T20" fmla="*/ 70 w 118"/>
                  <a:gd name="T21" fmla="*/ 499 h 507"/>
                  <a:gd name="T22" fmla="*/ 67 w 118"/>
                  <a:gd name="T23" fmla="*/ 499 h 507"/>
                  <a:gd name="T24" fmla="*/ 64 w 118"/>
                  <a:gd name="T25" fmla="*/ 498 h 507"/>
                  <a:gd name="T26" fmla="*/ 60 w 118"/>
                  <a:gd name="T27" fmla="*/ 502 h 507"/>
                  <a:gd name="T28" fmla="*/ 54 w 118"/>
                  <a:gd name="T29" fmla="*/ 498 h 507"/>
                  <a:gd name="T30" fmla="*/ 52 w 118"/>
                  <a:gd name="T31" fmla="*/ 499 h 507"/>
                  <a:gd name="T32" fmla="*/ 47 w 118"/>
                  <a:gd name="T33" fmla="*/ 499 h 507"/>
                  <a:gd name="T34" fmla="*/ 42 w 118"/>
                  <a:gd name="T35" fmla="*/ 497 h 507"/>
                  <a:gd name="T36" fmla="*/ 38 w 118"/>
                  <a:gd name="T37" fmla="*/ 495 h 507"/>
                  <a:gd name="T38" fmla="*/ 38 w 118"/>
                  <a:gd name="T39" fmla="*/ 499 h 507"/>
                  <a:gd name="T40" fmla="*/ 37 w 118"/>
                  <a:gd name="T41" fmla="*/ 495 h 507"/>
                  <a:gd name="T42" fmla="*/ 30 w 118"/>
                  <a:gd name="T43" fmla="*/ 486 h 507"/>
                  <a:gd name="T44" fmla="*/ 28 w 118"/>
                  <a:gd name="T45" fmla="*/ 488 h 507"/>
                  <a:gd name="T46" fmla="*/ 25 w 118"/>
                  <a:gd name="T47" fmla="*/ 489 h 507"/>
                  <a:gd name="T48" fmla="*/ 20 w 118"/>
                  <a:gd name="T49" fmla="*/ 485 h 507"/>
                  <a:gd name="T50" fmla="*/ 18 w 118"/>
                  <a:gd name="T51" fmla="*/ 491 h 507"/>
                  <a:gd name="T52" fmla="*/ 16 w 118"/>
                  <a:gd name="T53" fmla="*/ 495 h 507"/>
                  <a:gd name="T54" fmla="*/ 11 w 118"/>
                  <a:gd name="T55" fmla="*/ 496 h 507"/>
                  <a:gd name="T56" fmla="*/ 4 w 118"/>
                  <a:gd name="T57" fmla="*/ 497 h 507"/>
                  <a:gd name="T58" fmla="*/ 0 w 118"/>
                  <a:gd name="T59" fmla="*/ 3 h 507"/>
                  <a:gd name="T60" fmla="*/ 5 w 118"/>
                  <a:gd name="T61" fmla="*/ 9 h 507"/>
                  <a:gd name="T62" fmla="*/ 11 w 118"/>
                  <a:gd name="T63" fmla="*/ 8 h 507"/>
                  <a:gd name="T64" fmla="*/ 14 w 118"/>
                  <a:gd name="T65" fmla="*/ 8 h 507"/>
                  <a:gd name="T66" fmla="*/ 19 w 118"/>
                  <a:gd name="T67" fmla="*/ 9 h 507"/>
                  <a:gd name="T68" fmla="*/ 24 w 118"/>
                  <a:gd name="T69" fmla="*/ 8 h 507"/>
                  <a:gd name="T70" fmla="*/ 31 w 118"/>
                  <a:gd name="T71" fmla="*/ 10 h 507"/>
                  <a:gd name="T72" fmla="*/ 34 w 118"/>
                  <a:gd name="T73" fmla="*/ 8 h 507"/>
                  <a:gd name="T74" fmla="*/ 41 w 118"/>
                  <a:gd name="T75" fmla="*/ 5 h 507"/>
                  <a:gd name="T76" fmla="*/ 45 w 118"/>
                  <a:gd name="T77" fmla="*/ 6 h 507"/>
                  <a:gd name="T78" fmla="*/ 47 w 118"/>
                  <a:gd name="T79" fmla="*/ 3 h 507"/>
                  <a:gd name="T80" fmla="*/ 52 w 118"/>
                  <a:gd name="T81" fmla="*/ 2 h 507"/>
                  <a:gd name="T82" fmla="*/ 54 w 118"/>
                  <a:gd name="T83" fmla="*/ 2 h 507"/>
                  <a:gd name="T84" fmla="*/ 61 w 118"/>
                  <a:gd name="T85" fmla="*/ 1 h 507"/>
                  <a:gd name="T86" fmla="*/ 62 w 118"/>
                  <a:gd name="T87" fmla="*/ 0 h 507"/>
                  <a:gd name="T88" fmla="*/ 69 w 118"/>
                  <a:gd name="T89" fmla="*/ 1 h 507"/>
                  <a:gd name="T90" fmla="*/ 71 w 118"/>
                  <a:gd name="T91" fmla="*/ 5 h 507"/>
                  <a:gd name="T92" fmla="*/ 77 w 118"/>
                  <a:gd name="T93" fmla="*/ 8 h 507"/>
                  <a:gd name="T94" fmla="*/ 77 w 118"/>
                  <a:gd name="T95" fmla="*/ 6 h 507"/>
                  <a:gd name="T96" fmla="*/ 78 w 118"/>
                  <a:gd name="T97" fmla="*/ 10 h 507"/>
                  <a:gd name="T98" fmla="*/ 84 w 118"/>
                  <a:gd name="T99" fmla="*/ 8 h 507"/>
                  <a:gd name="T100" fmla="*/ 97 w 118"/>
                  <a:gd name="T101" fmla="*/ 8 h 507"/>
                  <a:gd name="T102" fmla="*/ 102 w 118"/>
                  <a:gd name="T103" fmla="*/ 4 h 507"/>
                  <a:gd name="T104" fmla="*/ 108 w 118"/>
                  <a:gd name="T105" fmla="*/ 3 h 507"/>
                  <a:gd name="T106" fmla="*/ 111 w 118"/>
                  <a:gd name="T107" fmla="*/ 2 h 507"/>
                  <a:gd name="T108" fmla="*/ 117 w 118"/>
                  <a:gd name="T109" fmla="*/ 1 h 5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18" h="507">
                    <a:moveTo>
                      <a:pt x="71" y="2"/>
                    </a:moveTo>
                    <a:lnTo>
                      <a:pt x="71" y="4"/>
                    </a:lnTo>
                    <a:lnTo>
                      <a:pt x="71" y="4"/>
                    </a:lnTo>
                    <a:lnTo>
                      <a:pt x="71" y="2"/>
                    </a:lnTo>
                    <a:close/>
                    <a:moveTo>
                      <a:pt x="118" y="0"/>
                    </a:moveTo>
                    <a:lnTo>
                      <a:pt x="118" y="499"/>
                    </a:lnTo>
                    <a:lnTo>
                      <a:pt x="117" y="498"/>
                    </a:lnTo>
                    <a:lnTo>
                      <a:pt x="116" y="502"/>
                    </a:lnTo>
                    <a:lnTo>
                      <a:pt x="114" y="501"/>
                    </a:lnTo>
                    <a:lnTo>
                      <a:pt x="114" y="503"/>
                    </a:lnTo>
                    <a:lnTo>
                      <a:pt x="111" y="502"/>
                    </a:lnTo>
                    <a:lnTo>
                      <a:pt x="112" y="503"/>
                    </a:lnTo>
                    <a:lnTo>
                      <a:pt x="110" y="503"/>
                    </a:lnTo>
                    <a:lnTo>
                      <a:pt x="110" y="504"/>
                    </a:lnTo>
                    <a:lnTo>
                      <a:pt x="109" y="506"/>
                    </a:lnTo>
                    <a:lnTo>
                      <a:pt x="109" y="503"/>
                    </a:lnTo>
                    <a:lnTo>
                      <a:pt x="108" y="504"/>
                    </a:lnTo>
                    <a:lnTo>
                      <a:pt x="105" y="504"/>
                    </a:lnTo>
                    <a:lnTo>
                      <a:pt x="108" y="506"/>
                    </a:lnTo>
                    <a:lnTo>
                      <a:pt x="106" y="506"/>
                    </a:lnTo>
                    <a:lnTo>
                      <a:pt x="105" y="505"/>
                    </a:lnTo>
                    <a:lnTo>
                      <a:pt x="104" y="505"/>
                    </a:lnTo>
                    <a:lnTo>
                      <a:pt x="103" y="507"/>
                    </a:lnTo>
                    <a:lnTo>
                      <a:pt x="101" y="507"/>
                    </a:lnTo>
                    <a:lnTo>
                      <a:pt x="95" y="502"/>
                    </a:lnTo>
                    <a:lnTo>
                      <a:pt x="96" y="504"/>
                    </a:lnTo>
                    <a:lnTo>
                      <a:pt x="95" y="503"/>
                    </a:lnTo>
                    <a:lnTo>
                      <a:pt x="95" y="504"/>
                    </a:lnTo>
                    <a:lnTo>
                      <a:pt x="96" y="506"/>
                    </a:lnTo>
                    <a:lnTo>
                      <a:pt x="94" y="506"/>
                    </a:lnTo>
                    <a:lnTo>
                      <a:pt x="94" y="505"/>
                    </a:lnTo>
                    <a:lnTo>
                      <a:pt x="93" y="503"/>
                    </a:lnTo>
                    <a:lnTo>
                      <a:pt x="93" y="505"/>
                    </a:lnTo>
                    <a:lnTo>
                      <a:pt x="86" y="498"/>
                    </a:lnTo>
                    <a:lnTo>
                      <a:pt x="86" y="502"/>
                    </a:lnTo>
                    <a:lnTo>
                      <a:pt x="85" y="498"/>
                    </a:lnTo>
                    <a:lnTo>
                      <a:pt x="84" y="502"/>
                    </a:lnTo>
                    <a:lnTo>
                      <a:pt x="83" y="501"/>
                    </a:lnTo>
                    <a:lnTo>
                      <a:pt x="83" y="504"/>
                    </a:lnTo>
                    <a:lnTo>
                      <a:pt x="79" y="503"/>
                    </a:lnTo>
                    <a:lnTo>
                      <a:pt x="76" y="502"/>
                    </a:lnTo>
                    <a:lnTo>
                      <a:pt x="74" y="506"/>
                    </a:lnTo>
                    <a:lnTo>
                      <a:pt x="69" y="497"/>
                    </a:lnTo>
                    <a:lnTo>
                      <a:pt x="70" y="499"/>
                    </a:lnTo>
                    <a:lnTo>
                      <a:pt x="68" y="498"/>
                    </a:lnTo>
                    <a:lnTo>
                      <a:pt x="67" y="498"/>
                    </a:lnTo>
                    <a:lnTo>
                      <a:pt x="68" y="499"/>
                    </a:lnTo>
                    <a:lnTo>
                      <a:pt x="67" y="499"/>
                    </a:lnTo>
                    <a:lnTo>
                      <a:pt x="67" y="501"/>
                    </a:lnTo>
                    <a:lnTo>
                      <a:pt x="67" y="502"/>
                    </a:lnTo>
                    <a:lnTo>
                      <a:pt x="63" y="502"/>
                    </a:lnTo>
                    <a:lnTo>
                      <a:pt x="64" y="498"/>
                    </a:lnTo>
                    <a:lnTo>
                      <a:pt x="62" y="499"/>
                    </a:lnTo>
                    <a:lnTo>
                      <a:pt x="62" y="503"/>
                    </a:lnTo>
                    <a:lnTo>
                      <a:pt x="59" y="499"/>
                    </a:lnTo>
                    <a:lnTo>
                      <a:pt x="60" y="502"/>
                    </a:lnTo>
                    <a:lnTo>
                      <a:pt x="56" y="497"/>
                    </a:lnTo>
                    <a:lnTo>
                      <a:pt x="56" y="499"/>
                    </a:lnTo>
                    <a:lnTo>
                      <a:pt x="55" y="501"/>
                    </a:lnTo>
                    <a:lnTo>
                      <a:pt x="54" y="498"/>
                    </a:lnTo>
                    <a:lnTo>
                      <a:pt x="56" y="501"/>
                    </a:lnTo>
                    <a:lnTo>
                      <a:pt x="56" y="503"/>
                    </a:lnTo>
                    <a:lnTo>
                      <a:pt x="55" y="502"/>
                    </a:lnTo>
                    <a:lnTo>
                      <a:pt x="52" y="499"/>
                    </a:lnTo>
                    <a:lnTo>
                      <a:pt x="54" y="502"/>
                    </a:lnTo>
                    <a:lnTo>
                      <a:pt x="51" y="501"/>
                    </a:lnTo>
                    <a:lnTo>
                      <a:pt x="52" y="503"/>
                    </a:lnTo>
                    <a:lnTo>
                      <a:pt x="47" y="499"/>
                    </a:lnTo>
                    <a:lnTo>
                      <a:pt x="49" y="501"/>
                    </a:lnTo>
                    <a:lnTo>
                      <a:pt x="47" y="502"/>
                    </a:lnTo>
                    <a:lnTo>
                      <a:pt x="43" y="498"/>
                    </a:lnTo>
                    <a:lnTo>
                      <a:pt x="42" y="497"/>
                    </a:lnTo>
                    <a:lnTo>
                      <a:pt x="43" y="501"/>
                    </a:lnTo>
                    <a:lnTo>
                      <a:pt x="41" y="502"/>
                    </a:lnTo>
                    <a:lnTo>
                      <a:pt x="39" y="498"/>
                    </a:lnTo>
                    <a:lnTo>
                      <a:pt x="38" y="495"/>
                    </a:lnTo>
                    <a:lnTo>
                      <a:pt x="38" y="496"/>
                    </a:lnTo>
                    <a:lnTo>
                      <a:pt x="38" y="497"/>
                    </a:lnTo>
                    <a:lnTo>
                      <a:pt x="38" y="499"/>
                    </a:lnTo>
                    <a:lnTo>
                      <a:pt x="38" y="499"/>
                    </a:lnTo>
                    <a:lnTo>
                      <a:pt x="38" y="501"/>
                    </a:lnTo>
                    <a:lnTo>
                      <a:pt x="38" y="499"/>
                    </a:lnTo>
                    <a:lnTo>
                      <a:pt x="38" y="497"/>
                    </a:lnTo>
                    <a:lnTo>
                      <a:pt x="37" y="495"/>
                    </a:lnTo>
                    <a:lnTo>
                      <a:pt x="34" y="495"/>
                    </a:lnTo>
                    <a:lnTo>
                      <a:pt x="31" y="486"/>
                    </a:lnTo>
                    <a:lnTo>
                      <a:pt x="31" y="487"/>
                    </a:lnTo>
                    <a:lnTo>
                      <a:pt x="30" y="486"/>
                    </a:lnTo>
                    <a:lnTo>
                      <a:pt x="30" y="484"/>
                    </a:lnTo>
                    <a:lnTo>
                      <a:pt x="29" y="484"/>
                    </a:lnTo>
                    <a:lnTo>
                      <a:pt x="28" y="487"/>
                    </a:lnTo>
                    <a:lnTo>
                      <a:pt x="28" y="488"/>
                    </a:lnTo>
                    <a:lnTo>
                      <a:pt x="26" y="486"/>
                    </a:lnTo>
                    <a:lnTo>
                      <a:pt x="26" y="486"/>
                    </a:lnTo>
                    <a:lnTo>
                      <a:pt x="26" y="487"/>
                    </a:lnTo>
                    <a:lnTo>
                      <a:pt x="25" y="489"/>
                    </a:lnTo>
                    <a:lnTo>
                      <a:pt x="24" y="487"/>
                    </a:lnTo>
                    <a:lnTo>
                      <a:pt x="25" y="485"/>
                    </a:lnTo>
                    <a:lnTo>
                      <a:pt x="22" y="485"/>
                    </a:lnTo>
                    <a:lnTo>
                      <a:pt x="20" y="485"/>
                    </a:lnTo>
                    <a:lnTo>
                      <a:pt x="21" y="488"/>
                    </a:lnTo>
                    <a:lnTo>
                      <a:pt x="19" y="488"/>
                    </a:lnTo>
                    <a:lnTo>
                      <a:pt x="19" y="493"/>
                    </a:lnTo>
                    <a:lnTo>
                      <a:pt x="18" y="491"/>
                    </a:lnTo>
                    <a:lnTo>
                      <a:pt x="17" y="493"/>
                    </a:lnTo>
                    <a:lnTo>
                      <a:pt x="17" y="489"/>
                    </a:lnTo>
                    <a:lnTo>
                      <a:pt x="14" y="493"/>
                    </a:lnTo>
                    <a:lnTo>
                      <a:pt x="16" y="495"/>
                    </a:lnTo>
                    <a:lnTo>
                      <a:pt x="12" y="495"/>
                    </a:lnTo>
                    <a:lnTo>
                      <a:pt x="13" y="496"/>
                    </a:lnTo>
                    <a:lnTo>
                      <a:pt x="12" y="495"/>
                    </a:lnTo>
                    <a:lnTo>
                      <a:pt x="11" y="496"/>
                    </a:lnTo>
                    <a:lnTo>
                      <a:pt x="6" y="496"/>
                    </a:lnTo>
                    <a:lnTo>
                      <a:pt x="6" y="497"/>
                    </a:lnTo>
                    <a:lnTo>
                      <a:pt x="5" y="497"/>
                    </a:lnTo>
                    <a:lnTo>
                      <a:pt x="4" y="497"/>
                    </a:lnTo>
                    <a:lnTo>
                      <a:pt x="3" y="499"/>
                    </a:lnTo>
                    <a:lnTo>
                      <a:pt x="2" y="496"/>
                    </a:lnTo>
                    <a:lnTo>
                      <a:pt x="0" y="497"/>
                    </a:lnTo>
                    <a:lnTo>
                      <a:pt x="0" y="3"/>
                    </a:lnTo>
                    <a:lnTo>
                      <a:pt x="2" y="9"/>
                    </a:lnTo>
                    <a:lnTo>
                      <a:pt x="3" y="10"/>
                    </a:lnTo>
                    <a:lnTo>
                      <a:pt x="4" y="11"/>
                    </a:lnTo>
                    <a:lnTo>
                      <a:pt x="5" y="9"/>
                    </a:lnTo>
                    <a:lnTo>
                      <a:pt x="6" y="11"/>
                    </a:lnTo>
                    <a:lnTo>
                      <a:pt x="6" y="9"/>
                    </a:lnTo>
                    <a:lnTo>
                      <a:pt x="9" y="10"/>
                    </a:lnTo>
                    <a:lnTo>
                      <a:pt x="11" y="8"/>
                    </a:lnTo>
                    <a:lnTo>
                      <a:pt x="11" y="10"/>
                    </a:lnTo>
                    <a:lnTo>
                      <a:pt x="12" y="9"/>
                    </a:lnTo>
                    <a:lnTo>
                      <a:pt x="13" y="10"/>
                    </a:lnTo>
                    <a:lnTo>
                      <a:pt x="14" y="8"/>
                    </a:lnTo>
                    <a:lnTo>
                      <a:pt x="14" y="10"/>
                    </a:lnTo>
                    <a:lnTo>
                      <a:pt x="16" y="9"/>
                    </a:lnTo>
                    <a:lnTo>
                      <a:pt x="18" y="10"/>
                    </a:lnTo>
                    <a:lnTo>
                      <a:pt x="19" y="9"/>
                    </a:lnTo>
                    <a:lnTo>
                      <a:pt x="20" y="10"/>
                    </a:lnTo>
                    <a:lnTo>
                      <a:pt x="20" y="9"/>
                    </a:lnTo>
                    <a:lnTo>
                      <a:pt x="21" y="5"/>
                    </a:lnTo>
                    <a:lnTo>
                      <a:pt x="24" y="8"/>
                    </a:lnTo>
                    <a:lnTo>
                      <a:pt x="24" y="4"/>
                    </a:lnTo>
                    <a:lnTo>
                      <a:pt x="26" y="8"/>
                    </a:lnTo>
                    <a:lnTo>
                      <a:pt x="30" y="6"/>
                    </a:lnTo>
                    <a:lnTo>
                      <a:pt x="31" y="10"/>
                    </a:lnTo>
                    <a:lnTo>
                      <a:pt x="34" y="8"/>
                    </a:lnTo>
                    <a:lnTo>
                      <a:pt x="33" y="9"/>
                    </a:lnTo>
                    <a:lnTo>
                      <a:pt x="35" y="9"/>
                    </a:lnTo>
                    <a:lnTo>
                      <a:pt x="34" y="8"/>
                    </a:lnTo>
                    <a:lnTo>
                      <a:pt x="35" y="6"/>
                    </a:lnTo>
                    <a:lnTo>
                      <a:pt x="37" y="8"/>
                    </a:lnTo>
                    <a:lnTo>
                      <a:pt x="39" y="8"/>
                    </a:lnTo>
                    <a:lnTo>
                      <a:pt x="41" y="5"/>
                    </a:lnTo>
                    <a:lnTo>
                      <a:pt x="42" y="8"/>
                    </a:lnTo>
                    <a:lnTo>
                      <a:pt x="44" y="6"/>
                    </a:lnTo>
                    <a:lnTo>
                      <a:pt x="44" y="4"/>
                    </a:lnTo>
                    <a:lnTo>
                      <a:pt x="45" y="6"/>
                    </a:lnTo>
                    <a:lnTo>
                      <a:pt x="46" y="3"/>
                    </a:lnTo>
                    <a:lnTo>
                      <a:pt x="46" y="5"/>
                    </a:lnTo>
                    <a:lnTo>
                      <a:pt x="47" y="4"/>
                    </a:lnTo>
                    <a:lnTo>
                      <a:pt x="47" y="3"/>
                    </a:lnTo>
                    <a:lnTo>
                      <a:pt x="49" y="4"/>
                    </a:lnTo>
                    <a:lnTo>
                      <a:pt x="49" y="2"/>
                    </a:lnTo>
                    <a:lnTo>
                      <a:pt x="50" y="4"/>
                    </a:lnTo>
                    <a:lnTo>
                      <a:pt x="52" y="2"/>
                    </a:lnTo>
                    <a:lnTo>
                      <a:pt x="52" y="2"/>
                    </a:lnTo>
                    <a:lnTo>
                      <a:pt x="53" y="3"/>
                    </a:lnTo>
                    <a:lnTo>
                      <a:pt x="56" y="3"/>
                    </a:lnTo>
                    <a:lnTo>
                      <a:pt x="54" y="2"/>
                    </a:lnTo>
                    <a:lnTo>
                      <a:pt x="59" y="2"/>
                    </a:lnTo>
                    <a:lnTo>
                      <a:pt x="58" y="4"/>
                    </a:lnTo>
                    <a:lnTo>
                      <a:pt x="59" y="5"/>
                    </a:lnTo>
                    <a:lnTo>
                      <a:pt x="61" y="1"/>
                    </a:lnTo>
                    <a:lnTo>
                      <a:pt x="60" y="4"/>
                    </a:lnTo>
                    <a:lnTo>
                      <a:pt x="62" y="2"/>
                    </a:lnTo>
                    <a:lnTo>
                      <a:pt x="61" y="2"/>
                    </a:lnTo>
                    <a:lnTo>
                      <a:pt x="62" y="0"/>
                    </a:lnTo>
                    <a:lnTo>
                      <a:pt x="63" y="3"/>
                    </a:lnTo>
                    <a:lnTo>
                      <a:pt x="64" y="3"/>
                    </a:lnTo>
                    <a:lnTo>
                      <a:pt x="68" y="3"/>
                    </a:lnTo>
                    <a:lnTo>
                      <a:pt x="69" y="1"/>
                    </a:lnTo>
                    <a:lnTo>
                      <a:pt x="70" y="2"/>
                    </a:lnTo>
                    <a:lnTo>
                      <a:pt x="70" y="4"/>
                    </a:lnTo>
                    <a:lnTo>
                      <a:pt x="71" y="4"/>
                    </a:lnTo>
                    <a:lnTo>
                      <a:pt x="71" y="5"/>
                    </a:lnTo>
                    <a:lnTo>
                      <a:pt x="74" y="4"/>
                    </a:lnTo>
                    <a:lnTo>
                      <a:pt x="76" y="10"/>
                    </a:lnTo>
                    <a:lnTo>
                      <a:pt x="76" y="9"/>
                    </a:lnTo>
                    <a:lnTo>
                      <a:pt x="77" y="8"/>
                    </a:lnTo>
                    <a:lnTo>
                      <a:pt x="77" y="6"/>
                    </a:lnTo>
                    <a:lnTo>
                      <a:pt x="77" y="5"/>
                    </a:lnTo>
                    <a:lnTo>
                      <a:pt x="77" y="5"/>
                    </a:lnTo>
                    <a:lnTo>
                      <a:pt x="77" y="6"/>
                    </a:lnTo>
                    <a:lnTo>
                      <a:pt x="77" y="8"/>
                    </a:lnTo>
                    <a:lnTo>
                      <a:pt x="78" y="9"/>
                    </a:lnTo>
                    <a:lnTo>
                      <a:pt x="77" y="9"/>
                    </a:lnTo>
                    <a:lnTo>
                      <a:pt x="78" y="10"/>
                    </a:lnTo>
                    <a:lnTo>
                      <a:pt x="79" y="10"/>
                    </a:lnTo>
                    <a:lnTo>
                      <a:pt x="80" y="9"/>
                    </a:lnTo>
                    <a:lnTo>
                      <a:pt x="81" y="11"/>
                    </a:lnTo>
                    <a:lnTo>
                      <a:pt x="84" y="8"/>
                    </a:lnTo>
                    <a:lnTo>
                      <a:pt x="86" y="9"/>
                    </a:lnTo>
                    <a:lnTo>
                      <a:pt x="96" y="8"/>
                    </a:lnTo>
                    <a:lnTo>
                      <a:pt x="96" y="6"/>
                    </a:lnTo>
                    <a:lnTo>
                      <a:pt x="97" y="8"/>
                    </a:lnTo>
                    <a:lnTo>
                      <a:pt x="101" y="8"/>
                    </a:lnTo>
                    <a:lnTo>
                      <a:pt x="101" y="4"/>
                    </a:lnTo>
                    <a:lnTo>
                      <a:pt x="102" y="6"/>
                    </a:lnTo>
                    <a:lnTo>
                      <a:pt x="102" y="4"/>
                    </a:lnTo>
                    <a:lnTo>
                      <a:pt x="103" y="5"/>
                    </a:lnTo>
                    <a:lnTo>
                      <a:pt x="103" y="4"/>
                    </a:lnTo>
                    <a:lnTo>
                      <a:pt x="108" y="5"/>
                    </a:lnTo>
                    <a:lnTo>
                      <a:pt x="108" y="3"/>
                    </a:lnTo>
                    <a:lnTo>
                      <a:pt x="110" y="3"/>
                    </a:lnTo>
                    <a:lnTo>
                      <a:pt x="109" y="1"/>
                    </a:lnTo>
                    <a:lnTo>
                      <a:pt x="111" y="3"/>
                    </a:lnTo>
                    <a:lnTo>
                      <a:pt x="111" y="2"/>
                    </a:lnTo>
                    <a:lnTo>
                      <a:pt x="111" y="1"/>
                    </a:lnTo>
                    <a:lnTo>
                      <a:pt x="112" y="1"/>
                    </a:lnTo>
                    <a:lnTo>
                      <a:pt x="114" y="3"/>
                    </a:lnTo>
                    <a:lnTo>
                      <a:pt x="117" y="1"/>
                    </a:lnTo>
                    <a:lnTo>
                      <a:pt x="118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E20074"/>
                  </a:buClr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0" cap="none" spc="0" normalizeH="0" baseline="0" noProof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5" name="Freeform 150"/>
              <p:cNvSpPr>
                <a:spLocks noEditPoints="1"/>
              </p:cNvSpPr>
              <p:nvPr/>
            </p:nvSpPr>
            <p:spPr bwMode="auto">
              <a:xfrm>
                <a:off x="12855576" y="560389"/>
                <a:ext cx="187325" cy="849313"/>
              </a:xfrm>
              <a:custGeom>
                <a:avLst/>
                <a:gdLst>
                  <a:gd name="T0" fmla="*/ 45 w 118"/>
                  <a:gd name="T1" fmla="*/ 521 h 535"/>
                  <a:gd name="T2" fmla="*/ 118 w 118"/>
                  <a:gd name="T3" fmla="*/ 517 h 535"/>
                  <a:gd name="T4" fmla="*/ 115 w 118"/>
                  <a:gd name="T5" fmla="*/ 522 h 535"/>
                  <a:gd name="T6" fmla="*/ 110 w 118"/>
                  <a:gd name="T7" fmla="*/ 523 h 535"/>
                  <a:gd name="T8" fmla="*/ 107 w 118"/>
                  <a:gd name="T9" fmla="*/ 531 h 535"/>
                  <a:gd name="T10" fmla="*/ 100 w 118"/>
                  <a:gd name="T11" fmla="*/ 528 h 535"/>
                  <a:gd name="T12" fmla="*/ 94 w 118"/>
                  <a:gd name="T13" fmla="*/ 533 h 535"/>
                  <a:gd name="T14" fmla="*/ 91 w 118"/>
                  <a:gd name="T15" fmla="*/ 528 h 535"/>
                  <a:gd name="T16" fmla="*/ 86 w 118"/>
                  <a:gd name="T17" fmla="*/ 526 h 535"/>
                  <a:gd name="T18" fmla="*/ 84 w 118"/>
                  <a:gd name="T19" fmla="*/ 528 h 535"/>
                  <a:gd name="T20" fmla="*/ 83 w 118"/>
                  <a:gd name="T21" fmla="*/ 532 h 535"/>
                  <a:gd name="T22" fmla="*/ 76 w 118"/>
                  <a:gd name="T23" fmla="*/ 533 h 535"/>
                  <a:gd name="T24" fmla="*/ 71 w 118"/>
                  <a:gd name="T25" fmla="*/ 530 h 535"/>
                  <a:gd name="T26" fmla="*/ 67 w 118"/>
                  <a:gd name="T27" fmla="*/ 524 h 535"/>
                  <a:gd name="T28" fmla="*/ 62 w 118"/>
                  <a:gd name="T29" fmla="*/ 526 h 535"/>
                  <a:gd name="T30" fmla="*/ 57 w 118"/>
                  <a:gd name="T31" fmla="*/ 528 h 535"/>
                  <a:gd name="T32" fmla="*/ 53 w 118"/>
                  <a:gd name="T33" fmla="*/ 527 h 535"/>
                  <a:gd name="T34" fmla="*/ 49 w 118"/>
                  <a:gd name="T35" fmla="*/ 524 h 535"/>
                  <a:gd name="T36" fmla="*/ 48 w 118"/>
                  <a:gd name="T37" fmla="*/ 526 h 535"/>
                  <a:gd name="T38" fmla="*/ 49 w 118"/>
                  <a:gd name="T39" fmla="*/ 521 h 535"/>
                  <a:gd name="T40" fmla="*/ 43 w 118"/>
                  <a:gd name="T41" fmla="*/ 518 h 535"/>
                  <a:gd name="T42" fmla="*/ 41 w 118"/>
                  <a:gd name="T43" fmla="*/ 522 h 535"/>
                  <a:gd name="T44" fmla="*/ 34 w 118"/>
                  <a:gd name="T45" fmla="*/ 517 h 535"/>
                  <a:gd name="T46" fmla="*/ 30 w 118"/>
                  <a:gd name="T47" fmla="*/ 517 h 535"/>
                  <a:gd name="T48" fmla="*/ 30 w 118"/>
                  <a:gd name="T49" fmla="*/ 526 h 535"/>
                  <a:gd name="T50" fmla="*/ 27 w 118"/>
                  <a:gd name="T51" fmla="*/ 526 h 535"/>
                  <a:gd name="T52" fmla="*/ 26 w 118"/>
                  <a:gd name="T53" fmla="*/ 525 h 535"/>
                  <a:gd name="T54" fmla="*/ 23 w 118"/>
                  <a:gd name="T55" fmla="*/ 526 h 535"/>
                  <a:gd name="T56" fmla="*/ 12 w 118"/>
                  <a:gd name="T57" fmla="*/ 522 h 535"/>
                  <a:gd name="T58" fmla="*/ 12 w 118"/>
                  <a:gd name="T59" fmla="*/ 525 h 535"/>
                  <a:gd name="T60" fmla="*/ 5 w 118"/>
                  <a:gd name="T61" fmla="*/ 522 h 535"/>
                  <a:gd name="T62" fmla="*/ 1 w 118"/>
                  <a:gd name="T63" fmla="*/ 515 h 535"/>
                  <a:gd name="T64" fmla="*/ 1 w 118"/>
                  <a:gd name="T65" fmla="*/ 19 h 535"/>
                  <a:gd name="T66" fmla="*/ 5 w 118"/>
                  <a:gd name="T67" fmla="*/ 19 h 535"/>
                  <a:gd name="T68" fmla="*/ 9 w 118"/>
                  <a:gd name="T69" fmla="*/ 15 h 535"/>
                  <a:gd name="T70" fmla="*/ 11 w 118"/>
                  <a:gd name="T71" fmla="*/ 14 h 535"/>
                  <a:gd name="T72" fmla="*/ 20 w 118"/>
                  <a:gd name="T73" fmla="*/ 14 h 535"/>
                  <a:gd name="T74" fmla="*/ 29 w 118"/>
                  <a:gd name="T75" fmla="*/ 12 h 535"/>
                  <a:gd name="T76" fmla="*/ 34 w 118"/>
                  <a:gd name="T77" fmla="*/ 13 h 535"/>
                  <a:gd name="T78" fmla="*/ 38 w 118"/>
                  <a:gd name="T79" fmla="*/ 13 h 535"/>
                  <a:gd name="T80" fmla="*/ 38 w 118"/>
                  <a:gd name="T81" fmla="*/ 13 h 535"/>
                  <a:gd name="T82" fmla="*/ 46 w 118"/>
                  <a:gd name="T83" fmla="*/ 14 h 535"/>
                  <a:gd name="T84" fmla="*/ 48 w 118"/>
                  <a:gd name="T85" fmla="*/ 15 h 535"/>
                  <a:gd name="T86" fmla="*/ 49 w 118"/>
                  <a:gd name="T87" fmla="*/ 15 h 535"/>
                  <a:gd name="T88" fmla="*/ 52 w 118"/>
                  <a:gd name="T89" fmla="*/ 12 h 535"/>
                  <a:gd name="T90" fmla="*/ 54 w 118"/>
                  <a:gd name="T91" fmla="*/ 12 h 535"/>
                  <a:gd name="T92" fmla="*/ 60 w 118"/>
                  <a:gd name="T93" fmla="*/ 11 h 535"/>
                  <a:gd name="T94" fmla="*/ 70 w 118"/>
                  <a:gd name="T95" fmla="*/ 11 h 535"/>
                  <a:gd name="T96" fmla="*/ 75 w 118"/>
                  <a:gd name="T97" fmla="*/ 14 h 535"/>
                  <a:gd name="T98" fmla="*/ 79 w 118"/>
                  <a:gd name="T99" fmla="*/ 12 h 535"/>
                  <a:gd name="T100" fmla="*/ 90 w 118"/>
                  <a:gd name="T101" fmla="*/ 9 h 535"/>
                  <a:gd name="T102" fmla="*/ 97 w 118"/>
                  <a:gd name="T103" fmla="*/ 6 h 535"/>
                  <a:gd name="T104" fmla="*/ 105 w 118"/>
                  <a:gd name="T105" fmla="*/ 8 h 535"/>
                  <a:gd name="T106" fmla="*/ 109 w 118"/>
                  <a:gd name="T107" fmla="*/ 9 h 5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18" h="535">
                    <a:moveTo>
                      <a:pt x="45" y="521"/>
                    </a:moveTo>
                    <a:lnTo>
                      <a:pt x="46" y="522"/>
                    </a:lnTo>
                    <a:lnTo>
                      <a:pt x="44" y="521"/>
                    </a:lnTo>
                    <a:lnTo>
                      <a:pt x="45" y="521"/>
                    </a:lnTo>
                    <a:close/>
                    <a:moveTo>
                      <a:pt x="116" y="0"/>
                    </a:moveTo>
                    <a:lnTo>
                      <a:pt x="118" y="1"/>
                    </a:lnTo>
                    <a:lnTo>
                      <a:pt x="118" y="518"/>
                    </a:lnTo>
                    <a:lnTo>
                      <a:pt x="118" y="517"/>
                    </a:lnTo>
                    <a:lnTo>
                      <a:pt x="117" y="518"/>
                    </a:lnTo>
                    <a:lnTo>
                      <a:pt x="116" y="518"/>
                    </a:lnTo>
                    <a:lnTo>
                      <a:pt x="117" y="522"/>
                    </a:lnTo>
                    <a:lnTo>
                      <a:pt x="115" y="522"/>
                    </a:lnTo>
                    <a:lnTo>
                      <a:pt x="115" y="519"/>
                    </a:lnTo>
                    <a:lnTo>
                      <a:pt x="112" y="519"/>
                    </a:lnTo>
                    <a:lnTo>
                      <a:pt x="111" y="522"/>
                    </a:lnTo>
                    <a:lnTo>
                      <a:pt x="110" y="523"/>
                    </a:lnTo>
                    <a:lnTo>
                      <a:pt x="109" y="532"/>
                    </a:lnTo>
                    <a:lnTo>
                      <a:pt x="109" y="531"/>
                    </a:lnTo>
                    <a:lnTo>
                      <a:pt x="109" y="535"/>
                    </a:lnTo>
                    <a:lnTo>
                      <a:pt x="107" y="531"/>
                    </a:lnTo>
                    <a:lnTo>
                      <a:pt x="102" y="530"/>
                    </a:lnTo>
                    <a:lnTo>
                      <a:pt x="102" y="533"/>
                    </a:lnTo>
                    <a:lnTo>
                      <a:pt x="101" y="532"/>
                    </a:lnTo>
                    <a:lnTo>
                      <a:pt x="100" y="528"/>
                    </a:lnTo>
                    <a:lnTo>
                      <a:pt x="99" y="528"/>
                    </a:lnTo>
                    <a:lnTo>
                      <a:pt x="97" y="530"/>
                    </a:lnTo>
                    <a:lnTo>
                      <a:pt x="95" y="528"/>
                    </a:lnTo>
                    <a:lnTo>
                      <a:pt x="94" y="533"/>
                    </a:lnTo>
                    <a:lnTo>
                      <a:pt x="94" y="528"/>
                    </a:lnTo>
                    <a:lnTo>
                      <a:pt x="92" y="527"/>
                    </a:lnTo>
                    <a:lnTo>
                      <a:pt x="91" y="526"/>
                    </a:lnTo>
                    <a:lnTo>
                      <a:pt x="91" y="528"/>
                    </a:lnTo>
                    <a:lnTo>
                      <a:pt x="91" y="526"/>
                    </a:lnTo>
                    <a:lnTo>
                      <a:pt x="88" y="525"/>
                    </a:lnTo>
                    <a:lnTo>
                      <a:pt x="86" y="527"/>
                    </a:lnTo>
                    <a:lnTo>
                      <a:pt x="86" y="526"/>
                    </a:lnTo>
                    <a:lnTo>
                      <a:pt x="86" y="527"/>
                    </a:lnTo>
                    <a:lnTo>
                      <a:pt x="85" y="526"/>
                    </a:lnTo>
                    <a:lnTo>
                      <a:pt x="86" y="531"/>
                    </a:lnTo>
                    <a:lnTo>
                      <a:pt x="84" y="528"/>
                    </a:lnTo>
                    <a:lnTo>
                      <a:pt x="84" y="528"/>
                    </a:lnTo>
                    <a:lnTo>
                      <a:pt x="83" y="528"/>
                    </a:lnTo>
                    <a:lnTo>
                      <a:pt x="84" y="528"/>
                    </a:lnTo>
                    <a:lnTo>
                      <a:pt x="83" y="532"/>
                    </a:lnTo>
                    <a:lnTo>
                      <a:pt x="79" y="528"/>
                    </a:lnTo>
                    <a:lnTo>
                      <a:pt x="78" y="533"/>
                    </a:lnTo>
                    <a:lnTo>
                      <a:pt x="78" y="530"/>
                    </a:lnTo>
                    <a:lnTo>
                      <a:pt x="76" y="533"/>
                    </a:lnTo>
                    <a:lnTo>
                      <a:pt x="74" y="532"/>
                    </a:lnTo>
                    <a:lnTo>
                      <a:pt x="74" y="532"/>
                    </a:lnTo>
                    <a:lnTo>
                      <a:pt x="75" y="527"/>
                    </a:lnTo>
                    <a:lnTo>
                      <a:pt x="71" y="530"/>
                    </a:lnTo>
                    <a:lnTo>
                      <a:pt x="72" y="527"/>
                    </a:lnTo>
                    <a:lnTo>
                      <a:pt x="71" y="528"/>
                    </a:lnTo>
                    <a:lnTo>
                      <a:pt x="69" y="526"/>
                    </a:lnTo>
                    <a:lnTo>
                      <a:pt x="67" y="524"/>
                    </a:lnTo>
                    <a:lnTo>
                      <a:pt x="67" y="526"/>
                    </a:lnTo>
                    <a:lnTo>
                      <a:pt x="65" y="524"/>
                    </a:lnTo>
                    <a:lnTo>
                      <a:pt x="65" y="526"/>
                    </a:lnTo>
                    <a:lnTo>
                      <a:pt x="62" y="526"/>
                    </a:lnTo>
                    <a:lnTo>
                      <a:pt x="60" y="524"/>
                    </a:lnTo>
                    <a:lnTo>
                      <a:pt x="59" y="527"/>
                    </a:lnTo>
                    <a:lnTo>
                      <a:pt x="59" y="528"/>
                    </a:lnTo>
                    <a:lnTo>
                      <a:pt x="57" y="528"/>
                    </a:lnTo>
                    <a:lnTo>
                      <a:pt x="55" y="524"/>
                    </a:lnTo>
                    <a:lnTo>
                      <a:pt x="55" y="526"/>
                    </a:lnTo>
                    <a:lnTo>
                      <a:pt x="55" y="523"/>
                    </a:lnTo>
                    <a:lnTo>
                      <a:pt x="53" y="527"/>
                    </a:lnTo>
                    <a:lnTo>
                      <a:pt x="53" y="523"/>
                    </a:lnTo>
                    <a:lnTo>
                      <a:pt x="51" y="522"/>
                    </a:lnTo>
                    <a:lnTo>
                      <a:pt x="50" y="521"/>
                    </a:lnTo>
                    <a:lnTo>
                      <a:pt x="49" y="524"/>
                    </a:lnTo>
                    <a:lnTo>
                      <a:pt x="49" y="523"/>
                    </a:lnTo>
                    <a:lnTo>
                      <a:pt x="49" y="524"/>
                    </a:lnTo>
                    <a:lnTo>
                      <a:pt x="48" y="525"/>
                    </a:lnTo>
                    <a:lnTo>
                      <a:pt x="48" y="526"/>
                    </a:lnTo>
                    <a:lnTo>
                      <a:pt x="48" y="525"/>
                    </a:lnTo>
                    <a:lnTo>
                      <a:pt x="48" y="524"/>
                    </a:lnTo>
                    <a:lnTo>
                      <a:pt x="49" y="522"/>
                    </a:lnTo>
                    <a:lnTo>
                      <a:pt x="49" y="521"/>
                    </a:lnTo>
                    <a:lnTo>
                      <a:pt x="49" y="518"/>
                    </a:lnTo>
                    <a:lnTo>
                      <a:pt x="49" y="521"/>
                    </a:lnTo>
                    <a:lnTo>
                      <a:pt x="45" y="521"/>
                    </a:lnTo>
                    <a:lnTo>
                      <a:pt x="43" y="518"/>
                    </a:lnTo>
                    <a:lnTo>
                      <a:pt x="41" y="518"/>
                    </a:lnTo>
                    <a:lnTo>
                      <a:pt x="42" y="522"/>
                    </a:lnTo>
                    <a:lnTo>
                      <a:pt x="41" y="519"/>
                    </a:lnTo>
                    <a:lnTo>
                      <a:pt x="41" y="522"/>
                    </a:lnTo>
                    <a:lnTo>
                      <a:pt x="37" y="519"/>
                    </a:lnTo>
                    <a:lnTo>
                      <a:pt x="37" y="521"/>
                    </a:lnTo>
                    <a:lnTo>
                      <a:pt x="35" y="521"/>
                    </a:lnTo>
                    <a:lnTo>
                      <a:pt x="34" y="517"/>
                    </a:lnTo>
                    <a:lnTo>
                      <a:pt x="33" y="519"/>
                    </a:lnTo>
                    <a:lnTo>
                      <a:pt x="33" y="517"/>
                    </a:lnTo>
                    <a:lnTo>
                      <a:pt x="32" y="519"/>
                    </a:lnTo>
                    <a:lnTo>
                      <a:pt x="30" y="517"/>
                    </a:lnTo>
                    <a:lnTo>
                      <a:pt x="32" y="523"/>
                    </a:lnTo>
                    <a:lnTo>
                      <a:pt x="32" y="525"/>
                    </a:lnTo>
                    <a:lnTo>
                      <a:pt x="29" y="523"/>
                    </a:lnTo>
                    <a:lnTo>
                      <a:pt x="30" y="526"/>
                    </a:lnTo>
                    <a:lnTo>
                      <a:pt x="28" y="523"/>
                    </a:lnTo>
                    <a:lnTo>
                      <a:pt x="28" y="525"/>
                    </a:lnTo>
                    <a:lnTo>
                      <a:pt x="26" y="523"/>
                    </a:lnTo>
                    <a:lnTo>
                      <a:pt x="27" y="526"/>
                    </a:lnTo>
                    <a:lnTo>
                      <a:pt x="28" y="527"/>
                    </a:lnTo>
                    <a:lnTo>
                      <a:pt x="26" y="526"/>
                    </a:lnTo>
                    <a:lnTo>
                      <a:pt x="25" y="522"/>
                    </a:lnTo>
                    <a:lnTo>
                      <a:pt x="26" y="525"/>
                    </a:lnTo>
                    <a:lnTo>
                      <a:pt x="24" y="525"/>
                    </a:lnTo>
                    <a:lnTo>
                      <a:pt x="24" y="528"/>
                    </a:lnTo>
                    <a:lnTo>
                      <a:pt x="23" y="526"/>
                    </a:lnTo>
                    <a:lnTo>
                      <a:pt x="23" y="526"/>
                    </a:lnTo>
                    <a:lnTo>
                      <a:pt x="21" y="530"/>
                    </a:lnTo>
                    <a:lnTo>
                      <a:pt x="16" y="521"/>
                    </a:lnTo>
                    <a:lnTo>
                      <a:pt x="15" y="523"/>
                    </a:lnTo>
                    <a:lnTo>
                      <a:pt x="12" y="522"/>
                    </a:lnTo>
                    <a:lnTo>
                      <a:pt x="12" y="524"/>
                    </a:lnTo>
                    <a:lnTo>
                      <a:pt x="12" y="523"/>
                    </a:lnTo>
                    <a:lnTo>
                      <a:pt x="11" y="523"/>
                    </a:lnTo>
                    <a:lnTo>
                      <a:pt x="12" y="525"/>
                    </a:lnTo>
                    <a:lnTo>
                      <a:pt x="9" y="523"/>
                    </a:lnTo>
                    <a:lnTo>
                      <a:pt x="9" y="526"/>
                    </a:lnTo>
                    <a:lnTo>
                      <a:pt x="5" y="521"/>
                    </a:lnTo>
                    <a:lnTo>
                      <a:pt x="5" y="522"/>
                    </a:lnTo>
                    <a:lnTo>
                      <a:pt x="3" y="517"/>
                    </a:lnTo>
                    <a:lnTo>
                      <a:pt x="2" y="518"/>
                    </a:lnTo>
                    <a:lnTo>
                      <a:pt x="2" y="517"/>
                    </a:lnTo>
                    <a:lnTo>
                      <a:pt x="1" y="515"/>
                    </a:lnTo>
                    <a:lnTo>
                      <a:pt x="0" y="519"/>
                    </a:lnTo>
                    <a:lnTo>
                      <a:pt x="0" y="519"/>
                    </a:lnTo>
                    <a:lnTo>
                      <a:pt x="0" y="20"/>
                    </a:lnTo>
                    <a:lnTo>
                      <a:pt x="1" y="19"/>
                    </a:lnTo>
                    <a:lnTo>
                      <a:pt x="3" y="20"/>
                    </a:lnTo>
                    <a:lnTo>
                      <a:pt x="4" y="17"/>
                    </a:lnTo>
                    <a:lnTo>
                      <a:pt x="5" y="19"/>
                    </a:lnTo>
                    <a:lnTo>
                      <a:pt x="5" y="19"/>
                    </a:lnTo>
                    <a:lnTo>
                      <a:pt x="8" y="17"/>
                    </a:lnTo>
                    <a:lnTo>
                      <a:pt x="7" y="15"/>
                    </a:lnTo>
                    <a:lnTo>
                      <a:pt x="9" y="11"/>
                    </a:lnTo>
                    <a:lnTo>
                      <a:pt x="9" y="15"/>
                    </a:lnTo>
                    <a:lnTo>
                      <a:pt x="13" y="12"/>
                    </a:lnTo>
                    <a:lnTo>
                      <a:pt x="10" y="15"/>
                    </a:lnTo>
                    <a:lnTo>
                      <a:pt x="11" y="16"/>
                    </a:lnTo>
                    <a:lnTo>
                      <a:pt x="11" y="14"/>
                    </a:lnTo>
                    <a:lnTo>
                      <a:pt x="18" y="12"/>
                    </a:lnTo>
                    <a:lnTo>
                      <a:pt x="19" y="13"/>
                    </a:lnTo>
                    <a:lnTo>
                      <a:pt x="19" y="12"/>
                    </a:lnTo>
                    <a:lnTo>
                      <a:pt x="20" y="14"/>
                    </a:lnTo>
                    <a:lnTo>
                      <a:pt x="25" y="11"/>
                    </a:lnTo>
                    <a:lnTo>
                      <a:pt x="27" y="11"/>
                    </a:lnTo>
                    <a:lnTo>
                      <a:pt x="27" y="13"/>
                    </a:lnTo>
                    <a:lnTo>
                      <a:pt x="29" y="12"/>
                    </a:lnTo>
                    <a:lnTo>
                      <a:pt x="28" y="13"/>
                    </a:lnTo>
                    <a:lnTo>
                      <a:pt x="29" y="14"/>
                    </a:lnTo>
                    <a:lnTo>
                      <a:pt x="30" y="12"/>
                    </a:lnTo>
                    <a:lnTo>
                      <a:pt x="34" y="13"/>
                    </a:lnTo>
                    <a:lnTo>
                      <a:pt x="34" y="12"/>
                    </a:lnTo>
                    <a:lnTo>
                      <a:pt x="35" y="12"/>
                    </a:lnTo>
                    <a:lnTo>
                      <a:pt x="36" y="14"/>
                    </a:lnTo>
                    <a:lnTo>
                      <a:pt x="38" y="13"/>
                    </a:lnTo>
                    <a:lnTo>
                      <a:pt x="38" y="15"/>
                    </a:lnTo>
                    <a:lnTo>
                      <a:pt x="40" y="14"/>
                    </a:lnTo>
                    <a:lnTo>
                      <a:pt x="41" y="14"/>
                    </a:lnTo>
                    <a:lnTo>
                      <a:pt x="38" y="13"/>
                    </a:lnTo>
                    <a:lnTo>
                      <a:pt x="43" y="13"/>
                    </a:lnTo>
                    <a:lnTo>
                      <a:pt x="44" y="12"/>
                    </a:lnTo>
                    <a:lnTo>
                      <a:pt x="46" y="12"/>
                    </a:lnTo>
                    <a:lnTo>
                      <a:pt x="46" y="14"/>
                    </a:lnTo>
                    <a:lnTo>
                      <a:pt x="48" y="13"/>
                    </a:lnTo>
                    <a:lnTo>
                      <a:pt x="49" y="12"/>
                    </a:lnTo>
                    <a:lnTo>
                      <a:pt x="49" y="14"/>
                    </a:lnTo>
                    <a:lnTo>
                      <a:pt x="48" y="15"/>
                    </a:lnTo>
                    <a:lnTo>
                      <a:pt x="48" y="14"/>
                    </a:lnTo>
                    <a:lnTo>
                      <a:pt x="48" y="15"/>
                    </a:lnTo>
                    <a:lnTo>
                      <a:pt x="48" y="15"/>
                    </a:lnTo>
                    <a:lnTo>
                      <a:pt x="49" y="15"/>
                    </a:lnTo>
                    <a:lnTo>
                      <a:pt x="49" y="14"/>
                    </a:lnTo>
                    <a:lnTo>
                      <a:pt x="49" y="14"/>
                    </a:lnTo>
                    <a:lnTo>
                      <a:pt x="51" y="16"/>
                    </a:lnTo>
                    <a:lnTo>
                      <a:pt x="52" y="12"/>
                    </a:lnTo>
                    <a:lnTo>
                      <a:pt x="52" y="16"/>
                    </a:lnTo>
                    <a:lnTo>
                      <a:pt x="52" y="16"/>
                    </a:lnTo>
                    <a:lnTo>
                      <a:pt x="54" y="16"/>
                    </a:lnTo>
                    <a:lnTo>
                      <a:pt x="54" y="12"/>
                    </a:lnTo>
                    <a:lnTo>
                      <a:pt x="55" y="15"/>
                    </a:lnTo>
                    <a:lnTo>
                      <a:pt x="59" y="12"/>
                    </a:lnTo>
                    <a:lnTo>
                      <a:pt x="61" y="13"/>
                    </a:lnTo>
                    <a:lnTo>
                      <a:pt x="60" y="11"/>
                    </a:lnTo>
                    <a:lnTo>
                      <a:pt x="63" y="11"/>
                    </a:lnTo>
                    <a:lnTo>
                      <a:pt x="65" y="12"/>
                    </a:lnTo>
                    <a:lnTo>
                      <a:pt x="66" y="11"/>
                    </a:lnTo>
                    <a:lnTo>
                      <a:pt x="70" y="11"/>
                    </a:lnTo>
                    <a:lnTo>
                      <a:pt x="69" y="12"/>
                    </a:lnTo>
                    <a:lnTo>
                      <a:pt x="72" y="15"/>
                    </a:lnTo>
                    <a:lnTo>
                      <a:pt x="74" y="13"/>
                    </a:lnTo>
                    <a:lnTo>
                      <a:pt x="75" y="14"/>
                    </a:lnTo>
                    <a:lnTo>
                      <a:pt x="77" y="14"/>
                    </a:lnTo>
                    <a:lnTo>
                      <a:pt x="77" y="13"/>
                    </a:lnTo>
                    <a:lnTo>
                      <a:pt x="72" y="13"/>
                    </a:lnTo>
                    <a:lnTo>
                      <a:pt x="79" y="12"/>
                    </a:lnTo>
                    <a:lnTo>
                      <a:pt x="86" y="6"/>
                    </a:lnTo>
                    <a:lnTo>
                      <a:pt x="87" y="11"/>
                    </a:lnTo>
                    <a:lnTo>
                      <a:pt x="90" y="11"/>
                    </a:lnTo>
                    <a:lnTo>
                      <a:pt x="90" y="9"/>
                    </a:lnTo>
                    <a:lnTo>
                      <a:pt x="92" y="12"/>
                    </a:lnTo>
                    <a:lnTo>
                      <a:pt x="94" y="8"/>
                    </a:lnTo>
                    <a:lnTo>
                      <a:pt x="93" y="13"/>
                    </a:lnTo>
                    <a:lnTo>
                      <a:pt x="97" y="6"/>
                    </a:lnTo>
                    <a:lnTo>
                      <a:pt x="99" y="7"/>
                    </a:lnTo>
                    <a:lnTo>
                      <a:pt x="103" y="6"/>
                    </a:lnTo>
                    <a:lnTo>
                      <a:pt x="102" y="9"/>
                    </a:lnTo>
                    <a:lnTo>
                      <a:pt x="105" y="8"/>
                    </a:lnTo>
                    <a:lnTo>
                      <a:pt x="104" y="7"/>
                    </a:lnTo>
                    <a:lnTo>
                      <a:pt x="107" y="6"/>
                    </a:lnTo>
                    <a:lnTo>
                      <a:pt x="107" y="9"/>
                    </a:lnTo>
                    <a:lnTo>
                      <a:pt x="109" y="9"/>
                    </a:lnTo>
                    <a:lnTo>
                      <a:pt x="112" y="4"/>
                    </a:lnTo>
                    <a:lnTo>
                      <a:pt x="113" y="6"/>
                    </a:lnTo>
                    <a:lnTo>
                      <a:pt x="116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E20074"/>
                  </a:buClr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0" cap="none" spc="0" normalizeH="0" baseline="0" noProof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6" name="Freeform 151"/>
              <p:cNvSpPr>
                <a:spLocks/>
              </p:cNvSpPr>
              <p:nvPr/>
            </p:nvSpPr>
            <p:spPr bwMode="auto">
              <a:xfrm>
                <a:off x="13042901" y="511176"/>
                <a:ext cx="185738" cy="892175"/>
              </a:xfrm>
              <a:custGeom>
                <a:avLst/>
                <a:gdLst>
                  <a:gd name="T0" fmla="*/ 104 w 117"/>
                  <a:gd name="T1" fmla="*/ 4 h 562"/>
                  <a:gd name="T2" fmla="*/ 117 w 117"/>
                  <a:gd name="T3" fmla="*/ 6 h 562"/>
                  <a:gd name="T4" fmla="*/ 113 w 117"/>
                  <a:gd name="T5" fmla="*/ 549 h 562"/>
                  <a:gd name="T6" fmla="*/ 110 w 117"/>
                  <a:gd name="T7" fmla="*/ 553 h 562"/>
                  <a:gd name="T8" fmla="*/ 106 w 117"/>
                  <a:gd name="T9" fmla="*/ 553 h 562"/>
                  <a:gd name="T10" fmla="*/ 103 w 117"/>
                  <a:gd name="T11" fmla="*/ 558 h 562"/>
                  <a:gd name="T12" fmla="*/ 98 w 117"/>
                  <a:gd name="T13" fmla="*/ 556 h 562"/>
                  <a:gd name="T14" fmla="*/ 94 w 117"/>
                  <a:gd name="T15" fmla="*/ 556 h 562"/>
                  <a:gd name="T16" fmla="*/ 91 w 117"/>
                  <a:gd name="T17" fmla="*/ 557 h 562"/>
                  <a:gd name="T18" fmla="*/ 90 w 117"/>
                  <a:gd name="T19" fmla="*/ 559 h 562"/>
                  <a:gd name="T20" fmla="*/ 84 w 117"/>
                  <a:gd name="T21" fmla="*/ 561 h 562"/>
                  <a:gd name="T22" fmla="*/ 77 w 117"/>
                  <a:gd name="T23" fmla="*/ 556 h 562"/>
                  <a:gd name="T24" fmla="*/ 73 w 117"/>
                  <a:gd name="T25" fmla="*/ 555 h 562"/>
                  <a:gd name="T26" fmla="*/ 66 w 117"/>
                  <a:gd name="T27" fmla="*/ 553 h 562"/>
                  <a:gd name="T28" fmla="*/ 59 w 117"/>
                  <a:gd name="T29" fmla="*/ 547 h 562"/>
                  <a:gd name="T30" fmla="*/ 58 w 117"/>
                  <a:gd name="T31" fmla="*/ 553 h 562"/>
                  <a:gd name="T32" fmla="*/ 50 w 117"/>
                  <a:gd name="T33" fmla="*/ 546 h 562"/>
                  <a:gd name="T34" fmla="*/ 48 w 117"/>
                  <a:gd name="T35" fmla="*/ 547 h 562"/>
                  <a:gd name="T36" fmla="*/ 44 w 117"/>
                  <a:gd name="T37" fmla="*/ 549 h 562"/>
                  <a:gd name="T38" fmla="*/ 39 w 117"/>
                  <a:gd name="T39" fmla="*/ 555 h 562"/>
                  <a:gd name="T40" fmla="*/ 32 w 117"/>
                  <a:gd name="T41" fmla="*/ 554 h 562"/>
                  <a:gd name="T42" fmla="*/ 28 w 117"/>
                  <a:gd name="T43" fmla="*/ 555 h 562"/>
                  <a:gd name="T44" fmla="*/ 25 w 117"/>
                  <a:gd name="T45" fmla="*/ 554 h 562"/>
                  <a:gd name="T46" fmla="*/ 23 w 117"/>
                  <a:gd name="T47" fmla="*/ 559 h 562"/>
                  <a:gd name="T48" fmla="*/ 20 w 117"/>
                  <a:gd name="T49" fmla="*/ 562 h 562"/>
                  <a:gd name="T50" fmla="*/ 18 w 117"/>
                  <a:gd name="T51" fmla="*/ 559 h 562"/>
                  <a:gd name="T52" fmla="*/ 15 w 117"/>
                  <a:gd name="T53" fmla="*/ 556 h 562"/>
                  <a:gd name="T54" fmla="*/ 10 w 117"/>
                  <a:gd name="T55" fmla="*/ 556 h 562"/>
                  <a:gd name="T56" fmla="*/ 6 w 117"/>
                  <a:gd name="T57" fmla="*/ 553 h 562"/>
                  <a:gd name="T58" fmla="*/ 1 w 117"/>
                  <a:gd name="T59" fmla="*/ 553 h 562"/>
                  <a:gd name="T60" fmla="*/ 0 w 117"/>
                  <a:gd name="T61" fmla="*/ 32 h 562"/>
                  <a:gd name="T62" fmla="*/ 3 w 117"/>
                  <a:gd name="T63" fmla="*/ 36 h 562"/>
                  <a:gd name="T64" fmla="*/ 6 w 117"/>
                  <a:gd name="T65" fmla="*/ 37 h 562"/>
                  <a:gd name="T66" fmla="*/ 9 w 117"/>
                  <a:gd name="T67" fmla="*/ 35 h 562"/>
                  <a:gd name="T68" fmla="*/ 19 w 117"/>
                  <a:gd name="T69" fmla="*/ 32 h 562"/>
                  <a:gd name="T70" fmla="*/ 19 w 117"/>
                  <a:gd name="T71" fmla="*/ 28 h 562"/>
                  <a:gd name="T72" fmla="*/ 24 w 117"/>
                  <a:gd name="T73" fmla="*/ 32 h 562"/>
                  <a:gd name="T74" fmla="*/ 28 w 117"/>
                  <a:gd name="T75" fmla="*/ 35 h 562"/>
                  <a:gd name="T76" fmla="*/ 33 w 117"/>
                  <a:gd name="T77" fmla="*/ 31 h 562"/>
                  <a:gd name="T78" fmla="*/ 45 w 117"/>
                  <a:gd name="T79" fmla="*/ 25 h 562"/>
                  <a:gd name="T80" fmla="*/ 52 w 117"/>
                  <a:gd name="T81" fmla="*/ 27 h 562"/>
                  <a:gd name="T82" fmla="*/ 56 w 117"/>
                  <a:gd name="T83" fmla="*/ 23 h 562"/>
                  <a:gd name="T84" fmla="*/ 58 w 117"/>
                  <a:gd name="T85" fmla="*/ 25 h 562"/>
                  <a:gd name="T86" fmla="*/ 65 w 117"/>
                  <a:gd name="T87" fmla="*/ 25 h 562"/>
                  <a:gd name="T88" fmla="*/ 67 w 117"/>
                  <a:gd name="T89" fmla="*/ 23 h 562"/>
                  <a:gd name="T90" fmla="*/ 76 w 117"/>
                  <a:gd name="T91" fmla="*/ 22 h 562"/>
                  <a:gd name="T92" fmla="*/ 83 w 117"/>
                  <a:gd name="T93" fmla="*/ 17 h 562"/>
                  <a:gd name="T94" fmla="*/ 87 w 117"/>
                  <a:gd name="T95" fmla="*/ 11 h 562"/>
                  <a:gd name="T96" fmla="*/ 89 w 117"/>
                  <a:gd name="T97" fmla="*/ 9 h 562"/>
                  <a:gd name="T98" fmla="*/ 91 w 117"/>
                  <a:gd name="T99" fmla="*/ 8 h 562"/>
                  <a:gd name="T100" fmla="*/ 92 w 117"/>
                  <a:gd name="T101" fmla="*/ 2 h 5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17" h="562">
                    <a:moveTo>
                      <a:pt x="100" y="0"/>
                    </a:moveTo>
                    <a:lnTo>
                      <a:pt x="101" y="2"/>
                    </a:lnTo>
                    <a:lnTo>
                      <a:pt x="101" y="1"/>
                    </a:lnTo>
                    <a:lnTo>
                      <a:pt x="104" y="4"/>
                    </a:lnTo>
                    <a:lnTo>
                      <a:pt x="108" y="4"/>
                    </a:lnTo>
                    <a:lnTo>
                      <a:pt x="112" y="2"/>
                    </a:lnTo>
                    <a:lnTo>
                      <a:pt x="112" y="4"/>
                    </a:lnTo>
                    <a:lnTo>
                      <a:pt x="117" y="6"/>
                    </a:lnTo>
                    <a:lnTo>
                      <a:pt x="117" y="6"/>
                    </a:lnTo>
                    <a:lnTo>
                      <a:pt x="117" y="548"/>
                    </a:lnTo>
                    <a:lnTo>
                      <a:pt x="113" y="545"/>
                    </a:lnTo>
                    <a:lnTo>
                      <a:pt x="113" y="549"/>
                    </a:lnTo>
                    <a:lnTo>
                      <a:pt x="112" y="550"/>
                    </a:lnTo>
                    <a:lnTo>
                      <a:pt x="112" y="549"/>
                    </a:lnTo>
                    <a:lnTo>
                      <a:pt x="112" y="552"/>
                    </a:lnTo>
                    <a:lnTo>
                      <a:pt x="110" y="553"/>
                    </a:lnTo>
                    <a:lnTo>
                      <a:pt x="110" y="552"/>
                    </a:lnTo>
                    <a:lnTo>
                      <a:pt x="107" y="550"/>
                    </a:lnTo>
                    <a:lnTo>
                      <a:pt x="107" y="553"/>
                    </a:lnTo>
                    <a:lnTo>
                      <a:pt x="106" y="553"/>
                    </a:lnTo>
                    <a:lnTo>
                      <a:pt x="107" y="555"/>
                    </a:lnTo>
                    <a:lnTo>
                      <a:pt x="104" y="555"/>
                    </a:lnTo>
                    <a:lnTo>
                      <a:pt x="103" y="556"/>
                    </a:lnTo>
                    <a:lnTo>
                      <a:pt x="103" y="558"/>
                    </a:lnTo>
                    <a:lnTo>
                      <a:pt x="100" y="552"/>
                    </a:lnTo>
                    <a:lnTo>
                      <a:pt x="100" y="557"/>
                    </a:lnTo>
                    <a:lnTo>
                      <a:pt x="98" y="555"/>
                    </a:lnTo>
                    <a:lnTo>
                      <a:pt x="98" y="556"/>
                    </a:lnTo>
                    <a:lnTo>
                      <a:pt x="95" y="553"/>
                    </a:lnTo>
                    <a:lnTo>
                      <a:pt x="94" y="553"/>
                    </a:lnTo>
                    <a:lnTo>
                      <a:pt x="95" y="557"/>
                    </a:lnTo>
                    <a:lnTo>
                      <a:pt x="94" y="556"/>
                    </a:lnTo>
                    <a:lnTo>
                      <a:pt x="94" y="559"/>
                    </a:lnTo>
                    <a:lnTo>
                      <a:pt x="92" y="558"/>
                    </a:lnTo>
                    <a:lnTo>
                      <a:pt x="91" y="555"/>
                    </a:lnTo>
                    <a:lnTo>
                      <a:pt x="91" y="557"/>
                    </a:lnTo>
                    <a:lnTo>
                      <a:pt x="90" y="558"/>
                    </a:lnTo>
                    <a:lnTo>
                      <a:pt x="87" y="555"/>
                    </a:lnTo>
                    <a:lnTo>
                      <a:pt x="87" y="557"/>
                    </a:lnTo>
                    <a:lnTo>
                      <a:pt x="90" y="559"/>
                    </a:lnTo>
                    <a:lnTo>
                      <a:pt x="85" y="558"/>
                    </a:lnTo>
                    <a:lnTo>
                      <a:pt x="84" y="559"/>
                    </a:lnTo>
                    <a:lnTo>
                      <a:pt x="84" y="558"/>
                    </a:lnTo>
                    <a:lnTo>
                      <a:pt x="84" y="561"/>
                    </a:lnTo>
                    <a:lnTo>
                      <a:pt x="83" y="561"/>
                    </a:lnTo>
                    <a:lnTo>
                      <a:pt x="83" y="559"/>
                    </a:lnTo>
                    <a:lnTo>
                      <a:pt x="82" y="562"/>
                    </a:lnTo>
                    <a:lnTo>
                      <a:pt x="77" y="556"/>
                    </a:lnTo>
                    <a:lnTo>
                      <a:pt x="74" y="556"/>
                    </a:lnTo>
                    <a:lnTo>
                      <a:pt x="75" y="555"/>
                    </a:lnTo>
                    <a:lnTo>
                      <a:pt x="74" y="555"/>
                    </a:lnTo>
                    <a:lnTo>
                      <a:pt x="73" y="555"/>
                    </a:lnTo>
                    <a:lnTo>
                      <a:pt x="73" y="557"/>
                    </a:lnTo>
                    <a:lnTo>
                      <a:pt x="71" y="555"/>
                    </a:lnTo>
                    <a:lnTo>
                      <a:pt x="70" y="557"/>
                    </a:lnTo>
                    <a:lnTo>
                      <a:pt x="66" y="553"/>
                    </a:lnTo>
                    <a:lnTo>
                      <a:pt x="66" y="556"/>
                    </a:lnTo>
                    <a:lnTo>
                      <a:pt x="64" y="549"/>
                    </a:lnTo>
                    <a:lnTo>
                      <a:pt x="64" y="550"/>
                    </a:lnTo>
                    <a:lnTo>
                      <a:pt x="59" y="547"/>
                    </a:lnTo>
                    <a:lnTo>
                      <a:pt x="60" y="553"/>
                    </a:lnTo>
                    <a:lnTo>
                      <a:pt x="59" y="552"/>
                    </a:lnTo>
                    <a:lnTo>
                      <a:pt x="59" y="554"/>
                    </a:lnTo>
                    <a:lnTo>
                      <a:pt x="58" y="553"/>
                    </a:lnTo>
                    <a:lnTo>
                      <a:pt x="56" y="554"/>
                    </a:lnTo>
                    <a:lnTo>
                      <a:pt x="54" y="548"/>
                    </a:lnTo>
                    <a:lnTo>
                      <a:pt x="53" y="552"/>
                    </a:lnTo>
                    <a:lnTo>
                      <a:pt x="50" y="546"/>
                    </a:lnTo>
                    <a:lnTo>
                      <a:pt x="50" y="548"/>
                    </a:lnTo>
                    <a:lnTo>
                      <a:pt x="49" y="547"/>
                    </a:lnTo>
                    <a:lnTo>
                      <a:pt x="49" y="548"/>
                    </a:lnTo>
                    <a:lnTo>
                      <a:pt x="48" y="547"/>
                    </a:lnTo>
                    <a:lnTo>
                      <a:pt x="46" y="547"/>
                    </a:lnTo>
                    <a:lnTo>
                      <a:pt x="48" y="549"/>
                    </a:lnTo>
                    <a:lnTo>
                      <a:pt x="44" y="546"/>
                    </a:lnTo>
                    <a:lnTo>
                      <a:pt x="44" y="549"/>
                    </a:lnTo>
                    <a:lnTo>
                      <a:pt x="42" y="549"/>
                    </a:lnTo>
                    <a:lnTo>
                      <a:pt x="42" y="548"/>
                    </a:lnTo>
                    <a:lnTo>
                      <a:pt x="40" y="549"/>
                    </a:lnTo>
                    <a:lnTo>
                      <a:pt x="39" y="555"/>
                    </a:lnTo>
                    <a:lnTo>
                      <a:pt x="37" y="553"/>
                    </a:lnTo>
                    <a:lnTo>
                      <a:pt x="35" y="553"/>
                    </a:lnTo>
                    <a:lnTo>
                      <a:pt x="34" y="555"/>
                    </a:lnTo>
                    <a:lnTo>
                      <a:pt x="32" y="554"/>
                    </a:lnTo>
                    <a:lnTo>
                      <a:pt x="31" y="558"/>
                    </a:lnTo>
                    <a:lnTo>
                      <a:pt x="31" y="555"/>
                    </a:lnTo>
                    <a:lnTo>
                      <a:pt x="28" y="557"/>
                    </a:lnTo>
                    <a:lnTo>
                      <a:pt x="28" y="555"/>
                    </a:lnTo>
                    <a:lnTo>
                      <a:pt x="26" y="559"/>
                    </a:lnTo>
                    <a:lnTo>
                      <a:pt x="27" y="554"/>
                    </a:lnTo>
                    <a:lnTo>
                      <a:pt x="25" y="556"/>
                    </a:lnTo>
                    <a:lnTo>
                      <a:pt x="25" y="554"/>
                    </a:lnTo>
                    <a:lnTo>
                      <a:pt x="25" y="554"/>
                    </a:lnTo>
                    <a:lnTo>
                      <a:pt x="24" y="555"/>
                    </a:lnTo>
                    <a:lnTo>
                      <a:pt x="23" y="555"/>
                    </a:lnTo>
                    <a:lnTo>
                      <a:pt x="23" y="559"/>
                    </a:lnTo>
                    <a:lnTo>
                      <a:pt x="21" y="557"/>
                    </a:lnTo>
                    <a:lnTo>
                      <a:pt x="21" y="559"/>
                    </a:lnTo>
                    <a:lnTo>
                      <a:pt x="20" y="559"/>
                    </a:lnTo>
                    <a:lnTo>
                      <a:pt x="20" y="562"/>
                    </a:lnTo>
                    <a:lnTo>
                      <a:pt x="19" y="561"/>
                    </a:lnTo>
                    <a:lnTo>
                      <a:pt x="19" y="562"/>
                    </a:lnTo>
                    <a:lnTo>
                      <a:pt x="18" y="559"/>
                    </a:lnTo>
                    <a:lnTo>
                      <a:pt x="18" y="559"/>
                    </a:lnTo>
                    <a:lnTo>
                      <a:pt x="17" y="561"/>
                    </a:lnTo>
                    <a:lnTo>
                      <a:pt x="16" y="557"/>
                    </a:lnTo>
                    <a:lnTo>
                      <a:pt x="15" y="558"/>
                    </a:lnTo>
                    <a:lnTo>
                      <a:pt x="15" y="556"/>
                    </a:lnTo>
                    <a:lnTo>
                      <a:pt x="14" y="559"/>
                    </a:lnTo>
                    <a:lnTo>
                      <a:pt x="12" y="558"/>
                    </a:lnTo>
                    <a:lnTo>
                      <a:pt x="11" y="561"/>
                    </a:lnTo>
                    <a:lnTo>
                      <a:pt x="10" y="556"/>
                    </a:lnTo>
                    <a:lnTo>
                      <a:pt x="10" y="558"/>
                    </a:lnTo>
                    <a:lnTo>
                      <a:pt x="8" y="556"/>
                    </a:lnTo>
                    <a:lnTo>
                      <a:pt x="8" y="554"/>
                    </a:lnTo>
                    <a:lnTo>
                      <a:pt x="6" y="553"/>
                    </a:lnTo>
                    <a:lnTo>
                      <a:pt x="1" y="554"/>
                    </a:lnTo>
                    <a:lnTo>
                      <a:pt x="3" y="552"/>
                    </a:lnTo>
                    <a:lnTo>
                      <a:pt x="2" y="550"/>
                    </a:lnTo>
                    <a:lnTo>
                      <a:pt x="1" y="553"/>
                    </a:lnTo>
                    <a:lnTo>
                      <a:pt x="1" y="550"/>
                    </a:lnTo>
                    <a:lnTo>
                      <a:pt x="0" y="553"/>
                    </a:lnTo>
                    <a:lnTo>
                      <a:pt x="0" y="549"/>
                    </a:lnTo>
                    <a:lnTo>
                      <a:pt x="0" y="32"/>
                    </a:lnTo>
                    <a:lnTo>
                      <a:pt x="1" y="36"/>
                    </a:lnTo>
                    <a:lnTo>
                      <a:pt x="2" y="34"/>
                    </a:lnTo>
                    <a:lnTo>
                      <a:pt x="2" y="36"/>
                    </a:lnTo>
                    <a:lnTo>
                      <a:pt x="3" y="36"/>
                    </a:lnTo>
                    <a:lnTo>
                      <a:pt x="3" y="34"/>
                    </a:lnTo>
                    <a:lnTo>
                      <a:pt x="4" y="36"/>
                    </a:lnTo>
                    <a:lnTo>
                      <a:pt x="6" y="35"/>
                    </a:lnTo>
                    <a:lnTo>
                      <a:pt x="6" y="37"/>
                    </a:lnTo>
                    <a:lnTo>
                      <a:pt x="6" y="37"/>
                    </a:lnTo>
                    <a:lnTo>
                      <a:pt x="8" y="36"/>
                    </a:lnTo>
                    <a:lnTo>
                      <a:pt x="8" y="30"/>
                    </a:lnTo>
                    <a:lnTo>
                      <a:pt x="9" y="35"/>
                    </a:lnTo>
                    <a:lnTo>
                      <a:pt x="14" y="32"/>
                    </a:lnTo>
                    <a:lnTo>
                      <a:pt x="15" y="31"/>
                    </a:lnTo>
                    <a:lnTo>
                      <a:pt x="15" y="34"/>
                    </a:lnTo>
                    <a:lnTo>
                      <a:pt x="19" y="32"/>
                    </a:lnTo>
                    <a:lnTo>
                      <a:pt x="19" y="35"/>
                    </a:lnTo>
                    <a:lnTo>
                      <a:pt x="20" y="31"/>
                    </a:lnTo>
                    <a:lnTo>
                      <a:pt x="18" y="30"/>
                    </a:lnTo>
                    <a:lnTo>
                      <a:pt x="19" y="28"/>
                    </a:lnTo>
                    <a:lnTo>
                      <a:pt x="21" y="29"/>
                    </a:lnTo>
                    <a:lnTo>
                      <a:pt x="20" y="31"/>
                    </a:lnTo>
                    <a:lnTo>
                      <a:pt x="21" y="29"/>
                    </a:lnTo>
                    <a:lnTo>
                      <a:pt x="24" y="32"/>
                    </a:lnTo>
                    <a:lnTo>
                      <a:pt x="27" y="35"/>
                    </a:lnTo>
                    <a:lnTo>
                      <a:pt x="28" y="34"/>
                    </a:lnTo>
                    <a:lnTo>
                      <a:pt x="27" y="32"/>
                    </a:lnTo>
                    <a:lnTo>
                      <a:pt x="28" y="35"/>
                    </a:lnTo>
                    <a:lnTo>
                      <a:pt x="29" y="35"/>
                    </a:lnTo>
                    <a:lnTo>
                      <a:pt x="32" y="31"/>
                    </a:lnTo>
                    <a:lnTo>
                      <a:pt x="32" y="34"/>
                    </a:lnTo>
                    <a:lnTo>
                      <a:pt x="33" y="31"/>
                    </a:lnTo>
                    <a:lnTo>
                      <a:pt x="34" y="31"/>
                    </a:lnTo>
                    <a:lnTo>
                      <a:pt x="37" y="28"/>
                    </a:lnTo>
                    <a:lnTo>
                      <a:pt x="42" y="28"/>
                    </a:lnTo>
                    <a:lnTo>
                      <a:pt x="45" y="25"/>
                    </a:lnTo>
                    <a:lnTo>
                      <a:pt x="44" y="27"/>
                    </a:lnTo>
                    <a:lnTo>
                      <a:pt x="48" y="23"/>
                    </a:lnTo>
                    <a:lnTo>
                      <a:pt x="51" y="25"/>
                    </a:lnTo>
                    <a:lnTo>
                      <a:pt x="52" y="27"/>
                    </a:lnTo>
                    <a:lnTo>
                      <a:pt x="52" y="27"/>
                    </a:lnTo>
                    <a:lnTo>
                      <a:pt x="53" y="27"/>
                    </a:lnTo>
                    <a:lnTo>
                      <a:pt x="54" y="25"/>
                    </a:lnTo>
                    <a:lnTo>
                      <a:pt x="56" y="23"/>
                    </a:lnTo>
                    <a:lnTo>
                      <a:pt x="56" y="25"/>
                    </a:lnTo>
                    <a:lnTo>
                      <a:pt x="57" y="22"/>
                    </a:lnTo>
                    <a:lnTo>
                      <a:pt x="59" y="22"/>
                    </a:lnTo>
                    <a:lnTo>
                      <a:pt x="58" y="25"/>
                    </a:lnTo>
                    <a:lnTo>
                      <a:pt x="61" y="25"/>
                    </a:lnTo>
                    <a:lnTo>
                      <a:pt x="60" y="23"/>
                    </a:lnTo>
                    <a:lnTo>
                      <a:pt x="62" y="25"/>
                    </a:lnTo>
                    <a:lnTo>
                      <a:pt x="65" y="25"/>
                    </a:lnTo>
                    <a:lnTo>
                      <a:pt x="67" y="25"/>
                    </a:lnTo>
                    <a:lnTo>
                      <a:pt x="65" y="23"/>
                    </a:lnTo>
                    <a:lnTo>
                      <a:pt x="66" y="21"/>
                    </a:lnTo>
                    <a:lnTo>
                      <a:pt x="67" y="23"/>
                    </a:lnTo>
                    <a:lnTo>
                      <a:pt x="69" y="20"/>
                    </a:lnTo>
                    <a:lnTo>
                      <a:pt x="76" y="22"/>
                    </a:lnTo>
                    <a:lnTo>
                      <a:pt x="76" y="20"/>
                    </a:lnTo>
                    <a:lnTo>
                      <a:pt x="76" y="22"/>
                    </a:lnTo>
                    <a:lnTo>
                      <a:pt x="78" y="20"/>
                    </a:lnTo>
                    <a:lnTo>
                      <a:pt x="78" y="18"/>
                    </a:lnTo>
                    <a:lnTo>
                      <a:pt x="82" y="17"/>
                    </a:lnTo>
                    <a:lnTo>
                      <a:pt x="83" y="17"/>
                    </a:lnTo>
                    <a:lnTo>
                      <a:pt x="83" y="14"/>
                    </a:lnTo>
                    <a:lnTo>
                      <a:pt x="86" y="12"/>
                    </a:lnTo>
                    <a:lnTo>
                      <a:pt x="86" y="9"/>
                    </a:lnTo>
                    <a:lnTo>
                      <a:pt x="87" y="11"/>
                    </a:lnTo>
                    <a:lnTo>
                      <a:pt x="87" y="9"/>
                    </a:lnTo>
                    <a:lnTo>
                      <a:pt x="86" y="9"/>
                    </a:lnTo>
                    <a:lnTo>
                      <a:pt x="86" y="8"/>
                    </a:lnTo>
                    <a:lnTo>
                      <a:pt x="89" y="9"/>
                    </a:lnTo>
                    <a:lnTo>
                      <a:pt x="87" y="6"/>
                    </a:lnTo>
                    <a:lnTo>
                      <a:pt x="90" y="5"/>
                    </a:lnTo>
                    <a:lnTo>
                      <a:pt x="91" y="8"/>
                    </a:lnTo>
                    <a:lnTo>
                      <a:pt x="91" y="8"/>
                    </a:lnTo>
                    <a:lnTo>
                      <a:pt x="93" y="4"/>
                    </a:lnTo>
                    <a:lnTo>
                      <a:pt x="93" y="3"/>
                    </a:lnTo>
                    <a:lnTo>
                      <a:pt x="92" y="5"/>
                    </a:lnTo>
                    <a:lnTo>
                      <a:pt x="92" y="2"/>
                    </a:lnTo>
                    <a:lnTo>
                      <a:pt x="94" y="2"/>
                    </a:lnTo>
                    <a:lnTo>
                      <a:pt x="99" y="3"/>
                    </a:lnTo>
                    <a:lnTo>
                      <a:pt x="100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E20074"/>
                  </a:buClr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0" cap="none" spc="0" normalizeH="0" baseline="0" noProof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7" name="Freeform 152"/>
              <p:cNvSpPr>
                <a:spLocks noEditPoints="1"/>
              </p:cNvSpPr>
              <p:nvPr/>
            </p:nvSpPr>
            <p:spPr bwMode="auto">
              <a:xfrm>
                <a:off x="13228639" y="481014"/>
                <a:ext cx="187326" cy="903288"/>
              </a:xfrm>
              <a:custGeom>
                <a:avLst/>
                <a:gdLst>
                  <a:gd name="T0" fmla="*/ 53 w 118"/>
                  <a:gd name="T1" fmla="*/ 561 h 569"/>
                  <a:gd name="T2" fmla="*/ 29 w 118"/>
                  <a:gd name="T3" fmla="*/ 16 h 569"/>
                  <a:gd name="T4" fmla="*/ 28 w 118"/>
                  <a:gd name="T5" fmla="*/ 16 h 569"/>
                  <a:gd name="T6" fmla="*/ 118 w 118"/>
                  <a:gd name="T7" fmla="*/ 4 h 569"/>
                  <a:gd name="T8" fmla="*/ 116 w 118"/>
                  <a:gd name="T9" fmla="*/ 90 h 569"/>
                  <a:gd name="T10" fmla="*/ 116 w 118"/>
                  <a:gd name="T11" fmla="*/ 103 h 569"/>
                  <a:gd name="T12" fmla="*/ 115 w 118"/>
                  <a:gd name="T13" fmla="*/ 149 h 569"/>
                  <a:gd name="T14" fmla="*/ 109 w 118"/>
                  <a:gd name="T15" fmla="*/ 404 h 569"/>
                  <a:gd name="T16" fmla="*/ 103 w 118"/>
                  <a:gd name="T17" fmla="*/ 542 h 569"/>
                  <a:gd name="T18" fmla="*/ 102 w 118"/>
                  <a:gd name="T19" fmla="*/ 546 h 569"/>
                  <a:gd name="T20" fmla="*/ 95 w 118"/>
                  <a:gd name="T21" fmla="*/ 550 h 569"/>
                  <a:gd name="T22" fmla="*/ 93 w 118"/>
                  <a:gd name="T23" fmla="*/ 549 h 569"/>
                  <a:gd name="T24" fmla="*/ 92 w 118"/>
                  <a:gd name="T25" fmla="*/ 554 h 569"/>
                  <a:gd name="T26" fmla="*/ 83 w 118"/>
                  <a:gd name="T27" fmla="*/ 555 h 569"/>
                  <a:gd name="T28" fmla="*/ 75 w 118"/>
                  <a:gd name="T29" fmla="*/ 556 h 569"/>
                  <a:gd name="T30" fmla="*/ 70 w 118"/>
                  <a:gd name="T31" fmla="*/ 560 h 569"/>
                  <a:gd name="T32" fmla="*/ 59 w 118"/>
                  <a:gd name="T33" fmla="*/ 557 h 569"/>
                  <a:gd name="T34" fmla="*/ 54 w 118"/>
                  <a:gd name="T35" fmla="*/ 561 h 569"/>
                  <a:gd name="T36" fmla="*/ 50 w 118"/>
                  <a:gd name="T37" fmla="*/ 559 h 569"/>
                  <a:gd name="T38" fmla="*/ 42 w 118"/>
                  <a:gd name="T39" fmla="*/ 554 h 569"/>
                  <a:gd name="T40" fmla="*/ 37 w 118"/>
                  <a:gd name="T41" fmla="*/ 558 h 569"/>
                  <a:gd name="T42" fmla="*/ 33 w 118"/>
                  <a:gd name="T43" fmla="*/ 559 h 569"/>
                  <a:gd name="T44" fmla="*/ 28 w 118"/>
                  <a:gd name="T45" fmla="*/ 557 h 569"/>
                  <a:gd name="T46" fmla="*/ 25 w 118"/>
                  <a:gd name="T47" fmla="*/ 563 h 569"/>
                  <a:gd name="T48" fmla="*/ 20 w 118"/>
                  <a:gd name="T49" fmla="*/ 561 h 569"/>
                  <a:gd name="T50" fmla="*/ 16 w 118"/>
                  <a:gd name="T51" fmla="*/ 564 h 569"/>
                  <a:gd name="T52" fmla="*/ 16 w 118"/>
                  <a:gd name="T53" fmla="*/ 566 h 569"/>
                  <a:gd name="T54" fmla="*/ 7 w 118"/>
                  <a:gd name="T55" fmla="*/ 569 h 569"/>
                  <a:gd name="T56" fmla="*/ 3 w 118"/>
                  <a:gd name="T57" fmla="*/ 567 h 569"/>
                  <a:gd name="T58" fmla="*/ 1 w 118"/>
                  <a:gd name="T59" fmla="*/ 25 h 569"/>
                  <a:gd name="T60" fmla="*/ 4 w 118"/>
                  <a:gd name="T61" fmla="*/ 25 h 569"/>
                  <a:gd name="T62" fmla="*/ 8 w 118"/>
                  <a:gd name="T63" fmla="*/ 24 h 569"/>
                  <a:gd name="T64" fmla="*/ 14 w 118"/>
                  <a:gd name="T65" fmla="*/ 17 h 569"/>
                  <a:gd name="T66" fmla="*/ 15 w 118"/>
                  <a:gd name="T67" fmla="*/ 19 h 569"/>
                  <a:gd name="T68" fmla="*/ 21 w 118"/>
                  <a:gd name="T69" fmla="*/ 21 h 569"/>
                  <a:gd name="T70" fmla="*/ 27 w 118"/>
                  <a:gd name="T71" fmla="*/ 17 h 569"/>
                  <a:gd name="T72" fmla="*/ 32 w 118"/>
                  <a:gd name="T73" fmla="*/ 19 h 569"/>
                  <a:gd name="T74" fmla="*/ 37 w 118"/>
                  <a:gd name="T75" fmla="*/ 16 h 569"/>
                  <a:gd name="T76" fmla="*/ 40 w 118"/>
                  <a:gd name="T77" fmla="*/ 16 h 569"/>
                  <a:gd name="T78" fmla="*/ 43 w 118"/>
                  <a:gd name="T79" fmla="*/ 13 h 569"/>
                  <a:gd name="T80" fmla="*/ 42 w 118"/>
                  <a:gd name="T81" fmla="*/ 15 h 569"/>
                  <a:gd name="T82" fmla="*/ 42 w 118"/>
                  <a:gd name="T83" fmla="*/ 15 h 569"/>
                  <a:gd name="T84" fmla="*/ 48 w 118"/>
                  <a:gd name="T85" fmla="*/ 13 h 569"/>
                  <a:gd name="T86" fmla="*/ 57 w 118"/>
                  <a:gd name="T87" fmla="*/ 15 h 569"/>
                  <a:gd name="T88" fmla="*/ 61 w 118"/>
                  <a:gd name="T89" fmla="*/ 15 h 569"/>
                  <a:gd name="T90" fmla="*/ 61 w 118"/>
                  <a:gd name="T91" fmla="*/ 15 h 569"/>
                  <a:gd name="T92" fmla="*/ 62 w 118"/>
                  <a:gd name="T93" fmla="*/ 15 h 569"/>
                  <a:gd name="T94" fmla="*/ 65 w 118"/>
                  <a:gd name="T95" fmla="*/ 11 h 569"/>
                  <a:gd name="T96" fmla="*/ 73 w 118"/>
                  <a:gd name="T97" fmla="*/ 8 h 569"/>
                  <a:gd name="T98" fmla="*/ 79 w 118"/>
                  <a:gd name="T99" fmla="*/ 8 h 569"/>
                  <a:gd name="T100" fmla="*/ 85 w 118"/>
                  <a:gd name="T101" fmla="*/ 4 h 569"/>
                  <a:gd name="T102" fmla="*/ 90 w 118"/>
                  <a:gd name="T103" fmla="*/ 5 h 569"/>
                  <a:gd name="T104" fmla="*/ 92 w 118"/>
                  <a:gd name="T105" fmla="*/ 5 h 569"/>
                  <a:gd name="T106" fmla="*/ 101 w 118"/>
                  <a:gd name="T107" fmla="*/ 5 h 569"/>
                  <a:gd name="T108" fmla="*/ 103 w 118"/>
                  <a:gd name="T109" fmla="*/ 5 h 569"/>
                  <a:gd name="T110" fmla="*/ 106 w 118"/>
                  <a:gd name="T111" fmla="*/ 6 h 569"/>
                  <a:gd name="T112" fmla="*/ 110 w 118"/>
                  <a:gd name="T113" fmla="*/ 6 h 5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18" h="569">
                    <a:moveTo>
                      <a:pt x="53" y="561"/>
                    </a:moveTo>
                    <a:lnTo>
                      <a:pt x="53" y="561"/>
                    </a:lnTo>
                    <a:lnTo>
                      <a:pt x="53" y="561"/>
                    </a:lnTo>
                    <a:lnTo>
                      <a:pt x="53" y="561"/>
                    </a:lnTo>
                    <a:close/>
                    <a:moveTo>
                      <a:pt x="29" y="16"/>
                    </a:moveTo>
                    <a:lnTo>
                      <a:pt x="29" y="16"/>
                    </a:lnTo>
                    <a:lnTo>
                      <a:pt x="29" y="16"/>
                    </a:lnTo>
                    <a:lnTo>
                      <a:pt x="29" y="16"/>
                    </a:lnTo>
                    <a:close/>
                    <a:moveTo>
                      <a:pt x="28" y="16"/>
                    </a:moveTo>
                    <a:lnTo>
                      <a:pt x="29" y="16"/>
                    </a:lnTo>
                    <a:lnTo>
                      <a:pt x="29" y="17"/>
                    </a:lnTo>
                    <a:lnTo>
                      <a:pt x="28" y="16"/>
                    </a:lnTo>
                    <a:close/>
                    <a:moveTo>
                      <a:pt x="115" y="0"/>
                    </a:moveTo>
                    <a:lnTo>
                      <a:pt x="117" y="3"/>
                    </a:lnTo>
                    <a:lnTo>
                      <a:pt x="116" y="4"/>
                    </a:lnTo>
                    <a:lnTo>
                      <a:pt x="118" y="4"/>
                    </a:lnTo>
                    <a:lnTo>
                      <a:pt x="118" y="4"/>
                    </a:lnTo>
                    <a:lnTo>
                      <a:pt x="118" y="44"/>
                    </a:lnTo>
                    <a:lnTo>
                      <a:pt x="117" y="83"/>
                    </a:lnTo>
                    <a:lnTo>
                      <a:pt x="116" y="90"/>
                    </a:lnTo>
                    <a:lnTo>
                      <a:pt x="116" y="96"/>
                    </a:lnTo>
                    <a:lnTo>
                      <a:pt x="116" y="101"/>
                    </a:lnTo>
                    <a:lnTo>
                      <a:pt x="117" y="103"/>
                    </a:lnTo>
                    <a:lnTo>
                      <a:pt x="116" y="103"/>
                    </a:lnTo>
                    <a:lnTo>
                      <a:pt x="115" y="124"/>
                    </a:lnTo>
                    <a:lnTo>
                      <a:pt x="116" y="145"/>
                    </a:lnTo>
                    <a:lnTo>
                      <a:pt x="115" y="145"/>
                    </a:lnTo>
                    <a:lnTo>
                      <a:pt x="115" y="149"/>
                    </a:lnTo>
                    <a:lnTo>
                      <a:pt x="113" y="216"/>
                    </a:lnTo>
                    <a:lnTo>
                      <a:pt x="111" y="287"/>
                    </a:lnTo>
                    <a:lnTo>
                      <a:pt x="110" y="355"/>
                    </a:lnTo>
                    <a:lnTo>
                      <a:pt x="109" y="404"/>
                    </a:lnTo>
                    <a:lnTo>
                      <a:pt x="107" y="455"/>
                    </a:lnTo>
                    <a:lnTo>
                      <a:pt x="106" y="506"/>
                    </a:lnTo>
                    <a:lnTo>
                      <a:pt x="104" y="524"/>
                    </a:lnTo>
                    <a:lnTo>
                      <a:pt x="103" y="542"/>
                    </a:lnTo>
                    <a:lnTo>
                      <a:pt x="102" y="542"/>
                    </a:lnTo>
                    <a:lnTo>
                      <a:pt x="102" y="547"/>
                    </a:lnTo>
                    <a:lnTo>
                      <a:pt x="102" y="546"/>
                    </a:lnTo>
                    <a:lnTo>
                      <a:pt x="102" y="546"/>
                    </a:lnTo>
                    <a:lnTo>
                      <a:pt x="102" y="544"/>
                    </a:lnTo>
                    <a:lnTo>
                      <a:pt x="101" y="543"/>
                    </a:lnTo>
                    <a:lnTo>
                      <a:pt x="98" y="550"/>
                    </a:lnTo>
                    <a:lnTo>
                      <a:pt x="95" y="550"/>
                    </a:lnTo>
                    <a:lnTo>
                      <a:pt x="95" y="550"/>
                    </a:lnTo>
                    <a:lnTo>
                      <a:pt x="94" y="548"/>
                    </a:lnTo>
                    <a:lnTo>
                      <a:pt x="94" y="550"/>
                    </a:lnTo>
                    <a:lnTo>
                      <a:pt x="93" y="549"/>
                    </a:lnTo>
                    <a:lnTo>
                      <a:pt x="92" y="551"/>
                    </a:lnTo>
                    <a:lnTo>
                      <a:pt x="92" y="550"/>
                    </a:lnTo>
                    <a:lnTo>
                      <a:pt x="91" y="551"/>
                    </a:lnTo>
                    <a:lnTo>
                      <a:pt x="92" y="554"/>
                    </a:lnTo>
                    <a:lnTo>
                      <a:pt x="90" y="551"/>
                    </a:lnTo>
                    <a:lnTo>
                      <a:pt x="88" y="555"/>
                    </a:lnTo>
                    <a:lnTo>
                      <a:pt x="86" y="554"/>
                    </a:lnTo>
                    <a:lnTo>
                      <a:pt x="83" y="555"/>
                    </a:lnTo>
                    <a:lnTo>
                      <a:pt x="78" y="557"/>
                    </a:lnTo>
                    <a:lnTo>
                      <a:pt x="79" y="554"/>
                    </a:lnTo>
                    <a:lnTo>
                      <a:pt x="78" y="558"/>
                    </a:lnTo>
                    <a:lnTo>
                      <a:pt x="75" y="556"/>
                    </a:lnTo>
                    <a:lnTo>
                      <a:pt x="74" y="557"/>
                    </a:lnTo>
                    <a:lnTo>
                      <a:pt x="69" y="556"/>
                    </a:lnTo>
                    <a:lnTo>
                      <a:pt x="67" y="557"/>
                    </a:lnTo>
                    <a:lnTo>
                      <a:pt x="70" y="560"/>
                    </a:lnTo>
                    <a:lnTo>
                      <a:pt x="64" y="552"/>
                    </a:lnTo>
                    <a:lnTo>
                      <a:pt x="64" y="556"/>
                    </a:lnTo>
                    <a:lnTo>
                      <a:pt x="61" y="555"/>
                    </a:lnTo>
                    <a:lnTo>
                      <a:pt x="59" y="557"/>
                    </a:lnTo>
                    <a:lnTo>
                      <a:pt x="58" y="555"/>
                    </a:lnTo>
                    <a:lnTo>
                      <a:pt x="57" y="558"/>
                    </a:lnTo>
                    <a:lnTo>
                      <a:pt x="54" y="559"/>
                    </a:lnTo>
                    <a:lnTo>
                      <a:pt x="54" y="561"/>
                    </a:lnTo>
                    <a:lnTo>
                      <a:pt x="53" y="561"/>
                    </a:lnTo>
                    <a:lnTo>
                      <a:pt x="52" y="558"/>
                    </a:lnTo>
                    <a:lnTo>
                      <a:pt x="52" y="561"/>
                    </a:lnTo>
                    <a:lnTo>
                      <a:pt x="50" y="559"/>
                    </a:lnTo>
                    <a:lnTo>
                      <a:pt x="48" y="559"/>
                    </a:lnTo>
                    <a:lnTo>
                      <a:pt x="46" y="556"/>
                    </a:lnTo>
                    <a:lnTo>
                      <a:pt x="45" y="557"/>
                    </a:lnTo>
                    <a:lnTo>
                      <a:pt x="42" y="554"/>
                    </a:lnTo>
                    <a:lnTo>
                      <a:pt x="43" y="559"/>
                    </a:lnTo>
                    <a:lnTo>
                      <a:pt x="41" y="557"/>
                    </a:lnTo>
                    <a:lnTo>
                      <a:pt x="40" y="560"/>
                    </a:lnTo>
                    <a:lnTo>
                      <a:pt x="37" y="558"/>
                    </a:lnTo>
                    <a:lnTo>
                      <a:pt x="36" y="557"/>
                    </a:lnTo>
                    <a:lnTo>
                      <a:pt x="35" y="559"/>
                    </a:lnTo>
                    <a:lnTo>
                      <a:pt x="34" y="556"/>
                    </a:lnTo>
                    <a:lnTo>
                      <a:pt x="33" y="559"/>
                    </a:lnTo>
                    <a:lnTo>
                      <a:pt x="33" y="558"/>
                    </a:lnTo>
                    <a:lnTo>
                      <a:pt x="31" y="558"/>
                    </a:lnTo>
                    <a:lnTo>
                      <a:pt x="33" y="560"/>
                    </a:lnTo>
                    <a:lnTo>
                      <a:pt x="28" y="557"/>
                    </a:lnTo>
                    <a:lnTo>
                      <a:pt x="27" y="560"/>
                    </a:lnTo>
                    <a:lnTo>
                      <a:pt x="27" y="558"/>
                    </a:lnTo>
                    <a:lnTo>
                      <a:pt x="25" y="560"/>
                    </a:lnTo>
                    <a:lnTo>
                      <a:pt x="25" y="563"/>
                    </a:lnTo>
                    <a:lnTo>
                      <a:pt x="24" y="564"/>
                    </a:lnTo>
                    <a:lnTo>
                      <a:pt x="25" y="560"/>
                    </a:lnTo>
                    <a:lnTo>
                      <a:pt x="23" y="563"/>
                    </a:lnTo>
                    <a:lnTo>
                      <a:pt x="20" y="561"/>
                    </a:lnTo>
                    <a:lnTo>
                      <a:pt x="18" y="561"/>
                    </a:lnTo>
                    <a:lnTo>
                      <a:pt x="17" y="566"/>
                    </a:lnTo>
                    <a:lnTo>
                      <a:pt x="17" y="563"/>
                    </a:lnTo>
                    <a:lnTo>
                      <a:pt x="16" y="564"/>
                    </a:lnTo>
                    <a:lnTo>
                      <a:pt x="16" y="563"/>
                    </a:lnTo>
                    <a:lnTo>
                      <a:pt x="15" y="563"/>
                    </a:lnTo>
                    <a:lnTo>
                      <a:pt x="15" y="564"/>
                    </a:lnTo>
                    <a:lnTo>
                      <a:pt x="16" y="566"/>
                    </a:lnTo>
                    <a:lnTo>
                      <a:pt x="15" y="567"/>
                    </a:lnTo>
                    <a:lnTo>
                      <a:pt x="9" y="568"/>
                    </a:lnTo>
                    <a:lnTo>
                      <a:pt x="8" y="567"/>
                    </a:lnTo>
                    <a:lnTo>
                      <a:pt x="7" y="569"/>
                    </a:lnTo>
                    <a:lnTo>
                      <a:pt x="7" y="569"/>
                    </a:lnTo>
                    <a:lnTo>
                      <a:pt x="6" y="567"/>
                    </a:lnTo>
                    <a:lnTo>
                      <a:pt x="3" y="566"/>
                    </a:lnTo>
                    <a:lnTo>
                      <a:pt x="3" y="567"/>
                    </a:lnTo>
                    <a:lnTo>
                      <a:pt x="1" y="567"/>
                    </a:lnTo>
                    <a:lnTo>
                      <a:pt x="0" y="567"/>
                    </a:lnTo>
                    <a:lnTo>
                      <a:pt x="0" y="25"/>
                    </a:lnTo>
                    <a:lnTo>
                      <a:pt x="1" y="25"/>
                    </a:lnTo>
                    <a:lnTo>
                      <a:pt x="0" y="23"/>
                    </a:lnTo>
                    <a:lnTo>
                      <a:pt x="2" y="25"/>
                    </a:lnTo>
                    <a:lnTo>
                      <a:pt x="3" y="24"/>
                    </a:lnTo>
                    <a:lnTo>
                      <a:pt x="4" y="25"/>
                    </a:lnTo>
                    <a:lnTo>
                      <a:pt x="4" y="22"/>
                    </a:lnTo>
                    <a:lnTo>
                      <a:pt x="8" y="27"/>
                    </a:lnTo>
                    <a:lnTo>
                      <a:pt x="9" y="25"/>
                    </a:lnTo>
                    <a:lnTo>
                      <a:pt x="8" y="24"/>
                    </a:lnTo>
                    <a:lnTo>
                      <a:pt x="10" y="24"/>
                    </a:lnTo>
                    <a:lnTo>
                      <a:pt x="9" y="20"/>
                    </a:lnTo>
                    <a:lnTo>
                      <a:pt x="10" y="21"/>
                    </a:lnTo>
                    <a:lnTo>
                      <a:pt x="14" y="17"/>
                    </a:lnTo>
                    <a:lnTo>
                      <a:pt x="14" y="21"/>
                    </a:lnTo>
                    <a:lnTo>
                      <a:pt x="15" y="20"/>
                    </a:lnTo>
                    <a:lnTo>
                      <a:pt x="16" y="21"/>
                    </a:lnTo>
                    <a:lnTo>
                      <a:pt x="15" y="19"/>
                    </a:lnTo>
                    <a:lnTo>
                      <a:pt x="17" y="22"/>
                    </a:lnTo>
                    <a:lnTo>
                      <a:pt x="18" y="20"/>
                    </a:lnTo>
                    <a:lnTo>
                      <a:pt x="20" y="20"/>
                    </a:lnTo>
                    <a:lnTo>
                      <a:pt x="21" y="21"/>
                    </a:lnTo>
                    <a:lnTo>
                      <a:pt x="26" y="19"/>
                    </a:lnTo>
                    <a:lnTo>
                      <a:pt x="21" y="17"/>
                    </a:lnTo>
                    <a:lnTo>
                      <a:pt x="25" y="17"/>
                    </a:lnTo>
                    <a:lnTo>
                      <a:pt x="27" y="17"/>
                    </a:lnTo>
                    <a:lnTo>
                      <a:pt x="26" y="15"/>
                    </a:lnTo>
                    <a:lnTo>
                      <a:pt x="29" y="19"/>
                    </a:lnTo>
                    <a:lnTo>
                      <a:pt x="29" y="17"/>
                    </a:lnTo>
                    <a:lnTo>
                      <a:pt x="32" y="19"/>
                    </a:lnTo>
                    <a:lnTo>
                      <a:pt x="29" y="16"/>
                    </a:lnTo>
                    <a:lnTo>
                      <a:pt x="33" y="19"/>
                    </a:lnTo>
                    <a:lnTo>
                      <a:pt x="36" y="20"/>
                    </a:lnTo>
                    <a:lnTo>
                      <a:pt x="37" y="16"/>
                    </a:lnTo>
                    <a:lnTo>
                      <a:pt x="37" y="17"/>
                    </a:lnTo>
                    <a:lnTo>
                      <a:pt x="39" y="15"/>
                    </a:lnTo>
                    <a:lnTo>
                      <a:pt x="40" y="17"/>
                    </a:lnTo>
                    <a:lnTo>
                      <a:pt x="40" y="16"/>
                    </a:lnTo>
                    <a:lnTo>
                      <a:pt x="41" y="14"/>
                    </a:lnTo>
                    <a:lnTo>
                      <a:pt x="42" y="14"/>
                    </a:lnTo>
                    <a:lnTo>
                      <a:pt x="43" y="13"/>
                    </a:lnTo>
                    <a:lnTo>
                      <a:pt x="43" y="13"/>
                    </a:lnTo>
                    <a:lnTo>
                      <a:pt x="42" y="14"/>
                    </a:lnTo>
                    <a:lnTo>
                      <a:pt x="42" y="15"/>
                    </a:lnTo>
                    <a:lnTo>
                      <a:pt x="42" y="15"/>
                    </a:lnTo>
                    <a:lnTo>
                      <a:pt x="42" y="15"/>
                    </a:lnTo>
                    <a:lnTo>
                      <a:pt x="41" y="16"/>
                    </a:lnTo>
                    <a:lnTo>
                      <a:pt x="40" y="17"/>
                    </a:lnTo>
                    <a:lnTo>
                      <a:pt x="42" y="17"/>
                    </a:lnTo>
                    <a:lnTo>
                      <a:pt x="42" y="15"/>
                    </a:lnTo>
                    <a:lnTo>
                      <a:pt x="42" y="15"/>
                    </a:lnTo>
                    <a:lnTo>
                      <a:pt x="44" y="15"/>
                    </a:lnTo>
                    <a:lnTo>
                      <a:pt x="44" y="16"/>
                    </a:lnTo>
                    <a:lnTo>
                      <a:pt x="48" y="13"/>
                    </a:lnTo>
                    <a:lnTo>
                      <a:pt x="49" y="16"/>
                    </a:lnTo>
                    <a:lnTo>
                      <a:pt x="53" y="13"/>
                    </a:lnTo>
                    <a:lnTo>
                      <a:pt x="53" y="16"/>
                    </a:lnTo>
                    <a:lnTo>
                      <a:pt x="57" y="15"/>
                    </a:lnTo>
                    <a:lnTo>
                      <a:pt x="59" y="15"/>
                    </a:lnTo>
                    <a:lnTo>
                      <a:pt x="60" y="14"/>
                    </a:lnTo>
                    <a:lnTo>
                      <a:pt x="61" y="15"/>
                    </a:lnTo>
                    <a:lnTo>
                      <a:pt x="61" y="15"/>
                    </a:lnTo>
                    <a:lnTo>
                      <a:pt x="60" y="15"/>
                    </a:lnTo>
                    <a:lnTo>
                      <a:pt x="60" y="16"/>
                    </a:lnTo>
                    <a:lnTo>
                      <a:pt x="61" y="15"/>
                    </a:lnTo>
                    <a:lnTo>
                      <a:pt x="61" y="15"/>
                    </a:lnTo>
                    <a:lnTo>
                      <a:pt x="61" y="15"/>
                    </a:lnTo>
                    <a:lnTo>
                      <a:pt x="61" y="14"/>
                    </a:lnTo>
                    <a:lnTo>
                      <a:pt x="62" y="16"/>
                    </a:lnTo>
                    <a:lnTo>
                      <a:pt x="62" y="15"/>
                    </a:lnTo>
                    <a:lnTo>
                      <a:pt x="62" y="14"/>
                    </a:lnTo>
                    <a:lnTo>
                      <a:pt x="64" y="12"/>
                    </a:lnTo>
                    <a:lnTo>
                      <a:pt x="65" y="14"/>
                    </a:lnTo>
                    <a:lnTo>
                      <a:pt x="65" y="11"/>
                    </a:lnTo>
                    <a:lnTo>
                      <a:pt x="67" y="14"/>
                    </a:lnTo>
                    <a:lnTo>
                      <a:pt x="70" y="12"/>
                    </a:lnTo>
                    <a:lnTo>
                      <a:pt x="69" y="9"/>
                    </a:lnTo>
                    <a:lnTo>
                      <a:pt x="73" y="8"/>
                    </a:lnTo>
                    <a:lnTo>
                      <a:pt x="74" y="9"/>
                    </a:lnTo>
                    <a:lnTo>
                      <a:pt x="76" y="9"/>
                    </a:lnTo>
                    <a:lnTo>
                      <a:pt x="78" y="7"/>
                    </a:lnTo>
                    <a:lnTo>
                      <a:pt x="79" y="8"/>
                    </a:lnTo>
                    <a:lnTo>
                      <a:pt x="81" y="9"/>
                    </a:lnTo>
                    <a:lnTo>
                      <a:pt x="82" y="8"/>
                    </a:lnTo>
                    <a:lnTo>
                      <a:pt x="81" y="7"/>
                    </a:lnTo>
                    <a:lnTo>
                      <a:pt x="85" y="4"/>
                    </a:lnTo>
                    <a:lnTo>
                      <a:pt x="83" y="6"/>
                    </a:lnTo>
                    <a:lnTo>
                      <a:pt x="87" y="3"/>
                    </a:lnTo>
                    <a:lnTo>
                      <a:pt x="87" y="5"/>
                    </a:lnTo>
                    <a:lnTo>
                      <a:pt x="90" y="5"/>
                    </a:lnTo>
                    <a:lnTo>
                      <a:pt x="90" y="5"/>
                    </a:lnTo>
                    <a:lnTo>
                      <a:pt x="92" y="5"/>
                    </a:lnTo>
                    <a:lnTo>
                      <a:pt x="92" y="6"/>
                    </a:lnTo>
                    <a:lnTo>
                      <a:pt x="92" y="5"/>
                    </a:lnTo>
                    <a:lnTo>
                      <a:pt x="92" y="5"/>
                    </a:lnTo>
                    <a:lnTo>
                      <a:pt x="92" y="5"/>
                    </a:lnTo>
                    <a:lnTo>
                      <a:pt x="100" y="4"/>
                    </a:lnTo>
                    <a:lnTo>
                      <a:pt x="101" y="5"/>
                    </a:lnTo>
                    <a:lnTo>
                      <a:pt x="101" y="6"/>
                    </a:lnTo>
                    <a:lnTo>
                      <a:pt x="101" y="6"/>
                    </a:lnTo>
                    <a:lnTo>
                      <a:pt x="102" y="6"/>
                    </a:lnTo>
                    <a:lnTo>
                      <a:pt x="103" y="5"/>
                    </a:lnTo>
                    <a:lnTo>
                      <a:pt x="101" y="6"/>
                    </a:lnTo>
                    <a:lnTo>
                      <a:pt x="101" y="5"/>
                    </a:lnTo>
                    <a:lnTo>
                      <a:pt x="103" y="3"/>
                    </a:lnTo>
                    <a:lnTo>
                      <a:pt x="106" y="6"/>
                    </a:lnTo>
                    <a:lnTo>
                      <a:pt x="103" y="7"/>
                    </a:lnTo>
                    <a:lnTo>
                      <a:pt x="107" y="6"/>
                    </a:lnTo>
                    <a:lnTo>
                      <a:pt x="108" y="8"/>
                    </a:lnTo>
                    <a:lnTo>
                      <a:pt x="110" y="6"/>
                    </a:lnTo>
                    <a:lnTo>
                      <a:pt x="113" y="7"/>
                    </a:lnTo>
                    <a:lnTo>
                      <a:pt x="115" y="0"/>
                    </a:lnTo>
                    <a:close/>
                  </a:path>
                </a:pathLst>
              </a:custGeom>
              <a:grpFill/>
              <a:ln w="3175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E20074"/>
                  </a:buClr>
                  <a:buSzTx/>
                  <a:buFontTx/>
                  <a:buNone/>
                  <a:tabLst/>
                  <a:defRPr/>
                </a:pPr>
                <a:endParaRPr kumimoji="0" lang="de-DE" sz="2400" b="0" i="0" u="none" strike="noStrike" kern="0" cap="none" spc="0" normalizeH="0" baseline="0" noProof="0" smtClean="0">
                  <a:ln>
                    <a:noFill/>
                  </a:ln>
                  <a:solidFill>
                    <a:srgbClr val="646464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216" name="Gleichschenkliges Dreieck 215"/>
          <p:cNvSpPr/>
          <p:nvPr/>
        </p:nvSpPr>
        <p:spPr>
          <a:xfrm>
            <a:off x="6139424" y="1216278"/>
            <a:ext cx="2789946" cy="3682747"/>
          </a:xfrm>
          <a:prstGeom prst="triangle">
            <a:avLst/>
          </a:prstGeom>
          <a:solidFill>
            <a:schemeClr val="tx2"/>
          </a:solidFill>
          <a:ln w="19050" cap="rnd">
            <a:noFill/>
          </a:ln>
        </p:spPr>
        <p:txBody>
          <a:bodyPr wrap="square" lIns="36000" tIns="108000" rIns="36000" bIns="10800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>
                <a:srgbClr val="E20074"/>
              </a:buClr>
            </a:pPr>
            <a:endParaRPr lang="de-DE" sz="1200">
              <a:solidFill>
                <a:srgbClr val="000000"/>
              </a:solidFill>
              <a:latin typeface="Tele-GroteskNor"/>
              <a:sym typeface="Tele-GroteskNor"/>
            </a:endParaRPr>
          </a:p>
        </p:txBody>
      </p:sp>
      <p:grpSp>
        <p:nvGrpSpPr>
          <p:cNvPr id="5" name="Gruppieren 216"/>
          <p:cNvGrpSpPr/>
          <p:nvPr/>
        </p:nvGrpSpPr>
        <p:grpSpPr>
          <a:xfrm>
            <a:off x="6217526" y="1313464"/>
            <a:ext cx="2633742" cy="3488375"/>
            <a:chOff x="6186609" y="1313045"/>
            <a:chExt cx="2633742" cy="3488375"/>
          </a:xfrm>
        </p:grpSpPr>
        <p:sp>
          <p:nvSpPr>
            <p:cNvPr id="218" name="Gleichschenkliges Dreieck 217"/>
            <p:cNvSpPr/>
            <p:nvPr/>
          </p:nvSpPr>
          <p:spPr>
            <a:xfrm>
              <a:off x="7071194" y="1313045"/>
              <a:ext cx="864000" cy="1156819"/>
            </a:xfrm>
            <a:prstGeom prst="triangle">
              <a:avLst/>
            </a:prstGeom>
            <a:solidFill>
              <a:schemeClr val="bg1"/>
            </a:solidFill>
            <a:ln w="19050">
              <a:noFill/>
            </a:ln>
          </p:spPr>
          <p:txBody>
            <a:bodyPr wrap="square" lIns="36000" tIns="108000" rIns="36000" bIns="10800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>
                  <a:srgbClr val="E20074"/>
                </a:buClr>
              </a:pPr>
              <a:endParaRPr lang="de-DE" sz="1200">
                <a:solidFill>
                  <a:srgbClr val="000000"/>
                </a:solidFill>
                <a:latin typeface="Tele-GroteskNor"/>
                <a:sym typeface="Tele-GroteskNor"/>
              </a:endParaRPr>
            </a:p>
          </p:txBody>
        </p:sp>
        <p:sp>
          <p:nvSpPr>
            <p:cNvPr id="219" name="Trapezoid 218"/>
            <p:cNvSpPr/>
            <p:nvPr/>
          </p:nvSpPr>
          <p:spPr>
            <a:xfrm>
              <a:off x="6186609" y="2470255"/>
              <a:ext cx="2633742" cy="2331165"/>
            </a:xfrm>
            <a:prstGeom prst="trapezoid">
              <a:avLst>
                <a:gd name="adj" fmla="val 37823"/>
              </a:avLst>
            </a:prstGeom>
            <a:solidFill>
              <a:srgbClr val="000000"/>
            </a:solidFill>
            <a:ln w="19050">
              <a:noFill/>
            </a:ln>
          </p:spPr>
          <p:txBody>
            <a:bodyPr wrap="square" lIns="36000" tIns="108000" rIns="36000" bIns="108000" rtlCol="0" anchor="ctr">
              <a:noAutofit/>
            </a:bodyPr>
            <a:lstStyle/>
            <a:p>
              <a:pPr algn="ctr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>
                  <a:srgbClr val="E20074"/>
                </a:buClr>
              </a:pPr>
              <a:endParaRPr lang="de-DE" sz="1200">
                <a:solidFill>
                  <a:srgbClr val="000000"/>
                </a:solidFill>
                <a:latin typeface="Tele-GroteskNor"/>
                <a:sym typeface="Tele-GroteskNor"/>
              </a:endParaRPr>
            </a:p>
          </p:txBody>
        </p:sp>
      </p:grpSp>
      <p:sp>
        <p:nvSpPr>
          <p:cNvPr id="220" name="Rechteck 219"/>
          <p:cNvSpPr/>
          <p:nvPr/>
        </p:nvSpPr>
        <p:spPr>
          <a:xfrm>
            <a:off x="-1" y="2521"/>
            <a:ext cx="3438525" cy="5140978"/>
          </a:xfrm>
          <a:prstGeom prst="rect">
            <a:avLst/>
          </a:prstGeom>
          <a:solidFill>
            <a:schemeClr val="tx1"/>
          </a:solidFill>
        </p:spPr>
        <p:txBody>
          <a:bodyPr wrap="square" lIns="36000" tIns="108000" rIns="36000" bIns="10800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>
                <a:srgbClr val="E20074"/>
              </a:buClr>
            </a:pPr>
            <a:endParaRPr lang="de-DE" sz="1200">
              <a:solidFill>
                <a:srgbClr val="000000"/>
              </a:solidFill>
              <a:latin typeface="Tele-GroteskNor"/>
              <a:sym typeface="Tele-GroteskNor"/>
            </a:endParaRPr>
          </a:p>
        </p:txBody>
      </p:sp>
      <p:grpSp>
        <p:nvGrpSpPr>
          <p:cNvPr id="10" name="Gruppieren 61"/>
          <p:cNvGrpSpPr>
            <a:grpSpLocks noChangeAspect="1"/>
          </p:cNvGrpSpPr>
          <p:nvPr/>
        </p:nvGrpSpPr>
        <p:grpSpPr>
          <a:xfrm>
            <a:off x="7365424" y="1969719"/>
            <a:ext cx="328280" cy="400985"/>
            <a:chOff x="3603360" y="303833"/>
            <a:chExt cx="236538" cy="288925"/>
          </a:xfrm>
          <a:solidFill>
            <a:schemeClr val="tx2"/>
          </a:solidFill>
        </p:grpSpPr>
        <p:sp>
          <p:nvSpPr>
            <p:cNvPr id="241" name="Rectangle 5"/>
            <p:cNvSpPr>
              <a:spLocks noChangeArrowheads="1"/>
            </p:cNvSpPr>
            <p:nvPr/>
          </p:nvSpPr>
          <p:spPr bwMode="auto">
            <a:xfrm>
              <a:off x="3603360" y="437183"/>
              <a:ext cx="58738" cy="571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endParaRPr lang="de-DE">
                <a:solidFill>
                  <a:srgbClr val="646464"/>
                </a:solidFill>
                <a:latin typeface="Tele-GroteskNor"/>
              </a:endParaRPr>
            </a:p>
          </p:txBody>
        </p:sp>
        <p:sp>
          <p:nvSpPr>
            <p:cNvPr id="242" name="Rectangle 6"/>
            <p:cNvSpPr>
              <a:spLocks noChangeArrowheads="1"/>
            </p:cNvSpPr>
            <p:nvPr/>
          </p:nvSpPr>
          <p:spPr bwMode="auto">
            <a:xfrm>
              <a:off x="3781160" y="437183"/>
              <a:ext cx="58738" cy="571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endParaRPr lang="de-DE">
                <a:solidFill>
                  <a:srgbClr val="646464"/>
                </a:solidFill>
                <a:latin typeface="Tele-GroteskNor"/>
              </a:endParaRPr>
            </a:p>
          </p:txBody>
        </p:sp>
        <p:sp>
          <p:nvSpPr>
            <p:cNvPr id="243" name="Freeform 9"/>
            <p:cNvSpPr>
              <a:spLocks/>
            </p:cNvSpPr>
            <p:nvPr/>
          </p:nvSpPr>
          <p:spPr bwMode="auto">
            <a:xfrm>
              <a:off x="3603360" y="303833"/>
              <a:ext cx="236538" cy="288925"/>
            </a:xfrm>
            <a:custGeom>
              <a:avLst/>
              <a:gdLst>
                <a:gd name="T0" fmla="*/ 850 w 861"/>
                <a:gd name="T1" fmla="*/ 0 h 1050"/>
                <a:gd name="T2" fmla="*/ 11 w 861"/>
                <a:gd name="T3" fmla="*/ 0 h 1050"/>
                <a:gd name="T4" fmla="*/ 0 w 861"/>
                <a:gd name="T5" fmla="*/ 370 h 1050"/>
                <a:gd name="T6" fmla="*/ 56 w 861"/>
                <a:gd name="T7" fmla="*/ 380 h 1050"/>
                <a:gd name="T8" fmla="*/ 142 w 861"/>
                <a:gd name="T9" fmla="*/ 137 h 1050"/>
                <a:gd name="T10" fmla="*/ 346 w 861"/>
                <a:gd name="T11" fmla="*/ 50 h 1050"/>
                <a:gd name="T12" fmla="*/ 346 w 861"/>
                <a:gd name="T13" fmla="*/ 825 h 1050"/>
                <a:gd name="T14" fmla="*/ 317 w 861"/>
                <a:gd name="T15" fmla="*/ 957 h 1050"/>
                <a:gd name="T16" fmla="*/ 232 w 861"/>
                <a:gd name="T17" fmla="*/ 989 h 1050"/>
                <a:gd name="T18" fmla="*/ 171 w 861"/>
                <a:gd name="T19" fmla="*/ 991 h 1050"/>
                <a:gd name="T20" fmla="*/ 171 w 861"/>
                <a:gd name="T21" fmla="*/ 1050 h 1050"/>
                <a:gd name="T22" fmla="*/ 690 w 861"/>
                <a:gd name="T23" fmla="*/ 1050 h 1050"/>
                <a:gd name="T24" fmla="*/ 690 w 861"/>
                <a:gd name="T25" fmla="*/ 991 h 1050"/>
                <a:gd name="T26" fmla="*/ 629 w 861"/>
                <a:gd name="T27" fmla="*/ 989 h 1050"/>
                <a:gd name="T28" fmla="*/ 544 w 861"/>
                <a:gd name="T29" fmla="*/ 957 h 1050"/>
                <a:gd name="T30" fmla="*/ 514 w 861"/>
                <a:gd name="T31" fmla="*/ 825 h 1050"/>
                <a:gd name="T32" fmla="*/ 514 w 861"/>
                <a:gd name="T33" fmla="*/ 50 h 1050"/>
                <a:gd name="T34" fmla="*/ 719 w 861"/>
                <a:gd name="T35" fmla="*/ 137 h 1050"/>
                <a:gd name="T36" fmla="*/ 805 w 861"/>
                <a:gd name="T37" fmla="*/ 380 h 1050"/>
                <a:gd name="T38" fmla="*/ 861 w 861"/>
                <a:gd name="T39" fmla="*/ 370 h 1050"/>
                <a:gd name="T40" fmla="*/ 850 w 861"/>
                <a:gd name="T41" fmla="*/ 0 h 10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61" h="1050">
                  <a:moveTo>
                    <a:pt x="850" y="0"/>
                  </a:moveTo>
                  <a:lnTo>
                    <a:pt x="11" y="0"/>
                  </a:lnTo>
                  <a:lnTo>
                    <a:pt x="0" y="370"/>
                  </a:lnTo>
                  <a:lnTo>
                    <a:pt x="56" y="380"/>
                  </a:lnTo>
                  <a:cubicBezTo>
                    <a:pt x="66" y="271"/>
                    <a:pt x="95" y="190"/>
                    <a:pt x="142" y="137"/>
                  </a:cubicBezTo>
                  <a:cubicBezTo>
                    <a:pt x="191" y="82"/>
                    <a:pt x="259" y="53"/>
                    <a:pt x="346" y="50"/>
                  </a:cubicBezTo>
                  <a:lnTo>
                    <a:pt x="346" y="825"/>
                  </a:lnTo>
                  <a:cubicBezTo>
                    <a:pt x="346" y="893"/>
                    <a:pt x="337" y="937"/>
                    <a:pt x="317" y="957"/>
                  </a:cubicBezTo>
                  <a:cubicBezTo>
                    <a:pt x="300" y="975"/>
                    <a:pt x="272" y="985"/>
                    <a:pt x="232" y="989"/>
                  </a:cubicBezTo>
                  <a:cubicBezTo>
                    <a:pt x="220" y="990"/>
                    <a:pt x="200" y="991"/>
                    <a:pt x="171" y="991"/>
                  </a:cubicBezTo>
                  <a:lnTo>
                    <a:pt x="171" y="1050"/>
                  </a:lnTo>
                  <a:lnTo>
                    <a:pt x="690" y="1050"/>
                  </a:lnTo>
                  <a:lnTo>
                    <a:pt x="690" y="991"/>
                  </a:lnTo>
                  <a:cubicBezTo>
                    <a:pt x="661" y="991"/>
                    <a:pt x="641" y="990"/>
                    <a:pt x="629" y="989"/>
                  </a:cubicBezTo>
                  <a:cubicBezTo>
                    <a:pt x="589" y="985"/>
                    <a:pt x="560" y="975"/>
                    <a:pt x="544" y="957"/>
                  </a:cubicBezTo>
                  <a:cubicBezTo>
                    <a:pt x="524" y="937"/>
                    <a:pt x="514" y="893"/>
                    <a:pt x="514" y="825"/>
                  </a:cubicBezTo>
                  <a:lnTo>
                    <a:pt x="514" y="50"/>
                  </a:lnTo>
                  <a:cubicBezTo>
                    <a:pt x="602" y="53"/>
                    <a:pt x="670" y="82"/>
                    <a:pt x="719" y="137"/>
                  </a:cubicBezTo>
                  <a:cubicBezTo>
                    <a:pt x="766" y="190"/>
                    <a:pt x="795" y="271"/>
                    <a:pt x="805" y="380"/>
                  </a:cubicBezTo>
                  <a:lnTo>
                    <a:pt x="861" y="370"/>
                  </a:lnTo>
                  <a:lnTo>
                    <a:pt x="85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</a:pPr>
              <a:endParaRPr lang="de-DE">
                <a:solidFill>
                  <a:srgbClr val="646464"/>
                </a:solidFill>
                <a:latin typeface="Tele-GroteskNor"/>
              </a:endParaRPr>
            </a:p>
          </p:txBody>
        </p:sp>
      </p:grpSp>
      <p:grpSp>
        <p:nvGrpSpPr>
          <p:cNvPr id="11" name="Gruppieren 243"/>
          <p:cNvGrpSpPr/>
          <p:nvPr/>
        </p:nvGrpSpPr>
        <p:grpSpPr>
          <a:xfrm>
            <a:off x="168249" y="1292517"/>
            <a:ext cx="3270275" cy="2560986"/>
            <a:chOff x="168249" y="1292517"/>
            <a:chExt cx="3270275" cy="2560986"/>
          </a:xfrm>
        </p:grpSpPr>
        <p:grpSp>
          <p:nvGrpSpPr>
            <p:cNvPr id="12" name="Gruppieren 244"/>
            <p:cNvGrpSpPr/>
            <p:nvPr/>
          </p:nvGrpSpPr>
          <p:grpSpPr>
            <a:xfrm>
              <a:off x="333262" y="1292517"/>
              <a:ext cx="2772000" cy="2560986"/>
              <a:chOff x="333262" y="1144383"/>
              <a:chExt cx="2772000" cy="2817085"/>
            </a:xfrm>
          </p:grpSpPr>
          <p:cxnSp>
            <p:nvCxnSpPr>
              <p:cNvPr id="250" name="Gerade Verbindung 18"/>
              <p:cNvCxnSpPr/>
              <p:nvPr/>
            </p:nvCxnSpPr>
            <p:spPr>
              <a:xfrm flipH="1">
                <a:off x="333262" y="1144383"/>
                <a:ext cx="27720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</p:cxnSp>
          <p:cxnSp>
            <p:nvCxnSpPr>
              <p:cNvPr id="251" name="Gerade Verbindung 18"/>
              <p:cNvCxnSpPr/>
              <p:nvPr/>
            </p:nvCxnSpPr>
            <p:spPr>
              <a:xfrm flipH="1">
                <a:off x="333262" y="3961468"/>
                <a:ext cx="2772000" cy="0"/>
              </a:xfrm>
              <a:prstGeom prst="lin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</p:cxnSp>
        </p:grpSp>
        <p:grpSp>
          <p:nvGrpSpPr>
            <p:cNvPr id="13" name="Gruppieren 245"/>
            <p:cNvGrpSpPr/>
            <p:nvPr/>
          </p:nvGrpSpPr>
          <p:grpSpPr>
            <a:xfrm>
              <a:off x="168249" y="1517514"/>
              <a:ext cx="3270275" cy="2135563"/>
              <a:chOff x="158723" y="2208991"/>
              <a:chExt cx="3270275" cy="2330990"/>
            </a:xfrm>
          </p:grpSpPr>
          <p:sp>
            <p:nvSpPr>
              <p:cNvPr id="248" name="Titel 1"/>
              <p:cNvSpPr txBox="1">
                <a:spLocks/>
              </p:cNvSpPr>
              <p:nvPr/>
            </p:nvSpPr>
            <p:spPr>
              <a:xfrm>
                <a:off x="215899" y="2208991"/>
                <a:ext cx="2889363" cy="640602"/>
              </a:xfrm>
              <a:prstGeom prst="rect">
                <a:avLst/>
              </a:prstGeom>
            </p:spPr>
            <p:txBody>
              <a:bodyPr anchor="t"/>
              <a:lstStyle>
                <a:lvl1pPr algn="l" defTabSz="457054" rtl="0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 lang="de-DE" sz="3000" kern="1200" dirty="0">
                    <a:solidFill>
                      <a:schemeClr val="bg1"/>
                    </a:solidFill>
                    <a:latin typeface="TeleGrotesk Headline Ultra" pitchFamily="2" charset="0"/>
                    <a:ea typeface="+mj-ea"/>
                    <a:cs typeface="TeleGrotesk Headline Ultra" pitchFamily="2" charset="0"/>
                  </a:defRPr>
                </a:lvl1pPr>
                <a:lvl2pPr algn="l" defTabSz="457054" rtl="0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 sz="3000">
                    <a:solidFill>
                      <a:schemeClr val="tx2"/>
                    </a:solidFill>
                    <a:latin typeface="Tele-GroteskUlt" pitchFamily="2" charset="0"/>
                  </a:defRPr>
                </a:lvl2pPr>
                <a:lvl3pPr algn="l" defTabSz="457054" rtl="0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 sz="3000">
                    <a:solidFill>
                      <a:schemeClr val="tx2"/>
                    </a:solidFill>
                    <a:latin typeface="Tele-GroteskUlt" pitchFamily="2" charset="0"/>
                  </a:defRPr>
                </a:lvl3pPr>
                <a:lvl4pPr algn="l" defTabSz="457054" rtl="0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 sz="3000">
                    <a:solidFill>
                      <a:schemeClr val="tx2"/>
                    </a:solidFill>
                    <a:latin typeface="Tele-GroteskUlt" pitchFamily="2" charset="0"/>
                  </a:defRPr>
                </a:lvl4pPr>
                <a:lvl5pPr algn="l" defTabSz="457054" rtl="0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 sz="3000">
                    <a:solidFill>
                      <a:schemeClr val="tx2"/>
                    </a:solidFill>
                    <a:latin typeface="Tele-GroteskUlt" pitchFamily="2" charset="0"/>
                  </a:defRPr>
                </a:lvl5pPr>
                <a:lvl6pPr marL="457054" algn="l" defTabSz="457054" rtl="0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 sz="3000">
                    <a:solidFill>
                      <a:schemeClr val="tx2"/>
                    </a:solidFill>
                    <a:latin typeface="Tele-GroteskUlt" pitchFamily="2" charset="0"/>
                  </a:defRPr>
                </a:lvl6pPr>
                <a:lvl7pPr marL="914108" algn="l" defTabSz="457054" rtl="0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 sz="3000">
                    <a:solidFill>
                      <a:schemeClr val="tx2"/>
                    </a:solidFill>
                    <a:latin typeface="Tele-GroteskUlt" pitchFamily="2" charset="0"/>
                  </a:defRPr>
                </a:lvl7pPr>
                <a:lvl8pPr marL="1371160" algn="l" defTabSz="457054" rtl="0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 sz="3000">
                    <a:solidFill>
                      <a:schemeClr val="tx2"/>
                    </a:solidFill>
                    <a:latin typeface="Tele-GroteskUlt" pitchFamily="2" charset="0"/>
                  </a:defRPr>
                </a:lvl8pPr>
                <a:lvl9pPr marL="1828215" algn="l" defTabSz="457054" rtl="0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defRPr sz="3000">
                    <a:solidFill>
                      <a:schemeClr val="tx2"/>
                    </a:solidFill>
                    <a:latin typeface="Tele-GroteskUlt" pitchFamily="2" charset="0"/>
                  </a:defRPr>
                </a:lvl9pPr>
              </a:lstStyle>
              <a:p>
                <a:pPr>
                  <a:lnSpc>
                    <a:spcPct val="70000"/>
                  </a:lnSpc>
                  <a:buClrTx/>
                  <a:buSzTx/>
                  <a:buFontTx/>
                </a:pPr>
                <a:r>
                  <a:rPr lang="en-US" sz="4000" dirty="0"/>
                  <a:t/>
                </a:r>
                <a:br>
                  <a:rPr lang="en-US" sz="4000" dirty="0"/>
                </a:br>
                <a:r>
                  <a:rPr lang="en-US" sz="5400" dirty="0"/>
                  <a:t>is in </a:t>
                </a:r>
                <a:r>
                  <a:rPr lang="en-US" sz="5400" dirty="0" smtClean="0"/>
                  <a:t>our</a:t>
                </a:r>
              </a:p>
              <a:p>
                <a:pPr algn="just">
                  <a:lnSpc>
                    <a:spcPct val="70000"/>
                  </a:lnSpc>
                  <a:buClrTx/>
                  <a:buSzTx/>
                  <a:buFontTx/>
                </a:pPr>
                <a:endParaRPr lang="en-US" sz="3600" cap="all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49" name="Rechteck 248"/>
              <p:cNvSpPr/>
              <p:nvPr/>
            </p:nvSpPr>
            <p:spPr>
              <a:xfrm>
                <a:off x="158723" y="3363992"/>
                <a:ext cx="3270275" cy="1175989"/>
              </a:xfrm>
              <a:prstGeom prst="rect">
                <a:avLst/>
              </a:prstGeom>
            </p:spPr>
            <p:txBody>
              <a:bodyPr wrap="square" anchor="t">
                <a:noAutofit/>
              </a:bodyPr>
              <a:lstStyle/>
              <a:p>
                <a:pPr lvl="0">
                  <a:lnSpc>
                    <a:spcPct val="70000"/>
                  </a:lnSpc>
                  <a:buClrTx/>
                  <a:buSzTx/>
                </a:pPr>
                <a:r>
                  <a:rPr lang="en-US" sz="12500" dirty="0">
                    <a:solidFill>
                      <a:schemeClr val="bg1"/>
                    </a:solidFill>
                    <a:latin typeface="TeleGrotesk Headline Ultra" pitchFamily="2" charset="0"/>
                  </a:rPr>
                  <a:t>DNA</a:t>
                </a:r>
              </a:p>
            </p:txBody>
          </p:sp>
        </p:grpSp>
        <p:sp>
          <p:nvSpPr>
            <p:cNvPr id="247" name="Rechteck 246"/>
            <p:cNvSpPr/>
            <p:nvPr/>
          </p:nvSpPr>
          <p:spPr>
            <a:xfrm>
              <a:off x="234451" y="1612605"/>
              <a:ext cx="2864887" cy="323165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r>
                <a:rPr lang="en-US" sz="4100" dirty="0">
                  <a:solidFill>
                    <a:srgbClr val="E20074"/>
                  </a:solidFill>
                  <a:latin typeface="TeleGrotesk Headline Ultra" pitchFamily="2" charset="0"/>
                </a:rPr>
                <a:t>Reliability</a:t>
              </a:r>
              <a:endParaRPr lang="de-DE" dirty="0">
                <a:latin typeface="TeleGrotesk Headline Ultra" pitchFamily="2" charset="0"/>
              </a:endParaRPr>
            </a:p>
          </p:txBody>
        </p:sp>
      </p:grpSp>
      <p:grpSp>
        <p:nvGrpSpPr>
          <p:cNvPr id="14" name="Gruppieren 251"/>
          <p:cNvGrpSpPr/>
          <p:nvPr/>
        </p:nvGrpSpPr>
        <p:grpSpPr>
          <a:xfrm>
            <a:off x="4703325" y="442907"/>
            <a:ext cx="2760648" cy="1329361"/>
            <a:chOff x="4817625" y="442907"/>
            <a:chExt cx="2760648" cy="1329361"/>
          </a:xfrm>
        </p:grpSpPr>
        <p:sp>
          <p:nvSpPr>
            <p:cNvPr id="253" name="Rechteck 252"/>
            <p:cNvSpPr/>
            <p:nvPr/>
          </p:nvSpPr>
          <p:spPr>
            <a:xfrm rot="21300000">
              <a:off x="4817625" y="442907"/>
              <a:ext cx="2635201" cy="192284"/>
            </a:xfrm>
            <a:prstGeom prst="rect">
              <a:avLst/>
            </a:prstGeom>
            <a:noFill/>
          </p:spPr>
          <p:txBody>
            <a:bodyPr wrap="square" lIns="36000" tIns="108000" rIns="36000" bIns="108000" rtlCol="0" anchor="ctr">
              <a:noAutofit/>
            </a:bodyPr>
            <a:lstStyle/>
            <a:p>
              <a:pPr algn="ctr">
                <a:lnSpc>
                  <a:spcPct val="75000"/>
                </a:lnSpc>
                <a:spcBef>
                  <a:spcPct val="0"/>
                </a:spcBef>
                <a:spcAft>
                  <a:spcPts val="0"/>
                </a:spcAft>
                <a:buClr>
                  <a:srgbClr val="E20074"/>
                </a:buClr>
              </a:pPr>
              <a:r>
                <a:rPr lang="en-US" sz="2100" dirty="0" smtClean="0">
                  <a:solidFill>
                    <a:srgbClr val="000000"/>
                  </a:solidFill>
                  <a:latin typeface="TeleGrotesk Headline Ultra" pitchFamily="2" charset="0"/>
                  <a:ea typeface="+mj-ea"/>
                  <a:cs typeface="TeleGrotesk Headline Ultra" pitchFamily="2" charset="0"/>
                  <a:sym typeface="Tele-GroteskNor"/>
                </a:rPr>
                <a:t>Top 10 Quartile in </a:t>
              </a:r>
              <a:endParaRPr lang="en-US" sz="3800" dirty="0">
                <a:solidFill>
                  <a:srgbClr val="000000"/>
                </a:solidFill>
                <a:latin typeface="TeleGrotesk Headline Ultra" pitchFamily="2" charset="0"/>
                <a:ea typeface="+mj-ea"/>
                <a:cs typeface="TeleGrotesk Headline Ultra" pitchFamily="2" charset="0"/>
                <a:sym typeface="Tele-GroteskNor"/>
              </a:endParaRPr>
            </a:p>
          </p:txBody>
        </p:sp>
        <p:sp>
          <p:nvSpPr>
            <p:cNvPr id="254" name="Rechteck 253"/>
            <p:cNvSpPr/>
            <p:nvPr/>
          </p:nvSpPr>
          <p:spPr>
            <a:xfrm rot="21300000">
              <a:off x="4856417" y="619501"/>
              <a:ext cx="2635201" cy="496145"/>
            </a:xfrm>
            <a:prstGeom prst="rect">
              <a:avLst/>
            </a:prstGeom>
            <a:noFill/>
          </p:spPr>
          <p:txBody>
            <a:bodyPr wrap="square" lIns="36000" tIns="108000" rIns="36000" bIns="108000" rtlCol="0" anchor="ctr">
              <a:noAutofit/>
            </a:bodyPr>
            <a:lstStyle/>
            <a:p>
              <a:pPr algn="ctr">
                <a:lnSpc>
                  <a:spcPct val="75000"/>
                </a:lnSpc>
                <a:spcBef>
                  <a:spcPct val="0"/>
                </a:spcBef>
                <a:spcAft>
                  <a:spcPts val="0"/>
                </a:spcAft>
                <a:buClr>
                  <a:srgbClr val="E20074"/>
                </a:buClr>
              </a:pPr>
              <a:r>
                <a:rPr lang="en-US" sz="3600" dirty="0" smtClean="0">
                  <a:solidFill>
                    <a:schemeClr val="tx2"/>
                  </a:solidFill>
                  <a:latin typeface="TeleGrotesk Headline Ultra" pitchFamily="2" charset="0"/>
                  <a:ea typeface="+mj-ea"/>
                  <a:cs typeface="TeleGrotesk Headline Ultra" pitchFamily="2" charset="0"/>
                  <a:sym typeface="Tele-GroteskNor"/>
                </a:rPr>
                <a:t>Customer</a:t>
              </a:r>
              <a:endParaRPr lang="en-US" sz="3800" dirty="0">
                <a:solidFill>
                  <a:srgbClr val="000000"/>
                </a:solidFill>
                <a:latin typeface="TeleGrotesk Headline Ultra" pitchFamily="2" charset="0"/>
                <a:ea typeface="+mj-ea"/>
                <a:cs typeface="TeleGrotesk Headline Ultra" pitchFamily="2" charset="0"/>
                <a:sym typeface="Tele-GroteskNor"/>
              </a:endParaRPr>
            </a:p>
          </p:txBody>
        </p:sp>
        <p:sp>
          <p:nvSpPr>
            <p:cNvPr id="255" name="Rechteck 254"/>
            <p:cNvSpPr/>
            <p:nvPr/>
          </p:nvSpPr>
          <p:spPr>
            <a:xfrm rot="21300000">
              <a:off x="4943072" y="1434624"/>
              <a:ext cx="2635201" cy="337644"/>
            </a:xfrm>
            <a:prstGeom prst="rect">
              <a:avLst/>
            </a:prstGeom>
            <a:noFill/>
          </p:spPr>
          <p:txBody>
            <a:bodyPr wrap="square" lIns="36000" tIns="108000" rIns="36000" bIns="108000" rtlCol="0" anchor="ctr">
              <a:noAutofit/>
            </a:bodyPr>
            <a:lstStyle/>
            <a:p>
              <a:pPr algn="ctr">
                <a:lnSpc>
                  <a:spcPct val="75000"/>
                </a:lnSpc>
                <a:spcBef>
                  <a:spcPct val="0"/>
                </a:spcBef>
                <a:spcAft>
                  <a:spcPts val="0"/>
                </a:spcAft>
                <a:buClr>
                  <a:srgbClr val="E20074"/>
                </a:buClr>
              </a:pPr>
              <a:r>
                <a:rPr lang="en-US" sz="3850" dirty="0" smtClean="0">
                  <a:solidFill>
                    <a:srgbClr val="000000"/>
                  </a:solidFill>
                  <a:latin typeface="TeleGrotesk Headline Ultra" pitchFamily="2" charset="0"/>
                  <a:ea typeface="+mj-ea"/>
                  <a:cs typeface="TeleGrotesk Headline Ultra" pitchFamily="2" charset="0"/>
                  <a:sym typeface="Tele-GroteskNor"/>
                </a:rPr>
                <a:t>Since 2013</a:t>
              </a:r>
              <a:endParaRPr lang="en-US" sz="3850" dirty="0">
                <a:solidFill>
                  <a:srgbClr val="000000"/>
                </a:solidFill>
                <a:latin typeface="TeleGrotesk Headline Ultra" pitchFamily="2" charset="0"/>
                <a:ea typeface="+mj-ea"/>
                <a:cs typeface="TeleGrotesk Headline Ultra" pitchFamily="2" charset="0"/>
                <a:sym typeface="Tele-GroteskNor"/>
              </a:endParaRPr>
            </a:p>
          </p:txBody>
        </p:sp>
        <p:sp>
          <p:nvSpPr>
            <p:cNvPr id="256" name="Rechteck 255"/>
            <p:cNvSpPr/>
            <p:nvPr/>
          </p:nvSpPr>
          <p:spPr>
            <a:xfrm rot="21300000">
              <a:off x="4905322" y="1029857"/>
              <a:ext cx="2635201" cy="371561"/>
            </a:xfrm>
            <a:prstGeom prst="rect">
              <a:avLst/>
            </a:prstGeom>
            <a:noFill/>
          </p:spPr>
          <p:txBody>
            <a:bodyPr wrap="square" lIns="36000" tIns="108000" rIns="36000" bIns="108000" rtlCol="0" anchor="ctr">
              <a:noAutofit/>
            </a:bodyPr>
            <a:lstStyle/>
            <a:p>
              <a:pPr algn="ctr">
                <a:lnSpc>
                  <a:spcPct val="75000"/>
                </a:lnSpc>
                <a:spcBef>
                  <a:spcPct val="0"/>
                </a:spcBef>
                <a:spcAft>
                  <a:spcPts val="0"/>
                </a:spcAft>
                <a:buClr>
                  <a:srgbClr val="E20074"/>
                </a:buClr>
              </a:pPr>
              <a:r>
                <a:rPr lang="en-US" sz="2800" dirty="0" smtClean="0">
                  <a:solidFill>
                    <a:srgbClr val="000000"/>
                  </a:solidFill>
                  <a:latin typeface="TeleGrotesk Headline Ultra" pitchFamily="2" charset="0"/>
                  <a:ea typeface="+mj-ea"/>
                  <a:cs typeface="TeleGrotesk Headline Ultra" pitchFamily="2" charset="0"/>
                  <a:sym typeface="Tele-GroteskNor"/>
                </a:rPr>
                <a:t>Satisfaction </a:t>
              </a:r>
              <a:endParaRPr lang="en-US" sz="3800" dirty="0">
                <a:solidFill>
                  <a:srgbClr val="000000"/>
                </a:solidFill>
                <a:latin typeface="TeleGrotesk Headline Ultra" pitchFamily="2" charset="0"/>
                <a:ea typeface="+mj-ea"/>
                <a:cs typeface="TeleGrotesk Headline Ultra" pitchFamily="2" charset="0"/>
                <a:sym typeface="Tele-GroteskNor"/>
              </a:endParaRPr>
            </a:p>
          </p:txBody>
        </p:sp>
      </p:grpSp>
      <p:sp>
        <p:nvSpPr>
          <p:cNvPr id="102" name="Rechteck 101"/>
          <p:cNvSpPr/>
          <p:nvPr/>
        </p:nvSpPr>
        <p:spPr>
          <a:xfrm rot="17460000">
            <a:off x="4794776" y="3017077"/>
            <a:ext cx="3270812" cy="496321"/>
          </a:xfrm>
          <a:prstGeom prst="rect">
            <a:avLst/>
          </a:prstGeom>
          <a:noFill/>
        </p:spPr>
        <p:txBody>
          <a:bodyPr wrap="square" lIns="36000" tIns="108000" rIns="36000" bIns="10800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>
                <a:srgbClr val="E20074"/>
              </a:buClr>
            </a:pPr>
            <a:r>
              <a:rPr lang="de-DE" sz="6000" dirty="0" err="1" smtClean="0">
                <a:solidFill>
                  <a:schemeClr val="bg1"/>
                </a:solidFill>
                <a:latin typeface="TeleGrotesk Headline Ultra" pitchFamily="2" charset="0"/>
                <a:sym typeface="Tele-GroteskNor"/>
              </a:rPr>
              <a:t>tri</a:t>
            </a:r>
            <a:r>
              <a:rPr lang="de-DE" sz="6000" dirty="0" smtClean="0">
                <a:solidFill>
                  <a:schemeClr val="bg1"/>
                </a:solidFill>
                <a:latin typeface="TeleGrotesk Headline Ultra" pitchFamily="2" charset="0"/>
                <a:sym typeface="Tele-GroteskNor"/>
              </a:rPr>
              <a:t>*m 90</a:t>
            </a:r>
            <a:endParaRPr lang="de-DE" sz="6000" dirty="0">
              <a:solidFill>
                <a:schemeClr val="bg1"/>
              </a:solidFill>
              <a:latin typeface="TeleGrotesk Headline Ultra" pitchFamily="2" charset="0"/>
              <a:sym typeface="Tele-GroteskNor"/>
            </a:endParaRPr>
          </a:p>
        </p:txBody>
      </p:sp>
    </p:spTree>
    <p:extLst>
      <p:ext uri="{BB962C8B-B14F-4D97-AF65-F5344CB8AC3E}">
        <p14:creationId xmlns:p14="http://schemas.microsoft.com/office/powerpoint/2010/main" val="2575231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4" descr="http://www.pressestelle.tu-berlin.de/fileadmin/a70100710/Fotos/TU_intern/2011/Januar/AufmacherDeutsche_Bahn_AG_Georg_Wagner.jpg"/>
          <p:cNvPicPr>
            <a:picLocks noChangeAspect="1" noChangeArrowheads="1"/>
          </p:cNvPicPr>
          <p:nvPr/>
        </p:nvPicPr>
        <p:blipFill rotWithShape="1">
          <a:blip r:embed="rId2" cstate="print"/>
          <a:srcRect/>
          <a:stretch/>
        </p:blipFill>
        <p:spPr bwMode="auto">
          <a:xfrm>
            <a:off x="-1" y="1460355"/>
            <a:ext cx="3006001" cy="1596673"/>
          </a:xfrm>
          <a:prstGeom prst="rect">
            <a:avLst/>
          </a:prstGeom>
          <a:noFill/>
        </p:spPr>
      </p:pic>
      <p:pic>
        <p:nvPicPr>
          <p:cNvPr id="16" name="Picture 4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604" y="3551818"/>
            <a:ext cx="3001395" cy="1595832"/>
          </a:xfrm>
          <a:prstGeom prst="rect">
            <a:avLst/>
          </a:prstGeom>
          <a:noFill/>
        </p:spPr>
      </p:pic>
      <p:sp>
        <p:nvSpPr>
          <p:cNvPr id="17" name="Rechteck 16"/>
          <p:cNvSpPr/>
          <p:nvPr/>
        </p:nvSpPr>
        <p:spPr>
          <a:xfrm>
            <a:off x="0" y="2931585"/>
            <a:ext cx="3006000" cy="74994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</a:ln>
          <a:effectLst/>
        </p:spPr>
        <p:txBody>
          <a:bodyPr lIns="91428" tIns="45714" rIns="91428" bIns="45714" rtlCol="0" anchor="ctr"/>
          <a:lstStyle/>
          <a:p>
            <a:pPr algn="ctr">
              <a:lnSpc>
                <a:spcPct val="90000"/>
              </a:lnSpc>
              <a:spcBef>
                <a:spcPts val="0"/>
              </a:spcBef>
              <a:buClr>
                <a:srgbClr val="A4A4A4"/>
              </a:buClr>
            </a:pPr>
            <a:r>
              <a:rPr lang="en-US" dirty="0" smtClean="0">
                <a:solidFill>
                  <a:srgbClr val="FFFFFF"/>
                </a:solidFill>
                <a:latin typeface="TeleGrotesk Headline Ultra" pitchFamily="2" charset="0"/>
              </a:rPr>
              <a:t>Predictive Maintenance</a:t>
            </a:r>
            <a:endParaRPr lang="en-US" dirty="0">
              <a:solidFill>
                <a:srgbClr val="FFFFFF"/>
              </a:solidFill>
              <a:latin typeface="TeleGrotesk Headline Ultra" pitchFamily="2" charset="0"/>
            </a:endParaRPr>
          </a:p>
        </p:txBody>
      </p:sp>
      <p:pic>
        <p:nvPicPr>
          <p:cNvPr id="19" name="Picture 4" descr="https://www.mannheim.de/sites/default/files/media_center_image/65072/2015_03_16_key_visual_smart_production_mannheim_final.jpg"/>
          <p:cNvPicPr>
            <a:picLocks noChangeAspect="1" noChangeArrowheads="1"/>
          </p:cNvPicPr>
          <p:nvPr/>
        </p:nvPicPr>
        <p:blipFill rotWithShape="1">
          <a:blip r:embed="rId4" cstate="print"/>
          <a:srcRect l="1379" t="7442" b="6169"/>
          <a:stretch/>
        </p:blipFill>
        <p:spPr bwMode="auto">
          <a:xfrm>
            <a:off x="3070419" y="3616194"/>
            <a:ext cx="3006000" cy="1531456"/>
          </a:xfrm>
          <a:prstGeom prst="rect">
            <a:avLst/>
          </a:prstGeom>
          <a:noFill/>
        </p:spPr>
      </p:pic>
      <p:pic>
        <p:nvPicPr>
          <p:cNvPr id="20" name="Picture 4" descr="http://siliconangle.com/files/2014/01/connected-home-kitchen.jpg"/>
          <p:cNvPicPr>
            <a:picLocks noChangeAspect="1" noChangeArrowheads="1"/>
          </p:cNvPicPr>
          <p:nvPr/>
        </p:nvPicPr>
        <p:blipFill rotWithShape="1">
          <a:blip r:embed="rId5" cstate="print"/>
          <a:srcRect/>
          <a:stretch/>
        </p:blipFill>
        <p:spPr bwMode="auto">
          <a:xfrm>
            <a:off x="3070419" y="1460356"/>
            <a:ext cx="3005999" cy="1531056"/>
          </a:xfrm>
          <a:prstGeom prst="rect">
            <a:avLst/>
          </a:prstGeom>
          <a:noFill/>
        </p:spPr>
      </p:pic>
      <p:sp>
        <p:nvSpPr>
          <p:cNvPr id="21" name="Rechteck 20"/>
          <p:cNvSpPr/>
          <p:nvPr/>
        </p:nvSpPr>
        <p:spPr>
          <a:xfrm>
            <a:off x="3070419" y="2931585"/>
            <a:ext cx="3006000" cy="347158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</a:ln>
          <a:effectLst/>
        </p:spPr>
        <p:txBody>
          <a:bodyPr lIns="91428" tIns="45714" rIns="91428" bIns="45714" rtlCol="0" anchor="ctr"/>
          <a:lstStyle/>
          <a:p>
            <a:pPr algn="ctr">
              <a:lnSpc>
                <a:spcPct val="90000"/>
              </a:lnSpc>
              <a:spcBef>
                <a:spcPts val="0"/>
              </a:spcBef>
              <a:buClr>
                <a:srgbClr val="A4A4A4"/>
              </a:buClr>
            </a:pPr>
            <a:r>
              <a:rPr lang="en-US" dirty="0">
                <a:solidFill>
                  <a:srgbClr val="FFFFFF"/>
                </a:solidFill>
                <a:latin typeface="TeleGrotesk Headline Ultra" pitchFamily="2" charset="0"/>
              </a:rPr>
              <a:t>Smart Home</a:t>
            </a:r>
          </a:p>
        </p:txBody>
      </p:sp>
      <p:pic>
        <p:nvPicPr>
          <p:cNvPr id="13" name="Grafik 12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138000" y="3615450"/>
            <a:ext cx="3006000" cy="1532199"/>
          </a:xfrm>
          <a:prstGeom prst="rect">
            <a:avLst/>
          </a:prstGeom>
        </p:spPr>
      </p:pic>
      <p:grpSp>
        <p:nvGrpSpPr>
          <p:cNvPr id="22" name="Gruppieren 48"/>
          <p:cNvGrpSpPr/>
          <p:nvPr/>
        </p:nvGrpSpPr>
        <p:grpSpPr>
          <a:xfrm>
            <a:off x="6138000" y="1460354"/>
            <a:ext cx="3006001" cy="3598321"/>
            <a:chOff x="-452047" y="1347789"/>
            <a:chExt cx="4952610" cy="5928500"/>
          </a:xfrm>
        </p:grpSpPr>
        <p:pic>
          <p:nvPicPr>
            <p:cNvPr id="23" name="Picture 2" descr="http://gotolille.com/wp-content/uploads/2015/03/uber-usefull-application-for-erasmus.jpg"/>
            <p:cNvPicPr>
              <a:picLocks noChangeAspect="1" noChangeArrowheads="1"/>
            </p:cNvPicPr>
            <p:nvPr/>
          </p:nvPicPr>
          <p:blipFill rotWithShape="1">
            <a:blip r:embed="rId7" cstate="print"/>
            <a:srcRect l="2379" t="4357" r="-135" b="-3579"/>
            <a:stretch/>
          </p:blipFill>
          <p:spPr bwMode="auto">
            <a:xfrm>
              <a:off x="-452047" y="1347789"/>
              <a:ext cx="4952610" cy="2625548"/>
            </a:xfrm>
            <a:prstGeom prst="rect">
              <a:avLst/>
            </a:prstGeom>
            <a:noFill/>
          </p:spPr>
        </p:pic>
        <p:grpSp>
          <p:nvGrpSpPr>
            <p:cNvPr id="24" name="Gruppieren 30"/>
            <p:cNvGrpSpPr/>
            <p:nvPr/>
          </p:nvGrpSpPr>
          <p:grpSpPr>
            <a:xfrm>
              <a:off x="2907080" y="6737221"/>
              <a:ext cx="1417815" cy="539068"/>
              <a:chOff x="1263553" y="7583967"/>
              <a:chExt cx="1834264" cy="697407"/>
            </a:xfrm>
          </p:grpSpPr>
          <p:sp>
            <p:nvSpPr>
              <p:cNvPr id="25" name="Rechteck 24"/>
              <p:cNvSpPr/>
              <p:nvPr/>
            </p:nvSpPr>
            <p:spPr bwMode="auto">
              <a:xfrm>
                <a:off x="1263553" y="7583967"/>
                <a:ext cx="1834264" cy="697407"/>
              </a:xfrm>
              <a:prstGeom prst="rect">
                <a:avLst/>
              </a:prstGeom>
              <a:solidFill>
                <a:schemeClr val="bg1"/>
              </a:solidFill>
              <a:ln w="38100">
                <a:noFill/>
                <a:miter lim="800000"/>
                <a:headEnd/>
                <a:tailEnd/>
              </a:ln>
              <a:effectLst/>
            </p:spPr>
            <p:txBody>
              <a:bodyPr wrap="square" lIns="144000" tIns="72000" rIns="144000" bIns="72000" rtlCol="0" anchor="ctr"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ct val="25000"/>
                  </a:spcBef>
                  <a:buClr>
                    <a:srgbClr val="E20074"/>
                  </a:buClr>
                </a:pPr>
                <a:endParaRPr lang="de-DE" dirty="0" smtClean="0">
                  <a:solidFill>
                    <a:srgbClr val="FFFFFF"/>
                  </a:solidFill>
                  <a:latin typeface="TeleGrotesk Headline Ultra" pitchFamily="2" charset="0"/>
                  <a:ea typeface="ＭＳ Ｐゴシック" charset="-128"/>
                  <a:cs typeface="Arial" charset="0"/>
                </a:endParaRPr>
              </a:p>
            </p:txBody>
          </p:sp>
          <p:pic>
            <p:nvPicPr>
              <p:cNvPr id="26" name="Grafik 25"/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436815" y="7708882"/>
                <a:ext cx="1530166" cy="478177"/>
              </a:xfrm>
              <a:prstGeom prst="rect">
                <a:avLst/>
              </a:prstGeom>
            </p:spPr>
          </p:pic>
        </p:grpSp>
      </p:grpSp>
      <p:sp>
        <p:nvSpPr>
          <p:cNvPr id="27" name="Rechteck 26"/>
          <p:cNvSpPr/>
          <p:nvPr/>
        </p:nvSpPr>
        <p:spPr>
          <a:xfrm>
            <a:off x="3070419" y="3334370"/>
            <a:ext cx="3006000" cy="347158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</a:ln>
          <a:effectLst/>
        </p:spPr>
        <p:txBody>
          <a:bodyPr lIns="91428" tIns="45714" rIns="91428" bIns="45714" rtlCol="0" anchor="ctr"/>
          <a:lstStyle/>
          <a:p>
            <a:pPr algn="ctr">
              <a:lnSpc>
                <a:spcPct val="90000"/>
              </a:lnSpc>
              <a:spcBef>
                <a:spcPts val="0"/>
              </a:spcBef>
              <a:buClr>
                <a:srgbClr val="A4A4A4"/>
              </a:buClr>
            </a:pPr>
            <a:r>
              <a:rPr lang="en-US" dirty="0">
                <a:solidFill>
                  <a:srgbClr val="FFFFFF"/>
                </a:solidFill>
                <a:latin typeface="TeleGrotesk Headline Ultra" pitchFamily="2" charset="0"/>
              </a:rPr>
              <a:t>Smart Production</a:t>
            </a:r>
          </a:p>
        </p:txBody>
      </p:sp>
      <p:sp>
        <p:nvSpPr>
          <p:cNvPr id="28" name="Rechteck 27"/>
          <p:cNvSpPr/>
          <p:nvPr/>
        </p:nvSpPr>
        <p:spPr>
          <a:xfrm>
            <a:off x="6138000" y="2931585"/>
            <a:ext cx="3006000" cy="74994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</a:ln>
          <a:effectLst/>
        </p:spPr>
        <p:txBody>
          <a:bodyPr lIns="91428" tIns="45714" rIns="91428" bIns="45714" rtlCol="0" anchor="ctr"/>
          <a:lstStyle/>
          <a:p>
            <a:pPr algn="ctr">
              <a:lnSpc>
                <a:spcPct val="90000"/>
              </a:lnSpc>
              <a:spcBef>
                <a:spcPts val="0"/>
              </a:spcBef>
              <a:buClr>
                <a:srgbClr val="A4A4A4"/>
              </a:buClr>
            </a:pPr>
            <a:r>
              <a:rPr lang="en-US" dirty="0" smtClean="0">
                <a:solidFill>
                  <a:srgbClr val="FFFFFF"/>
                </a:solidFill>
                <a:latin typeface="TeleGrotesk Headline Ultra" pitchFamily="2" charset="0"/>
              </a:rPr>
              <a:t>New business models</a:t>
            </a:r>
            <a:endParaRPr lang="en-US" dirty="0">
              <a:solidFill>
                <a:srgbClr val="FFFFFF"/>
              </a:solidFill>
              <a:latin typeface="TeleGrotesk Headline Ultra" pitchFamily="2" charset="0"/>
            </a:endParaRPr>
          </a:p>
        </p:txBody>
      </p:sp>
      <p:sp>
        <p:nvSpPr>
          <p:cNvPr id="29" name="Titel 1"/>
          <p:cNvSpPr txBox="1">
            <a:spLocks/>
          </p:cNvSpPr>
          <p:nvPr/>
        </p:nvSpPr>
        <p:spPr bwMode="gray">
          <a:xfrm>
            <a:off x="323850" y="566906"/>
            <a:ext cx="8496300" cy="6232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457054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3000" kern="1200">
                <a:solidFill>
                  <a:schemeClr val="bg1"/>
                </a:solidFill>
                <a:latin typeface="TeleGrotesk Headline Ultra" pitchFamily="2" charset="0"/>
                <a:ea typeface="+mj-ea"/>
                <a:cs typeface="TeleGrotesk Headline Ultra" pitchFamily="2" charset="0"/>
              </a:defRPr>
            </a:lvl1pPr>
            <a:lvl2pPr algn="l" defTabSz="457054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2pPr>
            <a:lvl3pPr algn="l" defTabSz="457054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3pPr>
            <a:lvl4pPr algn="l" defTabSz="457054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4pPr>
            <a:lvl5pPr algn="l" defTabSz="457054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5pPr>
            <a:lvl6pPr marL="457054" algn="l" defTabSz="457054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6pPr>
            <a:lvl7pPr marL="914108" algn="l" defTabSz="457054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7pPr>
            <a:lvl8pPr marL="1371160" algn="l" defTabSz="457054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8pPr>
            <a:lvl9pPr marL="1828215" algn="l" defTabSz="457054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algn="ctr">
              <a:buClrTx/>
              <a:buSzTx/>
              <a:buFontTx/>
            </a:pPr>
            <a:r>
              <a:rPr lang="en-US" sz="4500" dirty="0" smtClean="0">
                <a:solidFill>
                  <a:schemeClr val="tx2"/>
                </a:solidFill>
              </a:rPr>
              <a:t>Business Models</a:t>
            </a:r>
            <a:endParaRPr lang="en-US" sz="4500" dirty="0">
              <a:solidFill>
                <a:schemeClr val="tx2"/>
              </a:solidFill>
            </a:endParaRPr>
          </a:p>
        </p:txBody>
      </p:sp>
      <p:sp>
        <p:nvSpPr>
          <p:cNvPr id="30" name="Titel 1"/>
          <p:cNvSpPr txBox="1">
            <a:spLocks/>
          </p:cNvSpPr>
          <p:nvPr/>
        </p:nvSpPr>
        <p:spPr bwMode="gray">
          <a:xfrm>
            <a:off x="306388" y="247875"/>
            <a:ext cx="8496300" cy="4847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45705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500" b="0" i="0" u="none" strike="noStrike" kern="1200" cap="none" spc="0" normalizeH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 Ultra" pitchFamily="2" charset="0"/>
                <a:ea typeface="+mj-ea"/>
                <a:cs typeface="TeleGrotesk Headline Ultra" pitchFamily="2" charset="0"/>
              </a:rPr>
              <a:t>Digitization changes</a:t>
            </a:r>
            <a:endParaRPr kumimoji="0" lang="en-US" sz="35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TeleGrotesk Headline Ultra" pitchFamily="2" charset="0"/>
              <a:ea typeface="+mj-ea"/>
              <a:cs typeface="TeleGrotesk Headline Ultra" pitchFamily="2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http://www.traum-projekt.com/forum/attachments/16916d1087412714-bild-rand-abgerissen-aussehen-lassen-rand01.jpg">
            <a:hlinkClick r:id="rId2"/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lum bright="-100000"/>
          </a:blip>
          <a:srcRect t="23675" r="22763" b="47365"/>
          <a:stretch>
            <a:fillRect/>
          </a:stretch>
        </p:blipFill>
        <p:spPr bwMode="auto">
          <a:xfrm rot="16200000">
            <a:off x="1945594" y="2372351"/>
            <a:ext cx="5141912" cy="397210"/>
          </a:xfrm>
          <a:prstGeom prst="rect">
            <a:avLst/>
          </a:prstGeom>
          <a:noFill/>
        </p:spPr>
      </p:pic>
      <p:sp>
        <p:nvSpPr>
          <p:cNvPr id="6" name="Rechteck 5"/>
          <p:cNvSpPr/>
          <p:nvPr/>
        </p:nvSpPr>
        <p:spPr>
          <a:xfrm rot="5400000">
            <a:off x="-407222" y="407223"/>
            <a:ext cx="5141913" cy="432746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lIns="36000" tIns="108000" rIns="36000" bIns="108000" rtlCol="0" anchor="ctr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>
                <a:srgbClr val="E20074"/>
              </a:buClr>
            </a:pPr>
            <a:endParaRPr lang="en-GB" sz="7200" cap="all" dirty="0">
              <a:solidFill>
                <a:schemeClr val="bg1"/>
              </a:solidFill>
              <a:latin typeface="TeleGrotesk Headline" pitchFamily="2" charset="0"/>
              <a:sym typeface="Tele-GroteskNor"/>
            </a:endParaRPr>
          </a:p>
        </p:txBody>
      </p:sp>
      <p:grpSp>
        <p:nvGrpSpPr>
          <p:cNvPr id="292" name="Gruppieren 291"/>
          <p:cNvGrpSpPr/>
          <p:nvPr/>
        </p:nvGrpSpPr>
        <p:grpSpPr>
          <a:xfrm>
            <a:off x="4727206" y="563850"/>
            <a:ext cx="596674" cy="611934"/>
            <a:chOff x="5181880" y="388714"/>
            <a:chExt cx="596674" cy="611934"/>
          </a:xfrm>
        </p:grpSpPr>
        <p:sp>
          <p:nvSpPr>
            <p:cNvPr id="229" name="Rechteck 228"/>
            <p:cNvSpPr/>
            <p:nvPr/>
          </p:nvSpPr>
          <p:spPr>
            <a:xfrm>
              <a:off x="5181880" y="553262"/>
              <a:ext cx="447395" cy="447386"/>
            </a:xfrm>
            <a:prstGeom prst="rect">
              <a:avLst/>
            </a:prstGeom>
            <a:solidFill>
              <a:srgbClr val="000000"/>
            </a:solidFill>
            <a:ln w="38100">
              <a:solidFill>
                <a:srgbClr val="E20074"/>
              </a:solidFill>
              <a:miter lim="800000"/>
            </a:ln>
          </p:spPr>
          <p:txBody>
            <a:bodyPr wrap="none" lIns="1080000" tIns="0" rIns="0" bIns="0" rtlCol="0" anchor="ctr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TeleGrotesk Headline Ultra" pitchFamily="2" charset="0"/>
                  <a:cs typeface="TeleGrotesk Headline Ultra" pitchFamily="2" charset="0"/>
                  <a:sym typeface="Arial" pitchFamily="34" charset="0"/>
                </a:rPr>
                <a:t>The UN-Outsourcer</a:t>
              </a:r>
              <a:endPara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eleGrotesk Headline Ultra" pitchFamily="2" charset="0"/>
                <a:cs typeface="TeleGrotesk Headline Ultra" pitchFamily="2" charset="0"/>
                <a:sym typeface="Arial" pitchFamily="34" charset="0"/>
              </a:endParaRPr>
            </a:p>
          </p:txBody>
        </p:sp>
        <p:pic>
          <p:nvPicPr>
            <p:cNvPr id="284" name="pasted-image.pdf"/>
            <p:cNvPicPr preferRelativeResize="0"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244898" y="388714"/>
              <a:ext cx="533656" cy="523636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  <p:grpSp>
        <p:nvGrpSpPr>
          <p:cNvPr id="293" name="Gruppieren 292"/>
          <p:cNvGrpSpPr/>
          <p:nvPr/>
        </p:nvGrpSpPr>
        <p:grpSpPr>
          <a:xfrm>
            <a:off x="4727206" y="1637747"/>
            <a:ext cx="596674" cy="611934"/>
            <a:chOff x="5185001" y="1000648"/>
            <a:chExt cx="596674" cy="611934"/>
          </a:xfrm>
        </p:grpSpPr>
        <p:sp>
          <p:nvSpPr>
            <p:cNvPr id="285" name="Rechteck 284"/>
            <p:cNvSpPr/>
            <p:nvPr/>
          </p:nvSpPr>
          <p:spPr>
            <a:xfrm>
              <a:off x="5185001" y="1165196"/>
              <a:ext cx="447395" cy="447386"/>
            </a:xfrm>
            <a:prstGeom prst="rect">
              <a:avLst/>
            </a:prstGeom>
            <a:solidFill>
              <a:srgbClr val="000000"/>
            </a:solidFill>
            <a:ln w="38100">
              <a:solidFill>
                <a:srgbClr val="E20074"/>
              </a:solidFill>
              <a:miter lim="800000"/>
            </a:ln>
          </p:spPr>
          <p:txBody>
            <a:bodyPr wrap="none" lIns="1080000" tIns="0" rIns="0" bIns="0" rtlCol="0" anchor="ctr">
              <a:noAutofit/>
            </a:bodyPr>
            <a:lstStyle/>
            <a:p>
              <a:pPr defTabSz="914400" fontAlgn="auto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r>
                <a:rPr lang="en-US" sz="2800" kern="0" dirty="0">
                  <a:solidFill>
                    <a:sysClr val="windowText" lastClr="000000"/>
                  </a:solidFill>
                  <a:latin typeface="TeleGrotesk Headline Ultra" pitchFamily="2" charset="0"/>
                  <a:cs typeface="TeleGrotesk Headline Ultra" pitchFamily="2" charset="0"/>
                  <a:sym typeface="Arial" pitchFamily="34" charset="0"/>
                </a:rPr>
                <a:t>The! </a:t>
              </a:r>
              <a:r>
                <a:rPr lang="en-US" sz="2800" kern="0" dirty="0" err="1" smtClean="0">
                  <a:solidFill>
                    <a:sysClr val="windowText" lastClr="000000"/>
                  </a:solidFill>
                  <a:latin typeface="TeleGrotesk Headline Ultra" pitchFamily="2" charset="0"/>
                  <a:cs typeface="TeleGrotesk Headline Ultra" pitchFamily="2" charset="0"/>
                  <a:sym typeface="Arial" pitchFamily="34" charset="0"/>
                </a:rPr>
                <a:t>Cloudifier</a:t>
              </a:r>
              <a:endParaRPr lang="hu-HU" sz="2800" kern="0" dirty="0">
                <a:solidFill>
                  <a:sysClr val="windowText" lastClr="000000"/>
                </a:solidFill>
                <a:latin typeface="TeleGrotesk Headline Ultra" pitchFamily="2" charset="0"/>
                <a:cs typeface="TeleGrotesk Headline Ultra" pitchFamily="2" charset="0"/>
                <a:sym typeface="Arial" pitchFamily="34" charset="0"/>
              </a:endParaRPr>
            </a:p>
          </p:txBody>
        </p:sp>
        <p:pic>
          <p:nvPicPr>
            <p:cNvPr id="286" name="pasted-image.pdf"/>
            <p:cNvPicPr preferRelativeResize="0"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248019" y="1000648"/>
              <a:ext cx="533656" cy="523636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  <p:grpSp>
        <p:nvGrpSpPr>
          <p:cNvPr id="294" name="Gruppieren 293"/>
          <p:cNvGrpSpPr/>
          <p:nvPr/>
        </p:nvGrpSpPr>
        <p:grpSpPr>
          <a:xfrm>
            <a:off x="4727206" y="2711643"/>
            <a:ext cx="596674" cy="611934"/>
            <a:chOff x="5181880" y="2422207"/>
            <a:chExt cx="596674" cy="611934"/>
          </a:xfrm>
        </p:grpSpPr>
        <p:sp>
          <p:nvSpPr>
            <p:cNvPr id="287" name="Rechteck 286"/>
            <p:cNvSpPr/>
            <p:nvPr/>
          </p:nvSpPr>
          <p:spPr>
            <a:xfrm>
              <a:off x="5181880" y="2586755"/>
              <a:ext cx="447395" cy="447386"/>
            </a:xfrm>
            <a:prstGeom prst="rect">
              <a:avLst/>
            </a:prstGeom>
            <a:solidFill>
              <a:srgbClr val="000000"/>
            </a:solidFill>
            <a:ln w="38100">
              <a:solidFill>
                <a:srgbClr val="E20074"/>
              </a:solidFill>
              <a:miter lim="800000"/>
            </a:ln>
          </p:spPr>
          <p:txBody>
            <a:bodyPr wrap="none" lIns="1080000" tIns="0" rIns="0" bIns="0" rtlCol="0" anchor="ctr"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800" kern="0" dirty="0">
                  <a:solidFill>
                    <a:sysClr val="windowText" lastClr="000000"/>
                  </a:solidFill>
                  <a:latin typeface="TeleGrotesk Headline Ultra" pitchFamily="2" charset="0"/>
                  <a:cs typeface="TeleGrotesk Headline Ultra" pitchFamily="2" charset="0"/>
                  <a:sym typeface="Arial" pitchFamily="34" charset="0"/>
                </a:rPr>
                <a:t>Open Telekom </a:t>
              </a:r>
              <a:r>
                <a:rPr lang="en-US" sz="2800" kern="0" dirty="0" err="1">
                  <a:solidFill>
                    <a:sysClr val="windowText" lastClr="000000"/>
                  </a:solidFill>
                  <a:latin typeface="TeleGrotesk Headline Ultra" pitchFamily="2" charset="0"/>
                  <a:cs typeface="TeleGrotesk Headline Ultra" pitchFamily="2" charset="0"/>
                  <a:sym typeface="Arial" pitchFamily="34" charset="0"/>
                </a:rPr>
                <a:t>CLoud</a:t>
              </a:r>
              <a:endParaRPr lang="hu-HU" sz="2800" kern="0" dirty="0" smtClean="0">
                <a:solidFill>
                  <a:sysClr val="windowText" lastClr="000000"/>
                </a:solidFill>
                <a:latin typeface="TeleGrotesk Headline Ultra" pitchFamily="2" charset="0"/>
                <a:cs typeface="TeleGrotesk Headline Ultra" pitchFamily="2" charset="0"/>
                <a:sym typeface="Arial" pitchFamily="34" charset="0"/>
              </a:endParaRPr>
            </a:p>
          </p:txBody>
        </p:sp>
        <p:pic>
          <p:nvPicPr>
            <p:cNvPr id="288" name="pasted-image.pdf"/>
            <p:cNvPicPr preferRelativeResize="0"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244898" y="2422207"/>
              <a:ext cx="533656" cy="523636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  <p:sp>
        <p:nvSpPr>
          <p:cNvPr id="299" name="Rectangle 21"/>
          <p:cNvSpPr txBox="1">
            <a:spLocks/>
          </p:cNvSpPr>
          <p:nvPr/>
        </p:nvSpPr>
        <p:spPr bwMode="black">
          <a:xfrm>
            <a:off x="453581" y="1251513"/>
            <a:ext cx="4023858" cy="25960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576153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de-DE" sz="7200" kern="1200" smtClean="0">
                <a:solidFill>
                  <a:schemeClr val="bg1"/>
                </a:solidFill>
                <a:latin typeface="TeleGrotesk Headline Ultra" pitchFamily="2" charset="0"/>
                <a:ea typeface="+mj-ea"/>
                <a:cs typeface="TeleGrotesk Headline Ultra" pitchFamily="2" charset="0"/>
              </a:defRPr>
            </a:lvl1pPr>
            <a:lvl2pPr algn="l" defTabSz="576153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tx2"/>
                </a:solidFill>
                <a:latin typeface="Tele-GroteskUlt" pitchFamily="2" charset="0"/>
              </a:defRPr>
            </a:lvl2pPr>
            <a:lvl3pPr algn="l" defTabSz="576153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tx2"/>
                </a:solidFill>
                <a:latin typeface="Tele-GroteskUlt" pitchFamily="2" charset="0"/>
              </a:defRPr>
            </a:lvl3pPr>
            <a:lvl4pPr algn="l" defTabSz="576153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tx2"/>
                </a:solidFill>
                <a:latin typeface="Tele-GroteskUlt" pitchFamily="2" charset="0"/>
              </a:defRPr>
            </a:lvl4pPr>
            <a:lvl5pPr algn="l" defTabSz="576153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tx2"/>
                </a:solidFill>
                <a:latin typeface="Tele-GroteskUlt" pitchFamily="2" charset="0"/>
              </a:defRPr>
            </a:lvl5pPr>
            <a:lvl6pPr marL="457113" algn="l" defTabSz="576153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tx2"/>
                </a:solidFill>
                <a:latin typeface="Tele-GroteskUlt" pitchFamily="2" charset="0"/>
              </a:defRPr>
            </a:lvl6pPr>
            <a:lvl7pPr marL="914226" algn="l" defTabSz="576153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tx2"/>
                </a:solidFill>
                <a:latin typeface="Tele-GroteskUlt" pitchFamily="2" charset="0"/>
              </a:defRPr>
            </a:lvl7pPr>
            <a:lvl8pPr marL="1371339" algn="l" defTabSz="576153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tx2"/>
                </a:solidFill>
                <a:latin typeface="Tele-GroteskUlt" pitchFamily="2" charset="0"/>
              </a:defRPr>
            </a:lvl8pPr>
            <a:lvl9pPr marL="1828449" algn="l" defTabSz="576153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defTabSz="575925">
              <a:lnSpc>
                <a:spcPct val="70000"/>
              </a:lnSpc>
              <a:spcBef>
                <a:spcPts val="0"/>
              </a:spcBef>
              <a:spcAft>
                <a:spcPts val="1200"/>
              </a:spcAft>
              <a:buClr>
                <a:srgbClr val="E20074"/>
              </a:buClr>
              <a:buSzTx/>
              <a:buFontTx/>
            </a:pPr>
            <a:r>
              <a:rPr lang="en-US" dirty="0" smtClean="0"/>
              <a:t>The Next </a:t>
            </a:r>
            <a:r>
              <a:rPr lang="en-US" dirty="0">
                <a:solidFill>
                  <a:schemeClr val="tx2"/>
                </a:solidFill>
              </a:rPr>
              <a:t/>
            </a:r>
            <a:br>
              <a:rPr lang="en-US" dirty="0">
                <a:solidFill>
                  <a:schemeClr val="tx2"/>
                </a:solidFill>
              </a:rPr>
            </a:br>
            <a:r>
              <a:rPr lang="en-US" sz="11500" dirty="0" smtClean="0">
                <a:solidFill>
                  <a:schemeClr val="tx2"/>
                </a:solidFill>
              </a:rPr>
              <a:t>LEVEL</a:t>
            </a:r>
            <a:r>
              <a:rPr lang="en-US" sz="4400" dirty="0" smtClean="0"/>
              <a:t/>
            </a:r>
            <a:br>
              <a:rPr lang="en-US" sz="4400" dirty="0" smtClean="0"/>
            </a:br>
            <a:endParaRPr lang="en-US" sz="5400" dirty="0">
              <a:solidFill>
                <a:schemeClr val="tx2"/>
              </a:solidFill>
            </a:endParaRPr>
          </a:p>
        </p:txBody>
      </p:sp>
      <p:cxnSp>
        <p:nvCxnSpPr>
          <p:cNvPr id="301" name="Gerade Verbindung 18"/>
          <p:cNvCxnSpPr/>
          <p:nvPr/>
        </p:nvCxnSpPr>
        <p:spPr>
          <a:xfrm flipH="1">
            <a:off x="895237" y="1074295"/>
            <a:ext cx="2772000" cy="0"/>
          </a:xfrm>
          <a:prstGeom prst="lin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</p:cxnSp>
      <p:cxnSp>
        <p:nvCxnSpPr>
          <p:cNvPr id="302" name="Gerade Verbindung 18"/>
          <p:cNvCxnSpPr/>
          <p:nvPr/>
        </p:nvCxnSpPr>
        <p:spPr>
          <a:xfrm flipH="1">
            <a:off x="895237" y="3148158"/>
            <a:ext cx="2772000" cy="0"/>
          </a:xfrm>
          <a:prstGeom prst="lin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</p:cxnSp>
      <p:sp>
        <p:nvSpPr>
          <p:cNvPr id="18" name="Rechteck 286"/>
          <p:cNvSpPr/>
          <p:nvPr/>
        </p:nvSpPr>
        <p:spPr>
          <a:xfrm>
            <a:off x="4715156" y="3751058"/>
            <a:ext cx="447395" cy="447386"/>
          </a:xfrm>
          <a:prstGeom prst="rect">
            <a:avLst/>
          </a:prstGeom>
          <a:solidFill>
            <a:srgbClr val="000000"/>
          </a:solidFill>
          <a:ln w="38100">
            <a:solidFill>
              <a:srgbClr val="E20074"/>
            </a:solidFill>
            <a:miter lim="800000"/>
          </a:ln>
        </p:spPr>
        <p:txBody>
          <a:bodyPr wrap="none" lIns="1080000" tIns="0" rIns="0" bIns="0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hu-HU" sz="2800" kern="0" dirty="0">
                <a:solidFill>
                  <a:sysClr val="windowText" lastClr="000000"/>
                </a:solidFill>
                <a:latin typeface="TeleGrotesk Headline Ultra" pitchFamily="2" charset="0"/>
                <a:cs typeface="TeleGrotesk Headline Ultra" pitchFamily="2" charset="0"/>
                <a:sym typeface="Arial" pitchFamily="34" charset="0"/>
              </a:rPr>
              <a:t>(</a:t>
            </a:r>
            <a:r>
              <a:rPr lang="hu-HU" sz="2800" kern="0" dirty="0" err="1" smtClean="0">
                <a:solidFill>
                  <a:sysClr val="windowText" lastClr="000000"/>
                </a:solidFill>
                <a:latin typeface="TeleGrotesk Headline Ultra" pitchFamily="2" charset="0"/>
                <a:cs typeface="TeleGrotesk Headline Ultra" pitchFamily="2" charset="0"/>
                <a:sym typeface="Arial" pitchFamily="34" charset="0"/>
              </a:rPr>
              <a:t>Containers</a:t>
            </a:r>
            <a:r>
              <a:rPr lang="hu-HU" sz="2800" kern="0" dirty="0" smtClean="0">
                <a:solidFill>
                  <a:sysClr val="windowText" lastClr="000000"/>
                </a:solidFill>
                <a:latin typeface="TeleGrotesk Headline Ultra" pitchFamily="2" charset="0"/>
                <a:cs typeface="TeleGrotesk Headline Ultra" pitchFamily="2" charset="0"/>
                <a:sym typeface="Arial" pitchFamily="34" charset="0"/>
              </a:rPr>
              <a:t>)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2" descr="150729_v01_TSystms_QoI_single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-1" y="-12889"/>
            <a:ext cx="7286625" cy="5154802"/>
          </a:xfrm>
          <a:prstGeom prst="rect">
            <a:avLst/>
          </a:prstGeom>
        </p:spPr>
      </p:pic>
      <p:grpSp>
        <p:nvGrpSpPr>
          <p:cNvPr id="9" name="Gruppieren 8"/>
          <p:cNvGrpSpPr/>
          <p:nvPr/>
        </p:nvGrpSpPr>
        <p:grpSpPr>
          <a:xfrm rot="5400000">
            <a:off x="5038588" y="2209517"/>
            <a:ext cx="5705476" cy="1286444"/>
            <a:chOff x="5729725" y="1892301"/>
            <a:chExt cx="5705476" cy="1286444"/>
          </a:xfrm>
        </p:grpSpPr>
        <p:sp>
          <p:nvSpPr>
            <p:cNvPr id="7" name="Rectangle 31"/>
            <p:cNvSpPr/>
            <p:nvPr/>
          </p:nvSpPr>
          <p:spPr>
            <a:xfrm>
              <a:off x="5729726" y="1892301"/>
              <a:ext cx="3035994" cy="537583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defTabSz="575513">
                <a:buClr>
                  <a:srgbClr val="E20074"/>
                </a:buClr>
              </a:pPr>
              <a:r>
                <a:rPr lang="en-US" sz="9600" dirty="0" smtClean="0">
                  <a:solidFill>
                    <a:schemeClr val="bg1"/>
                  </a:solidFill>
                  <a:latin typeface="TeleGrotesk Headline Ultra" pitchFamily="2" charset="0"/>
                </a:rPr>
                <a:t>#UN</a:t>
              </a:r>
              <a:endParaRPr lang="en-US" sz="9600" dirty="0">
                <a:solidFill>
                  <a:schemeClr val="bg1"/>
                </a:solidFill>
                <a:latin typeface="TeleGrotesk Headline Ultra" pitchFamily="2" charset="0"/>
              </a:endParaRPr>
            </a:p>
          </p:txBody>
        </p:sp>
        <p:sp>
          <p:nvSpPr>
            <p:cNvPr id="8" name="Rectangle 32"/>
            <p:cNvSpPr/>
            <p:nvPr/>
          </p:nvSpPr>
          <p:spPr>
            <a:xfrm>
              <a:off x="5729725" y="2273882"/>
              <a:ext cx="5705476" cy="90486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575513">
                <a:lnSpc>
                  <a:spcPct val="80000"/>
                </a:lnSpc>
                <a:spcAft>
                  <a:spcPts val="756"/>
                </a:spcAft>
                <a:buClr>
                  <a:srgbClr val="E20074"/>
                </a:buClr>
              </a:pPr>
              <a:r>
                <a:rPr lang="de-DE" sz="6600" dirty="0" smtClean="0">
                  <a:solidFill>
                    <a:srgbClr val="000000"/>
                  </a:solidFill>
                  <a:latin typeface="TeleGrotesk Headline Ultra" pitchFamily="2" charset="0"/>
                </a:rPr>
                <a:t>Outsourcer</a:t>
              </a:r>
              <a:endParaRPr lang="de-DE" sz="6600" dirty="0">
                <a:solidFill>
                  <a:srgbClr val="000000"/>
                </a:solidFill>
                <a:latin typeface="TeleGrotesk Headline Ultra" pitchFamily="2" charset="0"/>
              </a:endParaRPr>
            </a:p>
          </p:txBody>
        </p:sp>
      </p:grpSp>
      <p:grpSp>
        <p:nvGrpSpPr>
          <p:cNvPr id="17" name="Gruppieren 16"/>
          <p:cNvGrpSpPr/>
          <p:nvPr/>
        </p:nvGrpSpPr>
        <p:grpSpPr>
          <a:xfrm>
            <a:off x="254795" y="3644900"/>
            <a:ext cx="3105758" cy="1244600"/>
            <a:chOff x="1591132" y="1728515"/>
            <a:chExt cx="3105758" cy="1244600"/>
          </a:xfrm>
        </p:grpSpPr>
        <p:sp>
          <p:nvSpPr>
            <p:cNvPr id="14" name="Rechteck 13"/>
            <p:cNvSpPr/>
            <p:nvPr/>
          </p:nvSpPr>
          <p:spPr>
            <a:xfrm>
              <a:off x="1591132" y="1728515"/>
              <a:ext cx="3105758" cy="1244600"/>
            </a:xfrm>
            <a:prstGeom prst="rect">
              <a:avLst/>
            </a:prstGeom>
            <a:solidFill>
              <a:schemeClr val="tx2"/>
            </a:solidFill>
          </p:spPr>
          <p:txBody>
            <a:bodyPr wrap="square" lIns="144000" tIns="108000" rIns="36000" bIns="108000" rtlCol="0" anchor="t">
              <a:noAutofit/>
            </a:bodyPr>
            <a:lstStyle/>
            <a:p>
              <a:pPr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>
                  <a:srgbClr val="E20074"/>
                </a:buClr>
              </a:pPr>
              <a:r>
                <a:rPr lang="en-US" sz="1000" dirty="0" smtClean="0">
                  <a:solidFill>
                    <a:schemeClr val="bg1"/>
                  </a:solidFill>
                  <a:latin typeface="TeleGrotesk Headline Ultra" pitchFamily="2" charset="0"/>
                  <a:sym typeface="Tele-GroteskNor"/>
                </a:rPr>
                <a:t>Our un-outsourcer offer:</a:t>
              </a:r>
              <a:br>
                <a:rPr lang="en-US" sz="1000" dirty="0" smtClean="0">
                  <a:solidFill>
                    <a:schemeClr val="bg1"/>
                  </a:solidFill>
                  <a:latin typeface="TeleGrotesk Headline Ultra" pitchFamily="2" charset="0"/>
                  <a:sym typeface="Tele-GroteskNor"/>
                </a:rPr>
              </a:br>
              <a:r>
                <a:rPr lang="en-US" sz="1000" dirty="0" smtClean="0">
                  <a:solidFill>
                    <a:schemeClr val="bg1"/>
                  </a:solidFill>
                  <a:latin typeface="TeleGrotesk Headline Ultra" pitchFamily="2" charset="0"/>
                  <a:sym typeface="Tele-GroteskNor"/>
                </a:rPr>
                <a:t>Run-on-satisfaction for Dynamic SAP services</a:t>
              </a:r>
            </a:p>
            <a:p>
              <a:pPr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>
                  <a:srgbClr val="E20074"/>
                </a:buClr>
              </a:pPr>
              <a:endParaRPr lang="en-US" sz="700" dirty="0" smtClean="0">
                <a:solidFill>
                  <a:schemeClr val="bg1"/>
                </a:solidFill>
                <a:latin typeface="TeleGrotesk Headline Ultra" pitchFamily="2" charset="0"/>
                <a:sym typeface="Tele-GroteskNor"/>
              </a:endParaRPr>
            </a:p>
            <a:p>
              <a:pPr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>
                  <a:srgbClr val="E20074"/>
                </a:buClr>
              </a:pPr>
              <a:r>
                <a:rPr lang="en-US" sz="700" dirty="0" smtClean="0">
                  <a:solidFill>
                    <a:schemeClr val="bg1"/>
                  </a:solidFill>
                  <a:latin typeface="Tele-GroteskNor"/>
                  <a:sym typeface="Tele-GroteskNor"/>
                </a:rPr>
                <a:t>Exceptionally flexible contracts thanks to short terms </a:t>
              </a:r>
            </a:p>
            <a:p>
              <a:pPr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>
                  <a:srgbClr val="E20074"/>
                </a:buClr>
              </a:pPr>
              <a:r>
                <a:rPr lang="en-US" sz="700" dirty="0" smtClean="0">
                  <a:solidFill>
                    <a:schemeClr val="bg1"/>
                  </a:solidFill>
                  <a:latin typeface="Tele-GroteskNor"/>
                  <a:sym typeface="Tele-GroteskNor"/>
                </a:rPr>
                <a:t>Special termination rights after the </a:t>
              </a:r>
              <a:r>
                <a:rPr lang="en-US" sz="700" dirty="0" err="1" smtClean="0">
                  <a:solidFill>
                    <a:schemeClr val="bg1"/>
                  </a:solidFill>
                  <a:latin typeface="Tele-GroteskNor"/>
                  <a:sym typeface="Tele-GroteskNor"/>
                </a:rPr>
                <a:t>hypercare</a:t>
              </a:r>
              <a:r>
                <a:rPr lang="en-US" sz="700" dirty="0" smtClean="0">
                  <a:solidFill>
                    <a:schemeClr val="bg1"/>
                  </a:solidFill>
                  <a:latin typeface="Tele-GroteskNor"/>
                  <a:sym typeface="Tele-GroteskNor"/>
                </a:rPr>
                <a:t> phase </a:t>
              </a:r>
            </a:p>
            <a:p>
              <a:pPr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>
                  <a:srgbClr val="E20074"/>
                </a:buClr>
              </a:pPr>
              <a:r>
                <a:rPr lang="en-US" sz="700" dirty="0" smtClean="0">
                  <a:solidFill>
                    <a:schemeClr val="bg1"/>
                  </a:solidFill>
                  <a:sym typeface="Tele-GroteskNor"/>
                </a:rPr>
                <a:t>For more information t-systems.com/un-outsourcer</a:t>
              </a:r>
              <a:endParaRPr lang="en-US" sz="900" dirty="0">
                <a:solidFill>
                  <a:schemeClr val="bg1"/>
                </a:solidFill>
                <a:latin typeface="Tele-GroteskNor"/>
                <a:sym typeface="Tele-GroteskNor"/>
              </a:endParaRPr>
            </a:p>
          </p:txBody>
        </p:sp>
        <p:pic>
          <p:nvPicPr>
            <p:cNvPr id="12" name="Picture 25" descr="TSY_Logo_3c_n"/>
            <p:cNvPicPr>
              <a:picLocks noChangeAspect="1" noChangeArrowheads="1"/>
            </p:cNvPicPr>
            <p:nvPr/>
          </p:nvPicPr>
          <p:blipFill>
            <a:blip r:embed="rId3" cstate="screen"/>
            <a:srcRect/>
            <a:stretch>
              <a:fillRect/>
            </a:stretch>
          </p:blipFill>
          <p:spPr bwMode="black">
            <a:xfrm>
              <a:off x="1787882" y="2562078"/>
              <a:ext cx="1408667" cy="255462"/>
            </a:xfrm>
            <a:prstGeom prst="rect">
              <a:avLst/>
            </a:prstGeom>
            <a:noFill/>
          </p:spPr>
        </p:pic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26556" y="200021"/>
            <a:ext cx="8490331" cy="830997"/>
          </a:xfrm>
        </p:spPr>
        <p:txBody>
          <a:bodyPr/>
          <a:lstStyle/>
          <a:p>
            <a:pPr defTabSz="407147"/>
            <a:r>
              <a:rPr lang="x-none" b="0" i="0" u="none" baseline="0"/>
              <a:t>Integration &amp; </a:t>
            </a:r>
            <a:r>
              <a:rPr lang="x-none" b="0" i="0" u="none" baseline="0" smtClean="0"/>
              <a:t>Transformation</a:t>
            </a:r>
            <a:r>
              <a:rPr lang="x-none" sz="1600">
                <a:latin typeface="TeleGrotesk Headline" pitchFamily="2" charset="0"/>
              </a:rPr>
              <a:t/>
            </a:r>
            <a:br>
              <a:rPr lang="x-none" sz="1600">
                <a:latin typeface="TeleGrotesk Headline" pitchFamily="2" charset="0"/>
              </a:rPr>
            </a:br>
            <a:r>
              <a:rPr lang="x-none" b="0" i="0" u="none" baseline="0">
                <a:latin typeface="TeleGrotesk Headline" pitchFamily="2" charset="0"/>
              </a:rPr>
              <a:t>The Cloudifier</a:t>
            </a:r>
            <a:endParaRPr lang="x-none" dirty="0"/>
          </a:p>
        </p:txBody>
      </p:sp>
      <p:sp>
        <p:nvSpPr>
          <p:cNvPr id="248" name="Rechteck 100"/>
          <p:cNvSpPr/>
          <p:nvPr/>
        </p:nvSpPr>
        <p:spPr>
          <a:xfrm>
            <a:off x="3104724" y="1598332"/>
            <a:ext cx="4898268" cy="2029334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txBody>
          <a:bodyPr lIns="29153" tIns="320681" rIns="29153" bIns="37024" rtlCol="0" anchor="t"/>
          <a:lstStyle/>
          <a:p>
            <a:pPr algn="ctr" defTabSz="3701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20074"/>
              </a:buClr>
              <a:buSzTx/>
              <a:defRPr/>
            </a:pPr>
            <a:endParaRPr lang="x-none" sz="2600" kern="0">
              <a:solidFill>
                <a:srgbClr val="E20074"/>
              </a:solidFill>
              <a:latin typeface="TeleGrotesk Headline Ultra" pitchFamily="2" charset="0"/>
            </a:endParaRPr>
          </a:p>
        </p:txBody>
      </p:sp>
      <p:sp>
        <p:nvSpPr>
          <p:cNvPr id="251" name="Rechteck 250"/>
          <p:cNvSpPr/>
          <p:nvPr/>
        </p:nvSpPr>
        <p:spPr>
          <a:xfrm>
            <a:off x="326557" y="1100768"/>
            <a:ext cx="4231781" cy="293865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</a:ln>
          <a:effectLst/>
        </p:spPr>
        <p:txBody>
          <a:bodyPr lIns="74048" tIns="37024" rIns="74048" bIns="37024" rtlCol="0" anchor="ctr"/>
          <a:lstStyle/>
          <a:p>
            <a:pPr algn="ctr" defTabSz="370100">
              <a:spcBef>
                <a:spcPts val="0"/>
              </a:spcBef>
              <a:buClr>
                <a:srgbClr val="E20074"/>
              </a:buClr>
              <a:defRPr/>
            </a:pPr>
            <a:r>
              <a:rPr lang="x-none" sz="1900" kern="0">
                <a:solidFill>
                  <a:schemeClr val="bg1"/>
                </a:solidFill>
                <a:latin typeface="TeleGrotesk Headline Ultra" pitchFamily="2" charset="0"/>
              </a:rPr>
              <a:t>Enable the cloud</a:t>
            </a:r>
          </a:p>
        </p:txBody>
      </p:sp>
      <p:sp>
        <p:nvSpPr>
          <p:cNvPr id="252" name="Rechteck 251"/>
          <p:cNvSpPr/>
          <p:nvPr/>
        </p:nvSpPr>
        <p:spPr>
          <a:xfrm>
            <a:off x="4558339" y="1100768"/>
            <a:ext cx="4258549" cy="293865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</a:ln>
          <a:effectLst/>
        </p:spPr>
        <p:txBody>
          <a:bodyPr lIns="74048" tIns="37024" rIns="74048" bIns="37024" rtlCol="0" anchor="ctr"/>
          <a:lstStyle/>
          <a:p>
            <a:pPr algn="ctr" defTabSz="370100">
              <a:spcBef>
                <a:spcPts val="0"/>
              </a:spcBef>
              <a:buClr>
                <a:srgbClr val="E20074"/>
              </a:buClr>
              <a:defRPr/>
            </a:pPr>
            <a:r>
              <a:rPr lang="x-none" sz="1900" kern="0">
                <a:solidFill>
                  <a:schemeClr val="bg1"/>
                </a:solidFill>
                <a:latin typeface="TeleGrotesk Headline Ultra" pitchFamily="2" charset="0"/>
              </a:rPr>
              <a:t>Operate the cloud</a:t>
            </a:r>
          </a:p>
        </p:txBody>
      </p:sp>
      <p:grpSp>
        <p:nvGrpSpPr>
          <p:cNvPr id="253" name="Gruppieren 252"/>
          <p:cNvGrpSpPr/>
          <p:nvPr/>
        </p:nvGrpSpPr>
        <p:grpSpPr>
          <a:xfrm>
            <a:off x="4174299" y="1100768"/>
            <a:ext cx="635543" cy="293865"/>
            <a:chOff x="5393136" y="3234084"/>
            <a:chExt cx="700642" cy="720000"/>
          </a:xfrm>
        </p:grpSpPr>
        <p:sp>
          <p:nvSpPr>
            <p:cNvPr id="254" name="Eingekerbter Richtungspfeil 41"/>
            <p:cNvSpPr/>
            <p:nvPr/>
          </p:nvSpPr>
          <p:spPr>
            <a:xfrm>
              <a:off x="5393136" y="3234084"/>
              <a:ext cx="350824" cy="720000"/>
            </a:xfrm>
            <a:prstGeom prst="chevron">
              <a:avLst/>
            </a:prstGeom>
            <a:solidFill>
              <a:srgbClr val="FFFFFF">
                <a:alpha val="20000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lnSpc>
                  <a:spcPts val="1458"/>
                </a:lnSpc>
                <a:buClr>
                  <a:srgbClr val="E20074"/>
                </a:buClr>
              </a:pPr>
              <a:endParaRPr lang="x-none" sz="1300" kern="0" dirty="0" err="1">
                <a:solidFill>
                  <a:srgbClr val="646464"/>
                </a:solidFill>
              </a:endParaRPr>
            </a:p>
          </p:txBody>
        </p:sp>
        <p:sp>
          <p:nvSpPr>
            <p:cNvPr id="255" name="Eingekerbter Richtungspfeil 254"/>
            <p:cNvSpPr/>
            <p:nvPr/>
          </p:nvSpPr>
          <p:spPr>
            <a:xfrm>
              <a:off x="5568045" y="3234084"/>
              <a:ext cx="350824" cy="720000"/>
            </a:xfrm>
            <a:prstGeom prst="chevron">
              <a:avLst/>
            </a:prstGeom>
            <a:solidFill>
              <a:srgbClr val="FFFFFF">
                <a:alpha val="50196"/>
              </a:srgbClr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370241">
                <a:lnSpc>
                  <a:spcPts val="1458"/>
                </a:lnSpc>
                <a:buClr>
                  <a:srgbClr val="E20074"/>
                </a:buClr>
                <a:defRPr/>
              </a:pPr>
              <a:endParaRPr lang="x-none" sz="1300" kern="0" dirty="0" err="1">
                <a:solidFill>
                  <a:srgbClr val="646464"/>
                </a:solidFill>
              </a:endParaRPr>
            </a:p>
          </p:txBody>
        </p:sp>
        <p:sp>
          <p:nvSpPr>
            <p:cNvPr id="256" name="Eingekerbter Richtungspfeil 255"/>
            <p:cNvSpPr/>
            <p:nvPr/>
          </p:nvSpPr>
          <p:spPr>
            <a:xfrm>
              <a:off x="5742954" y="3234084"/>
              <a:ext cx="350824" cy="720000"/>
            </a:xfrm>
            <a:prstGeom prst="chevron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370241">
                <a:lnSpc>
                  <a:spcPts val="1458"/>
                </a:lnSpc>
                <a:buClr>
                  <a:srgbClr val="E20074"/>
                </a:buClr>
                <a:defRPr/>
              </a:pPr>
              <a:endParaRPr lang="x-none" sz="1300" kern="0" dirty="0" err="1">
                <a:solidFill>
                  <a:srgbClr val="646464"/>
                </a:solidFill>
              </a:endParaRPr>
            </a:p>
          </p:txBody>
        </p:sp>
      </p:grpSp>
      <p:sp>
        <p:nvSpPr>
          <p:cNvPr id="257" name="Textfeld 256"/>
          <p:cNvSpPr txBox="1"/>
          <p:nvPr/>
        </p:nvSpPr>
        <p:spPr>
          <a:xfrm>
            <a:off x="323935" y="1445703"/>
            <a:ext cx="1469480" cy="110199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lIns="87458" tIns="0" rIns="87458" bIns="145764" rtlCol="0" anchor="b" anchorCtr="0">
            <a:noAutofit/>
          </a:bodyPr>
          <a:lstStyle/>
          <a:p>
            <a:pPr algn="ctr" defTabSz="370100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20074"/>
              </a:buClr>
              <a:buSzTx/>
              <a:defRPr/>
            </a:pPr>
            <a:r>
              <a:rPr lang="x-none" sz="1500" kern="0">
                <a:solidFill>
                  <a:srgbClr val="FFFFFF"/>
                </a:solidFill>
                <a:latin typeface="TeleGrotesk Headline Ultra" pitchFamily="2" charset="0"/>
                <a:ea typeface="Tele-GroteskNor" pitchFamily="2" charset="0"/>
                <a:cs typeface="Tele-GroteskNor" pitchFamily="2" charset="0"/>
              </a:rPr>
              <a:t>Unlock Classic</a:t>
            </a:r>
          </a:p>
        </p:txBody>
      </p:sp>
      <p:sp>
        <p:nvSpPr>
          <p:cNvPr id="258" name="Textfeld 257"/>
          <p:cNvSpPr txBox="1"/>
          <p:nvPr/>
        </p:nvSpPr>
        <p:spPr>
          <a:xfrm>
            <a:off x="323935" y="2621162"/>
            <a:ext cx="1469480" cy="110199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square" lIns="87458" tIns="145764" rIns="87458" bIns="0" rtlCol="0" anchor="t" anchorCtr="0">
            <a:noAutofit/>
          </a:bodyPr>
          <a:lstStyle/>
          <a:p>
            <a:pPr algn="ctr" defTabSz="370100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E20074"/>
              </a:buClr>
              <a:buSzTx/>
              <a:defRPr/>
            </a:pPr>
            <a:r>
              <a:rPr lang="x-none" sz="1500" kern="0">
                <a:solidFill>
                  <a:srgbClr val="FFFFFF"/>
                </a:solidFill>
                <a:latin typeface="TeleGrotesk Headline Ultra" pitchFamily="2" charset="0"/>
                <a:ea typeface="Tele-GroteskNor" pitchFamily="2" charset="0"/>
                <a:cs typeface="Tele-GroteskNor" pitchFamily="2" charset="0"/>
              </a:rPr>
              <a:t>Build</a:t>
            </a:r>
            <a:br>
              <a:rPr lang="x-none" sz="1500" kern="0">
                <a:solidFill>
                  <a:srgbClr val="FFFFFF"/>
                </a:solidFill>
                <a:latin typeface="TeleGrotesk Headline Ultra" pitchFamily="2" charset="0"/>
                <a:ea typeface="Tele-GroteskNor" pitchFamily="2" charset="0"/>
                <a:cs typeface="Tele-GroteskNor" pitchFamily="2" charset="0"/>
              </a:rPr>
            </a:br>
            <a:r>
              <a:rPr lang="x-none" sz="1500" kern="0">
                <a:solidFill>
                  <a:srgbClr val="FFFFFF"/>
                </a:solidFill>
                <a:latin typeface="TeleGrotesk Headline Ultra" pitchFamily="2" charset="0"/>
                <a:ea typeface="Tele-GroteskNor" pitchFamily="2" charset="0"/>
                <a:cs typeface="Tele-GroteskNor" pitchFamily="2" charset="0"/>
              </a:rPr>
              <a:t>Digital</a:t>
            </a:r>
          </a:p>
        </p:txBody>
      </p:sp>
      <p:sp>
        <p:nvSpPr>
          <p:cNvPr id="259" name="Textfeld 258"/>
          <p:cNvSpPr txBox="1"/>
          <p:nvPr/>
        </p:nvSpPr>
        <p:spPr>
          <a:xfrm>
            <a:off x="939548" y="2469770"/>
            <a:ext cx="293896" cy="22039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0" tIns="0" rIns="0" bIns="29153" rtlCol="0" anchor="ctr" anchorCtr="0">
            <a:noAutofit/>
          </a:bodyPr>
          <a:lstStyle/>
          <a:p>
            <a:pPr algn="ctr" defTabSz="3701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20074"/>
              </a:buClr>
              <a:buSzTx/>
              <a:defRPr/>
            </a:pPr>
            <a:r>
              <a:rPr lang="x-none" sz="2300" kern="0">
                <a:solidFill>
                  <a:srgbClr val="000000">
                    <a:lumMod val="75000"/>
                    <a:lumOff val="25000"/>
                  </a:srgbClr>
                </a:solidFill>
                <a:latin typeface="TeleGrotesk Headline Ultra" pitchFamily="2" charset="0"/>
                <a:ea typeface="Tele-GroteskNor" pitchFamily="2" charset="0"/>
                <a:cs typeface="Tele-GroteskNor" pitchFamily="2" charset="0"/>
              </a:rPr>
              <a:t>&amp;</a:t>
            </a:r>
            <a:endParaRPr lang="x-none" sz="1100" kern="0" dirty="0">
              <a:solidFill>
                <a:srgbClr val="000000">
                  <a:lumMod val="75000"/>
                  <a:lumOff val="25000"/>
                </a:srgbClr>
              </a:solidFill>
              <a:latin typeface="TeleGrotesk Headline Ultra" pitchFamily="2" charset="0"/>
              <a:ea typeface="Tele-GroteskNor" pitchFamily="2" charset="0"/>
              <a:cs typeface="Tele-GroteskNor" pitchFamily="2" charset="0"/>
            </a:endParaRPr>
          </a:p>
        </p:txBody>
      </p:sp>
      <p:sp>
        <p:nvSpPr>
          <p:cNvPr id="260" name="Textfeld 360"/>
          <p:cNvSpPr txBox="1"/>
          <p:nvPr/>
        </p:nvSpPr>
        <p:spPr>
          <a:xfrm>
            <a:off x="5424232" y="3369649"/>
            <a:ext cx="2760200" cy="2897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58306" tIns="29153" rIns="58306" bIns="29153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defTabSz="370339">
              <a:spcBef>
                <a:spcPts val="0"/>
              </a:spcBef>
              <a:buClr>
                <a:srgbClr val="4B4B4B"/>
              </a:buClr>
              <a:defRPr/>
            </a:pPr>
            <a:r>
              <a:rPr lang="x-none" sz="1600" kern="0">
                <a:solidFill>
                  <a:srgbClr val="000000"/>
                </a:solidFill>
                <a:latin typeface="TeleGrotesk Headline Ultra"/>
                <a:ea typeface="Swagger" pitchFamily="2" charset="0"/>
              </a:rPr>
              <a:t>99.95 % availability</a:t>
            </a:r>
            <a:endParaRPr lang="x-none" sz="1600" kern="0" dirty="0">
              <a:solidFill>
                <a:srgbClr val="000000"/>
              </a:solidFill>
              <a:latin typeface="TeleGrotesk Headline Ultra"/>
              <a:ea typeface="Swagger" pitchFamily="2" charset="0"/>
            </a:endParaRPr>
          </a:p>
        </p:txBody>
      </p:sp>
      <p:grpSp>
        <p:nvGrpSpPr>
          <p:cNvPr id="280" name="Gruppieren 279"/>
          <p:cNvGrpSpPr/>
          <p:nvPr/>
        </p:nvGrpSpPr>
        <p:grpSpPr>
          <a:xfrm rot="1200000">
            <a:off x="8209361" y="3053404"/>
            <a:ext cx="815760" cy="611756"/>
            <a:chOff x="9964458" y="2934608"/>
            <a:chExt cx="1021890" cy="1021890"/>
          </a:xfrm>
        </p:grpSpPr>
        <p:sp>
          <p:nvSpPr>
            <p:cNvPr id="281" name="Ellipse 280"/>
            <p:cNvSpPr/>
            <p:nvPr/>
          </p:nvSpPr>
          <p:spPr>
            <a:xfrm>
              <a:off x="10010908" y="2981058"/>
              <a:ext cx="928991" cy="92899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x-none" sz="1500" dirty="0" err="1">
                <a:solidFill>
                  <a:schemeClr val="tx1"/>
                </a:solidFill>
              </a:endParaRPr>
            </a:p>
          </p:txBody>
        </p:sp>
        <p:sp>
          <p:nvSpPr>
            <p:cNvPr id="282" name="Rechteck 17"/>
            <p:cNvSpPr/>
            <p:nvPr/>
          </p:nvSpPr>
          <p:spPr>
            <a:xfrm>
              <a:off x="10010395" y="3247377"/>
              <a:ext cx="930016" cy="396353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algn="ctr" defTabSz="370100">
                <a:lnSpc>
                  <a:spcPct val="80000"/>
                </a:lnSpc>
                <a:spcBef>
                  <a:spcPts val="0"/>
                </a:spcBef>
                <a:buClr>
                  <a:srgbClr val="E20074"/>
                </a:buClr>
                <a:defRPr/>
              </a:pPr>
              <a:r>
                <a:rPr lang="x-none" sz="1100" kern="0">
                  <a:solidFill>
                    <a:schemeClr val="bg1"/>
                  </a:solidFill>
                  <a:latin typeface="TeleGrotesk Headline Ultra" pitchFamily="2" charset="0"/>
                </a:rPr>
                <a:t>Zero Outage</a:t>
              </a:r>
            </a:p>
          </p:txBody>
        </p:sp>
        <p:sp>
          <p:nvSpPr>
            <p:cNvPr id="283" name="Ellipse 282"/>
            <p:cNvSpPr/>
            <p:nvPr/>
          </p:nvSpPr>
          <p:spPr>
            <a:xfrm>
              <a:off x="9964458" y="2934608"/>
              <a:ext cx="1021890" cy="1021890"/>
            </a:xfrm>
            <a:prstGeom prst="ellipse">
              <a:avLst/>
            </a:prstGeom>
            <a:noFill/>
            <a:ln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x-none" sz="15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284" name="Gerade Verbindung 144"/>
            <p:cNvCxnSpPr/>
            <p:nvPr/>
          </p:nvCxnSpPr>
          <p:spPr>
            <a:xfrm>
              <a:off x="10264294" y="3155608"/>
              <a:ext cx="422219" cy="0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5" name="Gerade Verbindung 145"/>
            <p:cNvCxnSpPr/>
            <p:nvPr/>
          </p:nvCxnSpPr>
          <p:spPr>
            <a:xfrm>
              <a:off x="10264294" y="3710095"/>
              <a:ext cx="422219" cy="0"/>
            </a:xfrm>
            <a:prstGeom prst="line">
              <a:avLst/>
            </a:prstGeom>
            <a:ln w="12700"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6" name="Gruppieren 37"/>
          <p:cNvGrpSpPr>
            <a:grpSpLocks noChangeAspect="1"/>
          </p:cNvGrpSpPr>
          <p:nvPr/>
        </p:nvGrpSpPr>
        <p:grpSpPr>
          <a:xfrm>
            <a:off x="715427" y="1491280"/>
            <a:ext cx="708663" cy="490334"/>
            <a:chOff x="989182" y="3228900"/>
            <a:chExt cx="1934585" cy="1390879"/>
          </a:xfrm>
          <a:solidFill>
            <a:srgbClr val="E20074">
              <a:alpha val="67000"/>
            </a:srgbClr>
          </a:solidFill>
        </p:grpSpPr>
        <p:sp>
          <p:nvSpPr>
            <p:cNvPr id="287" name="Abgerundetes Rechteck 7"/>
            <p:cNvSpPr/>
            <p:nvPr/>
          </p:nvSpPr>
          <p:spPr bwMode="auto">
            <a:xfrm>
              <a:off x="1824303" y="3228900"/>
              <a:ext cx="505886" cy="327987"/>
            </a:xfrm>
            <a:prstGeom prst="diamond">
              <a:avLst/>
            </a:prstGeom>
            <a:solidFill>
              <a:srgbClr val="996633"/>
            </a:solidFill>
            <a:ln w="9525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lIns="72000" tIns="0" rIns="0" bIns="0" anchor="t"/>
            <a:lstStyle/>
            <a:p>
              <a:pPr defTabSz="932828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x-none" sz="1500" kern="0" dirty="0">
                <a:solidFill>
                  <a:srgbClr val="FFFFFF"/>
                </a:solidFill>
                <a:latin typeface="MS PGothic" pitchFamily="34" charset="-128"/>
                <a:cs typeface="Arial" pitchFamily="34" charset="0"/>
              </a:endParaRPr>
            </a:p>
          </p:txBody>
        </p:sp>
        <p:sp>
          <p:nvSpPr>
            <p:cNvPr id="288" name="Rechteck 121"/>
            <p:cNvSpPr/>
            <p:nvPr/>
          </p:nvSpPr>
          <p:spPr bwMode="auto">
            <a:xfrm>
              <a:off x="2693301" y="3779722"/>
              <a:ext cx="230466" cy="126743"/>
            </a:xfrm>
            <a:prstGeom prst="hexagon">
              <a:avLst/>
            </a:prstGeom>
            <a:solidFill>
              <a:srgbClr val="0070C0"/>
            </a:solidFill>
            <a:ln w="9525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lIns="72000" tIns="0" rIns="0" bIns="0" anchor="t"/>
            <a:lstStyle/>
            <a:p>
              <a:pPr defTabSz="932828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x-none" sz="1500" kern="0" dirty="0">
                <a:solidFill>
                  <a:srgbClr val="FFFFFF"/>
                </a:solidFill>
                <a:latin typeface="MS PGothic" pitchFamily="34" charset="-128"/>
                <a:cs typeface="Arial" pitchFamily="34" charset="0"/>
              </a:endParaRPr>
            </a:p>
          </p:txBody>
        </p:sp>
        <p:sp>
          <p:nvSpPr>
            <p:cNvPr id="289" name="Rechteck 121"/>
            <p:cNvSpPr/>
            <p:nvPr/>
          </p:nvSpPr>
          <p:spPr bwMode="auto">
            <a:xfrm>
              <a:off x="2034910" y="4375525"/>
              <a:ext cx="634247" cy="101236"/>
            </a:xfrm>
            <a:prstGeom prst="rect">
              <a:avLst/>
            </a:prstGeom>
            <a:solidFill>
              <a:srgbClr val="FF2F97"/>
            </a:solidFill>
            <a:ln w="9525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lIns="72000" tIns="0" rIns="0" bIns="0" anchor="t"/>
            <a:lstStyle/>
            <a:p>
              <a:pPr defTabSz="932828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x-none" sz="1500" kern="0" dirty="0">
                <a:solidFill>
                  <a:srgbClr val="FFFFFF"/>
                </a:solidFill>
                <a:latin typeface="MS PGothic" pitchFamily="34" charset="-128"/>
                <a:cs typeface="Arial" pitchFamily="34" charset="0"/>
              </a:endParaRPr>
            </a:p>
          </p:txBody>
        </p:sp>
        <p:sp>
          <p:nvSpPr>
            <p:cNvPr id="290" name="Abgerundetes Rechteck 7"/>
            <p:cNvSpPr/>
            <p:nvPr/>
          </p:nvSpPr>
          <p:spPr bwMode="auto">
            <a:xfrm>
              <a:off x="1288345" y="3457176"/>
              <a:ext cx="647077" cy="587245"/>
            </a:xfrm>
            <a:prstGeom prst="roundRect">
              <a:avLst/>
            </a:prstGeom>
            <a:solidFill>
              <a:srgbClr val="66FFCC"/>
            </a:solidFill>
            <a:ln w="9525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lIns="72000" tIns="0" rIns="0" bIns="0" anchor="t"/>
            <a:lstStyle/>
            <a:p>
              <a:pPr defTabSz="932828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x-none" sz="1500" kern="0" dirty="0">
                <a:solidFill>
                  <a:srgbClr val="FFFFFF"/>
                </a:solidFill>
                <a:latin typeface="MS PGothic" pitchFamily="34" charset="-128"/>
                <a:cs typeface="Arial" pitchFamily="34" charset="0"/>
              </a:endParaRPr>
            </a:p>
          </p:txBody>
        </p:sp>
        <p:sp>
          <p:nvSpPr>
            <p:cNvPr id="291" name="Rechteck 5"/>
            <p:cNvSpPr/>
            <p:nvPr/>
          </p:nvSpPr>
          <p:spPr bwMode="auto">
            <a:xfrm>
              <a:off x="1177543" y="3368535"/>
              <a:ext cx="339051" cy="208306"/>
            </a:xfrm>
            <a:prstGeom prst="rect">
              <a:avLst/>
            </a:prstGeom>
            <a:solidFill>
              <a:srgbClr val="00B0F0"/>
            </a:solidFill>
            <a:ln w="9525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lIns="72000" tIns="0" rIns="0" bIns="0" anchor="t"/>
            <a:lstStyle/>
            <a:p>
              <a:pPr defTabSz="932828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x-none" sz="1500" kern="0" dirty="0">
                <a:solidFill>
                  <a:srgbClr val="FFFFFF"/>
                </a:solidFill>
                <a:latin typeface="MS PGothic" pitchFamily="34" charset="-128"/>
                <a:cs typeface="Arial" pitchFamily="34" charset="0"/>
              </a:endParaRPr>
            </a:p>
          </p:txBody>
        </p:sp>
        <p:sp>
          <p:nvSpPr>
            <p:cNvPr id="292" name="Rechteck 118"/>
            <p:cNvSpPr/>
            <p:nvPr/>
          </p:nvSpPr>
          <p:spPr bwMode="auto">
            <a:xfrm>
              <a:off x="989182" y="3780714"/>
              <a:ext cx="170633" cy="403316"/>
            </a:xfrm>
            <a:prstGeom prst="rect">
              <a:avLst/>
            </a:prstGeom>
            <a:solidFill>
              <a:srgbClr val="C00000"/>
            </a:solidFill>
            <a:ln w="9525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lIns="72000" tIns="0" rIns="0" bIns="0" anchor="t"/>
            <a:lstStyle/>
            <a:p>
              <a:pPr defTabSz="932828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x-none" sz="1500" kern="0" dirty="0">
                <a:solidFill>
                  <a:srgbClr val="FFFFFF"/>
                </a:solidFill>
                <a:latin typeface="MS PGothic" pitchFamily="34" charset="-128"/>
                <a:cs typeface="Arial" pitchFamily="34" charset="0"/>
              </a:endParaRPr>
            </a:p>
          </p:txBody>
        </p:sp>
        <p:sp>
          <p:nvSpPr>
            <p:cNvPr id="293" name="Rechteck 119"/>
            <p:cNvSpPr/>
            <p:nvPr/>
          </p:nvSpPr>
          <p:spPr bwMode="auto">
            <a:xfrm>
              <a:off x="1215216" y="4031125"/>
              <a:ext cx="367860" cy="330187"/>
            </a:xfrm>
            <a:prstGeom prst="rect">
              <a:avLst/>
            </a:prstGeom>
            <a:solidFill>
              <a:srgbClr val="FF7C80"/>
            </a:solidFill>
            <a:ln w="9525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lIns="72000" tIns="0" rIns="0" bIns="0" anchor="t"/>
            <a:lstStyle/>
            <a:p>
              <a:pPr defTabSz="932828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x-none" sz="1500" kern="0" dirty="0">
                <a:solidFill>
                  <a:srgbClr val="FFFFFF"/>
                </a:solidFill>
                <a:latin typeface="MS PGothic" pitchFamily="34" charset="-128"/>
                <a:cs typeface="Arial" pitchFamily="34" charset="0"/>
              </a:endParaRPr>
            </a:p>
          </p:txBody>
        </p:sp>
        <p:sp>
          <p:nvSpPr>
            <p:cNvPr id="294" name="Rechteck 120"/>
            <p:cNvSpPr/>
            <p:nvPr/>
          </p:nvSpPr>
          <p:spPr bwMode="auto">
            <a:xfrm>
              <a:off x="1536539" y="4087788"/>
              <a:ext cx="310243" cy="229204"/>
            </a:xfrm>
            <a:prstGeom prst="rect">
              <a:avLst/>
            </a:prstGeom>
            <a:solidFill>
              <a:srgbClr val="FF66CC"/>
            </a:solidFill>
            <a:ln w="9525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lIns="72000" tIns="0" rIns="0" bIns="0" anchor="t"/>
            <a:lstStyle/>
            <a:p>
              <a:pPr defTabSz="932828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x-none" sz="1500" kern="0" dirty="0">
                <a:solidFill>
                  <a:srgbClr val="000000"/>
                </a:solidFill>
                <a:latin typeface="MS PGothic" pitchFamily="34" charset="-128"/>
                <a:cs typeface="Arial" pitchFamily="34" charset="0"/>
              </a:endParaRPr>
            </a:p>
          </p:txBody>
        </p:sp>
        <p:sp>
          <p:nvSpPr>
            <p:cNvPr id="295" name="Rechteck 121"/>
            <p:cNvSpPr/>
            <p:nvPr/>
          </p:nvSpPr>
          <p:spPr bwMode="auto">
            <a:xfrm>
              <a:off x="2024063" y="3842763"/>
              <a:ext cx="460932" cy="325754"/>
            </a:xfrm>
            <a:prstGeom prst="rect">
              <a:avLst/>
            </a:prstGeom>
            <a:solidFill>
              <a:srgbClr val="92D050"/>
            </a:solidFill>
            <a:ln w="9525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lIns="72000" tIns="0" rIns="0" bIns="0" anchor="t"/>
            <a:lstStyle/>
            <a:p>
              <a:pPr defTabSz="932828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x-none" sz="1500" kern="0" dirty="0">
                <a:solidFill>
                  <a:srgbClr val="FFFFFF"/>
                </a:solidFill>
                <a:latin typeface="MS PGothic" pitchFamily="34" charset="-128"/>
                <a:cs typeface="Arial" pitchFamily="34" charset="0"/>
              </a:endParaRPr>
            </a:p>
          </p:txBody>
        </p:sp>
        <p:sp>
          <p:nvSpPr>
            <p:cNvPr id="296" name="Rechteck 122"/>
            <p:cNvSpPr/>
            <p:nvPr/>
          </p:nvSpPr>
          <p:spPr bwMode="auto">
            <a:xfrm>
              <a:off x="2050655" y="3472687"/>
              <a:ext cx="642646" cy="104154"/>
            </a:xfrm>
            <a:prstGeom prst="rect">
              <a:avLst/>
            </a:prstGeom>
            <a:solidFill>
              <a:srgbClr val="7030A0"/>
            </a:solidFill>
            <a:ln w="9525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lIns="72000" tIns="0" rIns="0" bIns="0" anchor="t"/>
            <a:lstStyle/>
            <a:p>
              <a:pPr defTabSz="932828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x-none" sz="1500" kern="0" dirty="0">
                <a:solidFill>
                  <a:srgbClr val="FFFFFF"/>
                </a:solidFill>
                <a:latin typeface="MS PGothic" pitchFamily="34" charset="-128"/>
                <a:cs typeface="Arial" pitchFamily="34" charset="0"/>
              </a:endParaRPr>
            </a:p>
          </p:txBody>
        </p:sp>
        <p:sp>
          <p:nvSpPr>
            <p:cNvPr id="297" name="Rechteck 123"/>
            <p:cNvSpPr/>
            <p:nvPr/>
          </p:nvSpPr>
          <p:spPr bwMode="auto">
            <a:xfrm>
              <a:off x="1773653" y="3612297"/>
              <a:ext cx="230466" cy="161769"/>
            </a:xfrm>
            <a:prstGeom prst="rect">
              <a:avLst/>
            </a:prstGeom>
            <a:solidFill>
              <a:srgbClr val="002060"/>
            </a:solidFill>
            <a:ln w="9525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lIns="72000" tIns="0" rIns="0" bIns="0" anchor="t"/>
            <a:lstStyle/>
            <a:p>
              <a:pPr defTabSz="932828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x-none" sz="1500" kern="0" dirty="0">
                <a:solidFill>
                  <a:srgbClr val="FFFFFF"/>
                </a:solidFill>
                <a:latin typeface="MS PGothic" pitchFamily="34" charset="-128"/>
                <a:cs typeface="Arial" pitchFamily="34" charset="0"/>
              </a:endParaRPr>
            </a:p>
          </p:txBody>
        </p:sp>
        <p:sp>
          <p:nvSpPr>
            <p:cNvPr id="298" name="Ellipse 6"/>
            <p:cNvSpPr/>
            <p:nvPr/>
          </p:nvSpPr>
          <p:spPr bwMode="auto">
            <a:xfrm>
              <a:off x="2318794" y="4062148"/>
              <a:ext cx="323539" cy="219386"/>
            </a:xfrm>
            <a:prstGeom prst="ellipse">
              <a:avLst/>
            </a:prstGeom>
            <a:solidFill>
              <a:srgbClr val="FFC000"/>
            </a:solidFill>
            <a:ln w="9525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lIns="72000" tIns="0" rIns="0" bIns="0" anchor="t"/>
            <a:lstStyle/>
            <a:p>
              <a:pPr defTabSz="932828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x-none" sz="1500" kern="0" dirty="0">
                <a:solidFill>
                  <a:srgbClr val="FFFFFF"/>
                </a:solidFill>
                <a:latin typeface="MS PGothic" pitchFamily="34" charset="-128"/>
                <a:cs typeface="Arial" pitchFamily="34" charset="0"/>
              </a:endParaRPr>
            </a:p>
          </p:txBody>
        </p:sp>
        <p:sp>
          <p:nvSpPr>
            <p:cNvPr id="299" name="Ellipse 125"/>
            <p:cNvSpPr/>
            <p:nvPr/>
          </p:nvSpPr>
          <p:spPr bwMode="auto">
            <a:xfrm>
              <a:off x="1935422" y="3694289"/>
              <a:ext cx="283651" cy="192795"/>
            </a:xfrm>
            <a:prstGeom prst="ellipse">
              <a:avLst/>
            </a:prstGeom>
            <a:solidFill>
              <a:srgbClr val="D0D0D0">
                <a:lumMod val="50000"/>
              </a:srgbClr>
            </a:solidFill>
            <a:ln w="9525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lIns="72000" tIns="0" rIns="0" bIns="0" anchor="t"/>
            <a:lstStyle/>
            <a:p>
              <a:pPr defTabSz="932828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x-none" sz="1500" kern="0" dirty="0">
                <a:solidFill>
                  <a:srgbClr val="000000"/>
                </a:solidFill>
                <a:latin typeface="MS PGothic" pitchFamily="34" charset="-128"/>
                <a:cs typeface="Arial" pitchFamily="34" charset="0"/>
              </a:endParaRPr>
            </a:p>
          </p:txBody>
        </p:sp>
        <p:cxnSp>
          <p:nvCxnSpPr>
            <p:cNvPr id="300" name="Gewinkelte Verbindung 9"/>
            <p:cNvCxnSpPr>
              <a:stCxn id="292" idx="3"/>
              <a:endCxn id="290" idx="1"/>
            </p:cNvCxnSpPr>
            <p:nvPr/>
          </p:nvCxnSpPr>
          <p:spPr bwMode="auto">
            <a:xfrm flipV="1">
              <a:off x="1159815" y="3750799"/>
              <a:ext cx="128530" cy="231573"/>
            </a:xfrm>
            <a:prstGeom prst="bentConnector3">
              <a:avLst>
                <a:gd name="adj1" fmla="val 50000"/>
              </a:avLst>
            </a:prstGeom>
            <a:grpFill/>
            <a:ln w="9525" cap="flat" cmpd="sng" algn="ctr">
              <a:solidFill>
                <a:srgbClr val="FFFFFF"/>
              </a:solidFill>
              <a:prstDash val="solid"/>
              <a:headEnd type="oval" w="sm" len="sm"/>
              <a:tailEnd type="oval" w="sm" len="sm"/>
            </a:ln>
            <a:effectLst/>
          </p:spPr>
        </p:cxnSp>
        <p:cxnSp>
          <p:nvCxnSpPr>
            <p:cNvPr id="301" name="Gewinkelte Verbindung 129"/>
            <p:cNvCxnSpPr>
              <a:stCxn id="293" idx="2"/>
              <a:endCxn id="291" idx="1"/>
            </p:cNvCxnSpPr>
            <p:nvPr/>
          </p:nvCxnSpPr>
          <p:spPr bwMode="auto">
            <a:xfrm rot="5400000" flipH="1">
              <a:off x="844033" y="3806199"/>
              <a:ext cx="888624" cy="221603"/>
            </a:xfrm>
            <a:prstGeom prst="bentConnector4">
              <a:avLst>
                <a:gd name="adj1" fmla="val -8782"/>
                <a:gd name="adj2" fmla="val 168035"/>
              </a:avLst>
            </a:prstGeom>
            <a:grpFill/>
            <a:ln w="9525" cap="flat" cmpd="sng" algn="ctr">
              <a:solidFill>
                <a:srgbClr val="FFFFFF"/>
              </a:solidFill>
              <a:prstDash val="solid"/>
              <a:headEnd type="none" w="sm" len="sm"/>
              <a:tailEnd type="triangle" w="sm" len="sm"/>
            </a:ln>
            <a:effectLst/>
          </p:spPr>
        </p:cxnSp>
        <p:cxnSp>
          <p:nvCxnSpPr>
            <p:cNvPr id="302" name="Gewinkelte Verbindung 133"/>
            <p:cNvCxnSpPr>
              <a:stCxn id="294" idx="0"/>
              <a:endCxn id="291" idx="3"/>
            </p:cNvCxnSpPr>
            <p:nvPr/>
          </p:nvCxnSpPr>
          <p:spPr bwMode="auto">
            <a:xfrm rot="16200000" flipV="1">
              <a:off x="1296577" y="3692704"/>
              <a:ext cx="615100" cy="175067"/>
            </a:xfrm>
            <a:prstGeom prst="bentConnector2">
              <a:avLst/>
            </a:prstGeom>
            <a:grpFill/>
            <a:ln w="9525" cap="flat" cmpd="sng" algn="ctr">
              <a:solidFill>
                <a:srgbClr val="FFFFFF"/>
              </a:solidFill>
              <a:prstDash val="solid"/>
              <a:headEnd type="triangle" w="sm" len="sm"/>
              <a:tailEnd type="oval" w="sm" len="sm"/>
            </a:ln>
            <a:effectLst/>
          </p:spPr>
        </p:cxnSp>
        <p:cxnSp>
          <p:nvCxnSpPr>
            <p:cNvPr id="303" name="Gewinkelte Verbindung 136"/>
            <p:cNvCxnSpPr>
              <a:stCxn id="297" idx="1"/>
              <a:endCxn id="293" idx="0"/>
            </p:cNvCxnSpPr>
            <p:nvPr/>
          </p:nvCxnSpPr>
          <p:spPr bwMode="auto">
            <a:xfrm rot="10800000" flipV="1">
              <a:off x="1399147" y="3693182"/>
              <a:ext cx="374507" cy="337943"/>
            </a:xfrm>
            <a:prstGeom prst="bentConnector2">
              <a:avLst/>
            </a:prstGeom>
            <a:grpFill/>
            <a:ln w="9525" cap="flat" cmpd="sng" algn="ctr">
              <a:solidFill>
                <a:srgbClr val="FFFFFF"/>
              </a:solidFill>
              <a:prstDash val="solid"/>
            </a:ln>
            <a:effectLst/>
          </p:spPr>
        </p:cxnSp>
        <p:cxnSp>
          <p:nvCxnSpPr>
            <p:cNvPr id="304" name="Gewinkelte Verbindung 139"/>
            <p:cNvCxnSpPr>
              <a:stCxn id="296" idx="2"/>
              <a:endCxn id="294" idx="1"/>
            </p:cNvCxnSpPr>
            <p:nvPr/>
          </p:nvCxnSpPr>
          <p:spPr bwMode="auto">
            <a:xfrm rot="5400000">
              <a:off x="1641484" y="3471896"/>
              <a:ext cx="625549" cy="835439"/>
            </a:xfrm>
            <a:prstGeom prst="bentConnector4">
              <a:avLst>
                <a:gd name="adj1" fmla="val 40840"/>
                <a:gd name="adj2" fmla="val 113125"/>
              </a:avLst>
            </a:prstGeom>
            <a:grpFill/>
            <a:ln w="9525" cap="flat" cmpd="sng" algn="ctr">
              <a:solidFill>
                <a:srgbClr val="FFFFFF"/>
              </a:solidFill>
              <a:prstDash val="solid"/>
              <a:headEnd type="triangle" w="sm" len="sm"/>
              <a:tailEnd type="oval" w="sm" len="sm"/>
            </a:ln>
            <a:effectLst/>
          </p:spPr>
        </p:cxnSp>
        <p:cxnSp>
          <p:nvCxnSpPr>
            <p:cNvPr id="305" name="Gewinkelte Verbindung 147"/>
            <p:cNvCxnSpPr>
              <a:stCxn id="298" idx="4"/>
              <a:endCxn id="294" idx="3"/>
            </p:cNvCxnSpPr>
            <p:nvPr/>
          </p:nvCxnSpPr>
          <p:spPr bwMode="auto">
            <a:xfrm rot="5400000" flipH="1">
              <a:off x="2124101" y="3925071"/>
              <a:ext cx="79144" cy="633781"/>
            </a:xfrm>
            <a:prstGeom prst="bentConnector4">
              <a:avLst>
                <a:gd name="adj1" fmla="val -98604"/>
                <a:gd name="adj2" fmla="val 62762"/>
              </a:avLst>
            </a:prstGeom>
            <a:grpFill/>
            <a:ln w="9525" cap="flat" cmpd="sng" algn="ctr">
              <a:solidFill>
                <a:srgbClr val="FFFFFF"/>
              </a:solidFill>
              <a:prstDash val="solid"/>
              <a:headEnd type="none" w="sm" len="sm"/>
              <a:tailEnd type="triangle" w="sm" len="sm"/>
            </a:ln>
            <a:effectLst/>
          </p:spPr>
        </p:cxnSp>
        <p:cxnSp>
          <p:nvCxnSpPr>
            <p:cNvPr id="306" name="Gewinkelte Verbindung 152"/>
            <p:cNvCxnSpPr>
              <a:stCxn id="299" idx="6"/>
              <a:endCxn id="295" idx="3"/>
            </p:cNvCxnSpPr>
            <p:nvPr/>
          </p:nvCxnSpPr>
          <p:spPr bwMode="auto">
            <a:xfrm>
              <a:off x="2219073" y="3790687"/>
              <a:ext cx="265922" cy="214953"/>
            </a:xfrm>
            <a:prstGeom prst="bentConnector3">
              <a:avLst>
                <a:gd name="adj1" fmla="val 141234"/>
              </a:avLst>
            </a:prstGeom>
            <a:grpFill/>
            <a:ln w="9525" cap="flat" cmpd="sng" algn="ctr">
              <a:solidFill>
                <a:srgbClr val="FFFFFF"/>
              </a:solidFill>
              <a:prstDash val="solid"/>
              <a:headEnd type="triangle" w="sm" len="sm"/>
              <a:tailEnd type="triangle" w="sm" len="sm"/>
            </a:ln>
            <a:effectLst/>
          </p:spPr>
        </p:cxnSp>
        <p:cxnSp>
          <p:nvCxnSpPr>
            <p:cNvPr id="307" name="Gewinkelte Verbindung 163"/>
            <p:cNvCxnSpPr>
              <a:stCxn id="296" idx="3"/>
              <a:endCxn id="298" idx="2"/>
            </p:cNvCxnSpPr>
            <p:nvPr/>
          </p:nvCxnSpPr>
          <p:spPr bwMode="auto">
            <a:xfrm flipH="1">
              <a:off x="2318794" y="3524764"/>
              <a:ext cx="374507" cy="647077"/>
            </a:xfrm>
            <a:prstGeom prst="bentConnector5">
              <a:avLst>
                <a:gd name="adj1" fmla="val -29278"/>
                <a:gd name="adj2" fmla="val 45548"/>
                <a:gd name="adj3" fmla="val 120738"/>
              </a:avLst>
            </a:prstGeom>
            <a:grpFill/>
            <a:ln w="9525" cap="flat" cmpd="sng" algn="ctr">
              <a:solidFill>
                <a:srgbClr val="FFFFFF"/>
              </a:solidFill>
              <a:prstDash val="solid"/>
              <a:headEnd type="triangle" w="sm" len="sm"/>
              <a:tailEnd type="triangle" w="sm" len="sm"/>
            </a:ln>
            <a:effectLst/>
          </p:spPr>
        </p:cxnSp>
        <p:sp>
          <p:nvSpPr>
            <p:cNvPr id="308" name="Rechteck 122"/>
            <p:cNvSpPr/>
            <p:nvPr/>
          </p:nvSpPr>
          <p:spPr bwMode="auto">
            <a:xfrm>
              <a:off x="1594591" y="4426143"/>
              <a:ext cx="409528" cy="193636"/>
            </a:xfrm>
            <a:prstGeom prst="triangle">
              <a:avLst/>
            </a:prstGeom>
            <a:solidFill>
              <a:srgbClr val="4B4B4B">
                <a:lumMod val="50000"/>
              </a:srgbClr>
            </a:solidFill>
            <a:ln w="9525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lIns="72000" tIns="0" rIns="0" bIns="0" anchor="t"/>
            <a:lstStyle/>
            <a:p>
              <a:pPr defTabSz="932828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defRPr/>
              </a:pPr>
              <a:endParaRPr lang="x-none" sz="1500" kern="0" dirty="0">
                <a:solidFill>
                  <a:srgbClr val="FFFFFF"/>
                </a:solidFill>
                <a:latin typeface="MS PGothic" pitchFamily="34" charset="-128"/>
                <a:cs typeface="Arial" pitchFamily="34" charset="0"/>
              </a:endParaRPr>
            </a:p>
          </p:txBody>
        </p:sp>
        <p:cxnSp>
          <p:nvCxnSpPr>
            <p:cNvPr id="309" name="Gewinkelte Verbindung 133"/>
            <p:cNvCxnSpPr>
              <a:stCxn id="294" idx="2"/>
              <a:endCxn id="292" idx="1"/>
            </p:cNvCxnSpPr>
            <p:nvPr/>
          </p:nvCxnSpPr>
          <p:spPr bwMode="auto">
            <a:xfrm rot="5400000" flipH="1">
              <a:off x="1173111" y="3798443"/>
              <a:ext cx="334620" cy="702478"/>
            </a:xfrm>
            <a:prstGeom prst="bentConnector4">
              <a:avLst>
                <a:gd name="adj1" fmla="val -23322"/>
                <a:gd name="adj2" fmla="val 115609"/>
              </a:avLst>
            </a:prstGeom>
            <a:grpFill/>
            <a:ln w="9525" cap="flat" cmpd="sng" algn="ctr">
              <a:solidFill>
                <a:srgbClr val="FFFFFF"/>
              </a:solidFill>
              <a:prstDash val="solid"/>
              <a:headEnd type="triangle" w="sm" len="sm"/>
              <a:tailEnd type="oval" w="sm" len="sm"/>
            </a:ln>
            <a:effectLst/>
          </p:spPr>
        </p:cxnSp>
        <p:cxnSp>
          <p:nvCxnSpPr>
            <p:cNvPr id="310" name="Gewinkelte Verbindung 147"/>
            <p:cNvCxnSpPr>
              <a:stCxn id="298" idx="6"/>
              <a:endCxn id="308" idx="5"/>
            </p:cNvCxnSpPr>
            <p:nvPr/>
          </p:nvCxnSpPr>
          <p:spPr bwMode="auto">
            <a:xfrm flipH="1">
              <a:off x="1901737" y="4171841"/>
              <a:ext cx="740595" cy="351120"/>
            </a:xfrm>
            <a:prstGeom prst="bentConnector3">
              <a:avLst>
                <a:gd name="adj1" fmla="val -14806"/>
              </a:avLst>
            </a:prstGeom>
            <a:grpFill/>
            <a:ln w="9525" cap="flat" cmpd="sng" algn="ctr">
              <a:solidFill>
                <a:srgbClr val="FFFFFF"/>
              </a:solidFill>
              <a:prstDash val="solid"/>
              <a:headEnd type="none" w="sm" len="sm"/>
              <a:tailEnd type="triangle" w="sm" len="sm"/>
            </a:ln>
            <a:effectLst/>
          </p:spPr>
        </p:cxnSp>
        <p:cxnSp>
          <p:nvCxnSpPr>
            <p:cNvPr id="311" name="Gewinkelte Verbindung 133"/>
            <p:cNvCxnSpPr>
              <a:stCxn id="308" idx="3"/>
              <a:endCxn id="292" idx="2"/>
            </p:cNvCxnSpPr>
            <p:nvPr/>
          </p:nvCxnSpPr>
          <p:spPr bwMode="auto">
            <a:xfrm rot="5400000" flipH="1">
              <a:off x="1219052" y="4039476"/>
              <a:ext cx="435749" cy="724857"/>
            </a:xfrm>
            <a:prstGeom prst="bentConnector3">
              <a:avLst>
                <a:gd name="adj1" fmla="val -17909"/>
              </a:avLst>
            </a:prstGeom>
            <a:grpFill/>
            <a:ln w="9525" cap="flat" cmpd="sng" algn="ctr">
              <a:solidFill>
                <a:srgbClr val="FFFFFF"/>
              </a:solidFill>
              <a:prstDash val="solid"/>
              <a:headEnd type="triangle" w="sm" len="sm"/>
              <a:tailEnd type="oval" w="sm" len="sm"/>
            </a:ln>
            <a:effectLst/>
          </p:spPr>
        </p:cxnSp>
        <p:cxnSp>
          <p:nvCxnSpPr>
            <p:cNvPr id="312" name="Gewinkelte Verbindung 139"/>
            <p:cNvCxnSpPr>
              <a:stCxn id="296" idx="2"/>
              <a:endCxn id="298" idx="0"/>
            </p:cNvCxnSpPr>
            <p:nvPr/>
          </p:nvCxnSpPr>
          <p:spPr bwMode="auto">
            <a:xfrm rot="16200000" flipH="1">
              <a:off x="2183617" y="3765202"/>
              <a:ext cx="485307" cy="108585"/>
            </a:xfrm>
            <a:prstGeom prst="bentConnector3">
              <a:avLst>
                <a:gd name="adj1" fmla="val 50000"/>
              </a:avLst>
            </a:prstGeom>
            <a:grpFill/>
            <a:ln w="9525" cap="flat" cmpd="sng" algn="ctr">
              <a:solidFill>
                <a:srgbClr val="FFFFFF"/>
              </a:solidFill>
              <a:prstDash val="solid"/>
              <a:headEnd type="triangle" w="sm" len="sm"/>
              <a:tailEnd type="oval" w="sm" len="sm"/>
            </a:ln>
            <a:effectLst/>
          </p:spPr>
        </p:cxnSp>
        <p:cxnSp>
          <p:nvCxnSpPr>
            <p:cNvPr id="313" name="Gewinkelte Verbindung 163"/>
            <p:cNvCxnSpPr>
              <a:stCxn id="288" idx="3"/>
              <a:endCxn id="289" idx="0"/>
            </p:cNvCxnSpPr>
            <p:nvPr/>
          </p:nvCxnSpPr>
          <p:spPr bwMode="auto">
            <a:xfrm rot="10800000" flipV="1">
              <a:off x="2352034" y="3843094"/>
              <a:ext cx="341267" cy="532432"/>
            </a:xfrm>
            <a:prstGeom prst="bentConnector2">
              <a:avLst/>
            </a:prstGeom>
            <a:grpFill/>
            <a:ln w="9525" cap="flat" cmpd="sng" algn="ctr">
              <a:solidFill>
                <a:srgbClr val="FFFFFF"/>
              </a:solidFill>
              <a:prstDash val="solid"/>
              <a:headEnd type="triangle" w="sm" len="sm"/>
              <a:tailEnd type="triangle" w="sm" len="sm"/>
            </a:ln>
            <a:effectLst/>
          </p:spPr>
        </p:cxnSp>
        <p:cxnSp>
          <p:nvCxnSpPr>
            <p:cNvPr id="314" name="Gewinkelte Verbindung 133"/>
            <p:cNvCxnSpPr>
              <a:stCxn id="289" idx="1"/>
            </p:cNvCxnSpPr>
            <p:nvPr/>
          </p:nvCxnSpPr>
          <p:spPr bwMode="auto">
            <a:xfrm rot="10800000">
              <a:off x="1340421" y="3585136"/>
              <a:ext cx="694489" cy="841007"/>
            </a:xfrm>
            <a:prstGeom prst="bentConnector2">
              <a:avLst/>
            </a:prstGeom>
            <a:grpFill/>
            <a:ln w="9525" cap="flat" cmpd="sng" algn="ctr">
              <a:solidFill>
                <a:srgbClr val="FFFFFF"/>
              </a:solidFill>
              <a:prstDash val="solid"/>
              <a:headEnd type="triangle" w="sm" len="sm"/>
              <a:tailEnd type="oval" w="sm" len="sm"/>
            </a:ln>
            <a:effectLst/>
          </p:spPr>
        </p:cxnSp>
        <p:cxnSp>
          <p:nvCxnSpPr>
            <p:cNvPr id="315" name="Gewinkelte Verbindung 163"/>
            <p:cNvCxnSpPr>
              <a:endCxn id="289" idx="3"/>
            </p:cNvCxnSpPr>
            <p:nvPr/>
          </p:nvCxnSpPr>
          <p:spPr bwMode="auto">
            <a:xfrm rot="5400000">
              <a:off x="2474856" y="4092464"/>
              <a:ext cx="527980" cy="139377"/>
            </a:xfrm>
            <a:prstGeom prst="bentConnector2">
              <a:avLst/>
            </a:prstGeom>
            <a:grpFill/>
            <a:ln w="9525" cap="flat" cmpd="sng" algn="ctr">
              <a:solidFill>
                <a:srgbClr val="FFFFFF"/>
              </a:solidFill>
              <a:prstDash val="solid"/>
              <a:headEnd type="triangle" w="sm" len="sm"/>
              <a:tailEnd type="triangle" w="sm" len="sm"/>
            </a:ln>
            <a:effectLst/>
          </p:spPr>
        </p:cxnSp>
        <p:cxnSp>
          <p:nvCxnSpPr>
            <p:cNvPr id="316" name="Gewinkelte Verbindung 163"/>
            <p:cNvCxnSpPr>
              <a:stCxn id="288" idx="0"/>
              <a:endCxn id="290" idx="2"/>
            </p:cNvCxnSpPr>
            <p:nvPr/>
          </p:nvCxnSpPr>
          <p:spPr bwMode="auto">
            <a:xfrm flipH="1">
              <a:off x="1611884" y="3843094"/>
              <a:ext cx="1311883" cy="201328"/>
            </a:xfrm>
            <a:prstGeom prst="bentConnector4">
              <a:avLst>
                <a:gd name="adj1" fmla="val -8358"/>
                <a:gd name="adj2" fmla="val 138762"/>
              </a:avLst>
            </a:prstGeom>
            <a:grpFill/>
            <a:ln w="9525" cap="flat" cmpd="sng" algn="ctr">
              <a:solidFill>
                <a:srgbClr val="FFFFFF"/>
              </a:solidFill>
              <a:prstDash val="solid"/>
              <a:headEnd type="triangle" w="sm" len="sm"/>
              <a:tailEnd type="triangle" w="sm" len="sm"/>
            </a:ln>
            <a:effectLst/>
          </p:spPr>
        </p:cxnSp>
        <p:cxnSp>
          <p:nvCxnSpPr>
            <p:cNvPr id="317" name="Gewinkelte Verbindung 133"/>
            <p:cNvCxnSpPr>
              <a:stCxn id="308" idx="1"/>
              <a:endCxn id="293" idx="1"/>
            </p:cNvCxnSpPr>
            <p:nvPr/>
          </p:nvCxnSpPr>
          <p:spPr bwMode="auto">
            <a:xfrm rot="10800000">
              <a:off x="1215216" y="4196219"/>
              <a:ext cx="481757" cy="326743"/>
            </a:xfrm>
            <a:prstGeom prst="bentConnector3">
              <a:avLst>
                <a:gd name="adj1" fmla="val 122760"/>
              </a:avLst>
            </a:prstGeom>
            <a:grpFill/>
            <a:ln w="9525" cap="flat" cmpd="sng" algn="ctr">
              <a:solidFill>
                <a:srgbClr val="FFFFFF"/>
              </a:solidFill>
              <a:prstDash val="solid"/>
              <a:headEnd type="triangle" w="sm" len="sm"/>
              <a:tailEnd type="oval" w="sm" len="sm"/>
            </a:ln>
            <a:effectLst/>
          </p:spPr>
        </p:cxnSp>
        <p:cxnSp>
          <p:nvCxnSpPr>
            <p:cNvPr id="318" name="Gewinkelte Verbindung 163"/>
            <p:cNvCxnSpPr>
              <a:stCxn id="287" idx="3"/>
              <a:endCxn id="288" idx="5"/>
            </p:cNvCxnSpPr>
            <p:nvPr/>
          </p:nvCxnSpPr>
          <p:spPr bwMode="auto">
            <a:xfrm>
              <a:off x="2330189" y="3392894"/>
              <a:ext cx="549058" cy="386828"/>
            </a:xfrm>
            <a:prstGeom prst="bentConnector2">
              <a:avLst/>
            </a:prstGeom>
            <a:grpFill/>
            <a:ln w="9525" cap="flat" cmpd="sng" algn="ctr">
              <a:solidFill>
                <a:srgbClr val="FFFFFF"/>
              </a:solidFill>
              <a:prstDash val="solid"/>
              <a:headEnd type="triangle" w="sm" len="sm"/>
              <a:tailEnd type="triangle" w="sm" len="sm"/>
            </a:ln>
            <a:effectLst/>
          </p:spPr>
        </p:cxnSp>
        <p:cxnSp>
          <p:nvCxnSpPr>
            <p:cNvPr id="319" name="Gewinkelte Verbindung 163"/>
            <p:cNvCxnSpPr>
              <a:stCxn id="287" idx="1"/>
              <a:endCxn id="299" idx="0"/>
            </p:cNvCxnSpPr>
            <p:nvPr/>
          </p:nvCxnSpPr>
          <p:spPr bwMode="auto">
            <a:xfrm rot="10800000" flipH="1" flipV="1">
              <a:off x="1824302" y="3392893"/>
              <a:ext cx="252945" cy="301395"/>
            </a:xfrm>
            <a:prstGeom prst="bentConnector4">
              <a:avLst>
                <a:gd name="adj1" fmla="val -43349"/>
                <a:gd name="adj2" fmla="val 77206"/>
              </a:avLst>
            </a:prstGeom>
            <a:grpFill/>
            <a:ln w="9525" cap="flat" cmpd="sng" algn="ctr">
              <a:solidFill>
                <a:srgbClr val="FFFFFF"/>
              </a:solidFill>
              <a:prstDash val="solid"/>
              <a:headEnd type="triangle" w="sm" len="sm"/>
              <a:tailEnd type="triangle" w="sm" len="sm"/>
            </a:ln>
            <a:effectLst/>
          </p:spPr>
        </p:cxnSp>
        <p:cxnSp>
          <p:nvCxnSpPr>
            <p:cNvPr id="320" name="Gewinkelte Verbindung 163"/>
            <p:cNvCxnSpPr>
              <a:stCxn id="297" idx="2"/>
              <a:endCxn id="308" idx="0"/>
            </p:cNvCxnSpPr>
            <p:nvPr/>
          </p:nvCxnSpPr>
          <p:spPr bwMode="auto">
            <a:xfrm rot="5400000">
              <a:off x="1518082" y="4055339"/>
              <a:ext cx="652077" cy="89531"/>
            </a:xfrm>
            <a:prstGeom prst="bentConnector3">
              <a:avLst>
                <a:gd name="adj1" fmla="val 50000"/>
              </a:avLst>
            </a:prstGeom>
            <a:grpFill/>
            <a:ln w="9525" cap="flat" cmpd="sng" algn="ctr">
              <a:solidFill>
                <a:srgbClr val="FFFFFF"/>
              </a:solidFill>
              <a:prstDash val="solid"/>
              <a:headEnd type="triangle" w="sm" len="sm"/>
              <a:tailEnd type="triangle" w="sm" len="sm"/>
            </a:ln>
            <a:effectLst/>
          </p:spPr>
        </p:cxnSp>
        <p:cxnSp>
          <p:nvCxnSpPr>
            <p:cNvPr id="321" name="Gewinkelte Verbindung 163"/>
            <p:cNvCxnSpPr>
              <a:stCxn id="299" idx="4"/>
              <a:endCxn id="289" idx="0"/>
            </p:cNvCxnSpPr>
            <p:nvPr/>
          </p:nvCxnSpPr>
          <p:spPr bwMode="auto">
            <a:xfrm rot="16200000" flipH="1">
              <a:off x="1970420" y="3993911"/>
              <a:ext cx="488441" cy="274786"/>
            </a:xfrm>
            <a:prstGeom prst="bentConnector3">
              <a:avLst>
                <a:gd name="adj1" fmla="val 50000"/>
              </a:avLst>
            </a:prstGeom>
            <a:grpFill/>
            <a:ln w="9525" cap="flat" cmpd="sng" algn="ctr">
              <a:solidFill>
                <a:srgbClr val="FFFFFF"/>
              </a:solidFill>
              <a:prstDash val="solid"/>
              <a:headEnd type="triangle" w="sm" len="sm"/>
              <a:tailEnd type="triangle" w="sm" len="sm"/>
            </a:ln>
            <a:effectLst/>
          </p:spPr>
        </p:cxnSp>
        <p:cxnSp>
          <p:nvCxnSpPr>
            <p:cNvPr id="322" name="Gewinkelte Verbindung 163"/>
            <p:cNvCxnSpPr>
              <a:stCxn id="295" idx="1"/>
            </p:cNvCxnSpPr>
            <p:nvPr/>
          </p:nvCxnSpPr>
          <p:spPr bwMode="auto">
            <a:xfrm rot="10800000" flipH="1" flipV="1">
              <a:off x="2024063" y="4005640"/>
              <a:ext cx="213328" cy="369884"/>
            </a:xfrm>
            <a:prstGeom prst="bentConnector4">
              <a:avLst>
                <a:gd name="adj1" fmla="val -51399"/>
                <a:gd name="adj2" fmla="val 72017"/>
              </a:avLst>
            </a:prstGeom>
            <a:grpFill/>
            <a:ln w="9525" cap="flat" cmpd="sng" algn="ctr">
              <a:solidFill>
                <a:srgbClr val="FFFFFF"/>
              </a:solidFill>
              <a:prstDash val="solid"/>
              <a:headEnd type="triangle" w="sm" len="sm"/>
              <a:tailEnd type="triangle" w="sm" len="sm"/>
            </a:ln>
            <a:effectLst/>
          </p:spPr>
        </p:cxnSp>
        <p:cxnSp>
          <p:nvCxnSpPr>
            <p:cNvPr id="323" name="Gewinkelte Verbindung 163"/>
            <p:cNvCxnSpPr>
              <a:stCxn id="292" idx="0"/>
            </p:cNvCxnSpPr>
            <p:nvPr/>
          </p:nvCxnSpPr>
          <p:spPr bwMode="auto">
            <a:xfrm rot="5400000" flipH="1" flipV="1">
              <a:off x="1394812" y="3401874"/>
              <a:ext cx="58527" cy="699154"/>
            </a:xfrm>
            <a:prstGeom prst="bentConnector2">
              <a:avLst/>
            </a:prstGeom>
            <a:grpFill/>
            <a:ln w="9525" cap="flat" cmpd="sng" algn="ctr">
              <a:solidFill>
                <a:srgbClr val="FFFFFF"/>
              </a:solidFill>
              <a:prstDash val="solid"/>
              <a:headEnd type="triangle" w="sm" len="sm"/>
              <a:tailEnd type="triangle" w="sm" len="sm"/>
            </a:ln>
            <a:effectLst/>
          </p:spPr>
        </p:cxnSp>
      </p:grpSp>
      <p:sp>
        <p:nvSpPr>
          <p:cNvPr id="324" name="Ellipse 154"/>
          <p:cNvSpPr>
            <a:spLocks noChangeAspect="1"/>
          </p:cNvSpPr>
          <p:nvPr/>
        </p:nvSpPr>
        <p:spPr>
          <a:xfrm>
            <a:off x="393199" y="3338226"/>
            <a:ext cx="568600" cy="272918"/>
          </a:xfrm>
          <a:custGeom>
            <a:avLst/>
            <a:gdLst/>
            <a:ahLst/>
            <a:cxnLst/>
            <a:rect l="l" t="t" r="r" b="b"/>
            <a:pathLst>
              <a:path w="1665892" h="1066249">
                <a:moveTo>
                  <a:pt x="852840" y="0"/>
                </a:moveTo>
                <a:cubicBezTo>
                  <a:pt x="1037411" y="0"/>
                  <a:pt x="1193831" y="120535"/>
                  <a:pt x="1245777" y="287797"/>
                </a:cubicBezTo>
                <a:cubicBezTo>
                  <a:pt x="1328330" y="297588"/>
                  <a:pt x="1391037" y="368648"/>
                  <a:pt x="1391037" y="454355"/>
                </a:cubicBezTo>
                <a:lnTo>
                  <a:pt x="1378356" y="517168"/>
                </a:lnTo>
                <a:cubicBezTo>
                  <a:pt x="1382529" y="515986"/>
                  <a:pt x="1386772" y="515889"/>
                  <a:pt x="1391037" y="515889"/>
                </a:cubicBezTo>
                <a:cubicBezTo>
                  <a:pt x="1542835" y="515889"/>
                  <a:pt x="1665892" y="638946"/>
                  <a:pt x="1665892" y="790744"/>
                </a:cubicBezTo>
                <a:cubicBezTo>
                  <a:pt x="1665892" y="942542"/>
                  <a:pt x="1542835" y="1065599"/>
                  <a:pt x="1391037" y="1065599"/>
                </a:cubicBezTo>
                <a:lnTo>
                  <a:pt x="1391036" y="1065599"/>
                </a:lnTo>
                <a:lnTo>
                  <a:pt x="1391036" y="1066248"/>
                </a:lnTo>
                <a:lnTo>
                  <a:pt x="274865" y="1066248"/>
                </a:lnTo>
                <a:cubicBezTo>
                  <a:pt x="274861" y="1066249"/>
                  <a:pt x="274858" y="1066249"/>
                  <a:pt x="274855" y="1066249"/>
                </a:cubicBezTo>
                <a:cubicBezTo>
                  <a:pt x="123057" y="1066249"/>
                  <a:pt x="0" y="943192"/>
                  <a:pt x="0" y="791394"/>
                </a:cubicBezTo>
                <a:cubicBezTo>
                  <a:pt x="0" y="677871"/>
                  <a:pt x="68825" y="580422"/>
                  <a:pt x="167059" y="538578"/>
                </a:cubicBezTo>
                <a:cubicBezTo>
                  <a:pt x="164244" y="528875"/>
                  <a:pt x="163776" y="518865"/>
                  <a:pt x="163776" y="508746"/>
                </a:cubicBezTo>
                <a:cubicBezTo>
                  <a:pt x="163776" y="331486"/>
                  <a:pt x="307474" y="187788"/>
                  <a:pt x="484734" y="187788"/>
                </a:cubicBezTo>
                <a:lnTo>
                  <a:pt x="505074" y="189838"/>
                </a:lnTo>
                <a:cubicBezTo>
                  <a:pt x="578427" y="75437"/>
                  <a:pt x="706824" y="0"/>
                  <a:pt x="852840" y="0"/>
                </a:cubicBezTo>
                <a:close/>
              </a:path>
            </a:pathLst>
          </a:custGeom>
          <a:solidFill>
            <a:schemeClr val="bg1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58306" tIns="145764" rIns="58306" bIns="37024" rtlCol="0" anchor="ctr"/>
          <a:lstStyle/>
          <a:p>
            <a:pPr algn="ctr" rtl="0">
              <a:lnSpc>
                <a:spcPct val="90000"/>
              </a:lnSpc>
            </a:pPr>
            <a:r>
              <a:rPr lang="x-none" sz="600">
                <a:solidFill>
                  <a:srgbClr val="000000"/>
                </a:solidFill>
                <a:latin typeface="TeleGrotesk Headline Ultra" pitchFamily="2" charset="0"/>
              </a:rPr>
              <a:t>PaaS</a:t>
            </a:r>
            <a:endParaRPr lang="x-none" sz="600" dirty="0">
              <a:solidFill>
                <a:srgbClr val="000000"/>
              </a:solidFill>
              <a:latin typeface="TeleGrotesk Headline Ultra" pitchFamily="2" charset="0"/>
            </a:endParaRPr>
          </a:p>
        </p:txBody>
      </p:sp>
      <p:sp>
        <p:nvSpPr>
          <p:cNvPr id="325" name="Ellipse 154"/>
          <p:cNvSpPr>
            <a:spLocks noChangeAspect="1"/>
          </p:cNvSpPr>
          <p:nvPr/>
        </p:nvSpPr>
        <p:spPr>
          <a:xfrm>
            <a:off x="806004" y="3112502"/>
            <a:ext cx="568600" cy="272918"/>
          </a:xfrm>
          <a:custGeom>
            <a:avLst/>
            <a:gdLst/>
            <a:ahLst/>
            <a:cxnLst/>
            <a:rect l="l" t="t" r="r" b="b"/>
            <a:pathLst>
              <a:path w="1665892" h="1066249">
                <a:moveTo>
                  <a:pt x="852840" y="0"/>
                </a:moveTo>
                <a:cubicBezTo>
                  <a:pt x="1037411" y="0"/>
                  <a:pt x="1193831" y="120535"/>
                  <a:pt x="1245777" y="287797"/>
                </a:cubicBezTo>
                <a:cubicBezTo>
                  <a:pt x="1328330" y="297588"/>
                  <a:pt x="1391037" y="368648"/>
                  <a:pt x="1391037" y="454355"/>
                </a:cubicBezTo>
                <a:lnTo>
                  <a:pt x="1378356" y="517168"/>
                </a:lnTo>
                <a:cubicBezTo>
                  <a:pt x="1382529" y="515986"/>
                  <a:pt x="1386772" y="515889"/>
                  <a:pt x="1391037" y="515889"/>
                </a:cubicBezTo>
                <a:cubicBezTo>
                  <a:pt x="1542835" y="515889"/>
                  <a:pt x="1665892" y="638946"/>
                  <a:pt x="1665892" y="790744"/>
                </a:cubicBezTo>
                <a:cubicBezTo>
                  <a:pt x="1665892" y="942542"/>
                  <a:pt x="1542835" y="1065599"/>
                  <a:pt x="1391037" y="1065599"/>
                </a:cubicBezTo>
                <a:lnTo>
                  <a:pt x="1391036" y="1065599"/>
                </a:lnTo>
                <a:lnTo>
                  <a:pt x="1391036" y="1066248"/>
                </a:lnTo>
                <a:lnTo>
                  <a:pt x="274865" y="1066248"/>
                </a:lnTo>
                <a:cubicBezTo>
                  <a:pt x="274861" y="1066249"/>
                  <a:pt x="274858" y="1066249"/>
                  <a:pt x="274855" y="1066249"/>
                </a:cubicBezTo>
                <a:cubicBezTo>
                  <a:pt x="123057" y="1066249"/>
                  <a:pt x="0" y="943192"/>
                  <a:pt x="0" y="791394"/>
                </a:cubicBezTo>
                <a:cubicBezTo>
                  <a:pt x="0" y="677871"/>
                  <a:pt x="68825" y="580422"/>
                  <a:pt x="167059" y="538578"/>
                </a:cubicBezTo>
                <a:cubicBezTo>
                  <a:pt x="164244" y="528875"/>
                  <a:pt x="163776" y="518865"/>
                  <a:pt x="163776" y="508746"/>
                </a:cubicBezTo>
                <a:cubicBezTo>
                  <a:pt x="163776" y="331486"/>
                  <a:pt x="307474" y="187788"/>
                  <a:pt x="484734" y="187788"/>
                </a:cubicBezTo>
                <a:lnTo>
                  <a:pt x="505074" y="189838"/>
                </a:lnTo>
                <a:cubicBezTo>
                  <a:pt x="578427" y="75437"/>
                  <a:pt x="706824" y="0"/>
                  <a:pt x="852840" y="0"/>
                </a:cubicBezTo>
                <a:close/>
              </a:path>
            </a:pathLst>
          </a:custGeom>
          <a:solidFill>
            <a:schemeClr val="bg1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58306" tIns="116611" rIns="58306" bIns="37024" rtlCol="0" anchor="ctr"/>
          <a:lstStyle/>
          <a:p>
            <a:pPr algn="ctr" rtl="0"/>
            <a:r>
              <a:rPr lang="x-none" sz="600">
                <a:solidFill>
                  <a:srgbClr val="000000"/>
                </a:solidFill>
                <a:latin typeface="TeleGrotesk Headline Ultra" pitchFamily="2" charset="0"/>
              </a:rPr>
              <a:t>Mobile </a:t>
            </a:r>
            <a:br>
              <a:rPr lang="x-none" sz="600">
                <a:solidFill>
                  <a:srgbClr val="000000"/>
                </a:solidFill>
                <a:latin typeface="TeleGrotesk Headline Ultra" pitchFamily="2" charset="0"/>
              </a:rPr>
            </a:br>
            <a:r>
              <a:rPr lang="x-none" sz="600">
                <a:solidFill>
                  <a:srgbClr val="000000"/>
                </a:solidFill>
                <a:latin typeface="TeleGrotesk Headline Ultra" pitchFamily="2" charset="0"/>
              </a:rPr>
              <a:t>Apps/Devices</a:t>
            </a:r>
            <a:endParaRPr lang="x-none" sz="600" dirty="0">
              <a:solidFill>
                <a:srgbClr val="000000"/>
              </a:solidFill>
              <a:latin typeface="TeleGrotesk Headline Ultra" pitchFamily="2" charset="0"/>
            </a:endParaRPr>
          </a:p>
        </p:txBody>
      </p:sp>
      <p:sp>
        <p:nvSpPr>
          <p:cNvPr id="326" name="Ellipse 154"/>
          <p:cNvSpPr>
            <a:spLocks noChangeAspect="1"/>
          </p:cNvSpPr>
          <p:nvPr/>
        </p:nvSpPr>
        <p:spPr>
          <a:xfrm>
            <a:off x="1118152" y="3381315"/>
            <a:ext cx="568600" cy="272918"/>
          </a:xfrm>
          <a:custGeom>
            <a:avLst/>
            <a:gdLst/>
            <a:ahLst/>
            <a:cxnLst/>
            <a:rect l="l" t="t" r="r" b="b"/>
            <a:pathLst>
              <a:path w="1665892" h="1066249">
                <a:moveTo>
                  <a:pt x="852840" y="0"/>
                </a:moveTo>
                <a:cubicBezTo>
                  <a:pt x="1037411" y="0"/>
                  <a:pt x="1193831" y="120535"/>
                  <a:pt x="1245777" y="287797"/>
                </a:cubicBezTo>
                <a:cubicBezTo>
                  <a:pt x="1328330" y="297588"/>
                  <a:pt x="1391037" y="368648"/>
                  <a:pt x="1391037" y="454355"/>
                </a:cubicBezTo>
                <a:lnTo>
                  <a:pt x="1378356" y="517168"/>
                </a:lnTo>
                <a:cubicBezTo>
                  <a:pt x="1382529" y="515986"/>
                  <a:pt x="1386772" y="515889"/>
                  <a:pt x="1391037" y="515889"/>
                </a:cubicBezTo>
                <a:cubicBezTo>
                  <a:pt x="1542835" y="515889"/>
                  <a:pt x="1665892" y="638946"/>
                  <a:pt x="1665892" y="790744"/>
                </a:cubicBezTo>
                <a:cubicBezTo>
                  <a:pt x="1665892" y="942542"/>
                  <a:pt x="1542835" y="1065599"/>
                  <a:pt x="1391037" y="1065599"/>
                </a:cubicBezTo>
                <a:lnTo>
                  <a:pt x="1391036" y="1065599"/>
                </a:lnTo>
                <a:lnTo>
                  <a:pt x="1391036" y="1066248"/>
                </a:lnTo>
                <a:lnTo>
                  <a:pt x="274865" y="1066248"/>
                </a:lnTo>
                <a:cubicBezTo>
                  <a:pt x="274861" y="1066249"/>
                  <a:pt x="274858" y="1066249"/>
                  <a:pt x="274855" y="1066249"/>
                </a:cubicBezTo>
                <a:cubicBezTo>
                  <a:pt x="123057" y="1066249"/>
                  <a:pt x="0" y="943192"/>
                  <a:pt x="0" y="791394"/>
                </a:cubicBezTo>
                <a:cubicBezTo>
                  <a:pt x="0" y="677871"/>
                  <a:pt x="68825" y="580422"/>
                  <a:pt x="167059" y="538578"/>
                </a:cubicBezTo>
                <a:cubicBezTo>
                  <a:pt x="164244" y="528875"/>
                  <a:pt x="163776" y="518865"/>
                  <a:pt x="163776" y="508746"/>
                </a:cubicBezTo>
                <a:cubicBezTo>
                  <a:pt x="163776" y="331486"/>
                  <a:pt x="307474" y="187788"/>
                  <a:pt x="484734" y="187788"/>
                </a:cubicBezTo>
                <a:lnTo>
                  <a:pt x="505074" y="189838"/>
                </a:lnTo>
                <a:cubicBezTo>
                  <a:pt x="578427" y="75437"/>
                  <a:pt x="706824" y="0"/>
                  <a:pt x="852840" y="0"/>
                </a:cubicBezTo>
                <a:close/>
              </a:path>
            </a:pathLst>
          </a:custGeom>
          <a:solidFill>
            <a:schemeClr val="bg1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58306" tIns="145764" rIns="58306" bIns="37024" rtlCol="0" anchor="ctr"/>
          <a:lstStyle/>
          <a:p>
            <a:pPr algn="ctr" rtl="0"/>
            <a:r>
              <a:rPr lang="x-none" sz="600">
                <a:solidFill>
                  <a:srgbClr val="000000"/>
                </a:solidFill>
                <a:latin typeface="TeleGrotesk Headline Ultra" pitchFamily="2" charset="0"/>
              </a:rPr>
              <a:t>SaaS apps</a:t>
            </a:r>
          </a:p>
        </p:txBody>
      </p:sp>
      <p:sp>
        <p:nvSpPr>
          <p:cNvPr id="327" name="Textfeld 326"/>
          <p:cNvSpPr txBox="1"/>
          <p:nvPr/>
        </p:nvSpPr>
        <p:spPr>
          <a:xfrm>
            <a:off x="2133799" y="1837292"/>
            <a:ext cx="1132335" cy="26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29153" rIns="0" bIns="29153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370339">
              <a:lnSpc>
                <a:spcPct val="90000"/>
              </a:lnSpc>
              <a:spcBef>
                <a:spcPts val="0"/>
              </a:spcBef>
              <a:buClr>
                <a:srgbClr val="4B4B4B"/>
              </a:buClr>
              <a:defRPr/>
            </a:pPr>
            <a:r>
              <a:rPr lang="x-none" sz="1500" kern="0">
                <a:solidFill>
                  <a:srgbClr val="000000"/>
                </a:solidFill>
                <a:latin typeface="TeleGrotesk Headline Ultra" pitchFamily="2" charset="0"/>
                <a:ea typeface="Swagger" pitchFamily="2" charset="0"/>
              </a:rPr>
              <a:t>Migrate</a:t>
            </a:r>
          </a:p>
        </p:txBody>
      </p:sp>
      <p:sp>
        <p:nvSpPr>
          <p:cNvPr id="328" name="Textfeld 328"/>
          <p:cNvSpPr txBox="1"/>
          <p:nvPr/>
        </p:nvSpPr>
        <p:spPr>
          <a:xfrm>
            <a:off x="2133799" y="2337732"/>
            <a:ext cx="1132335" cy="26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29153" rIns="0" bIns="29153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370339">
              <a:lnSpc>
                <a:spcPct val="90000"/>
              </a:lnSpc>
              <a:spcBef>
                <a:spcPts val="0"/>
              </a:spcBef>
              <a:buClr>
                <a:srgbClr val="4B4B4B"/>
              </a:buClr>
              <a:defRPr/>
            </a:pPr>
            <a:r>
              <a:rPr lang="x-none" sz="1500" kern="0">
                <a:solidFill>
                  <a:srgbClr val="000000"/>
                </a:solidFill>
                <a:latin typeface="TeleGrotesk Headline Ultra" pitchFamily="2" charset="0"/>
                <a:ea typeface="Swagger" pitchFamily="2" charset="0"/>
              </a:rPr>
              <a:t>Modernize</a:t>
            </a:r>
          </a:p>
        </p:txBody>
      </p:sp>
      <p:sp>
        <p:nvSpPr>
          <p:cNvPr id="329" name="Textfeld 329"/>
          <p:cNvSpPr txBox="1"/>
          <p:nvPr/>
        </p:nvSpPr>
        <p:spPr>
          <a:xfrm>
            <a:off x="2133799" y="2838172"/>
            <a:ext cx="1132335" cy="26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29153" rIns="0" bIns="29153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370339">
              <a:lnSpc>
                <a:spcPct val="90000"/>
              </a:lnSpc>
              <a:spcBef>
                <a:spcPts val="0"/>
              </a:spcBef>
              <a:buClr>
                <a:srgbClr val="4B4B4B"/>
              </a:buClr>
              <a:defRPr/>
            </a:pPr>
            <a:r>
              <a:rPr lang="x-none" sz="1500" kern="0">
                <a:solidFill>
                  <a:srgbClr val="000000"/>
                </a:solidFill>
                <a:latin typeface="TeleGrotesk Headline Ultra" pitchFamily="2" charset="0"/>
                <a:ea typeface="Swagger" pitchFamily="2" charset="0"/>
              </a:rPr>
              <a:t>Harmonize</a:t>
            </a:r>
          </a:p>
        </p:txBody>
      </p:sp>
      <p:sp>
        <p:nvSpPr>
          <p:cNvPr id="330" name="Textfeld 330"/>
          <p:cNvSpPr txBox="1"/>
          <p:nvPr/>
        </p:nvSpPr>
        <p:spPr>
          <a:xfrm>
            <a:off x="2133799" y="3338611"/>
            <a:ext cx="1132335" cy="26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29153" rIns="0" bIns="29153" numCol="1" rtlCol="0" anchor="ctr" anchorCtr="0" compatLnSpc="1">
            <a:prstTxWarp prst="textNoShape">
              <a:avLst/>
            </a:prstTxWarp>
            <a:spAutoFit/>
          </a:bodyPr>
          <a:lstStyle/>
          <a:p>
            <a:pPr defTabSz="370339">
              <a:lnSpc>
                <a:spcPct val="90000"/>
              </a:lnSpc>
              <a:spcBef>
                <a:spcPts val="0"/>
              </a:spcBef>
              <a:buClr>
                <a:srgbClr val="4B4B4B"/>
              </a:buClr>
              <a:defRPr/>
            </a:pPr>
            <a:r>
              <a:rPr lang="x-none" sz="1500" kern="0">
                <a:solidFill>
                  <a:srgbClr val="000000"/>
                </a:solidFill>
                <a:latin typeface="TeleGrotesk Headline Ultra" pitchFamily="2" charset="0"/>
                <a:ea typeface="Swagger" pitchFamily="2" charset="0"/>
              </a:rPr>
              <a:t>Lift &amp; shift</a:t>
            </a:r>
          </a:p>
        </p:txBody>
      </p:sp>
      <p:grpSp>
        <p:nvGrpSpPr>
          <p:cNvPr id="331" name="Gruppieren 330"/>
          <p:cNvGrpSpPr/>
          <p:nvPr/>
        </p:nvGrpSpPr>
        <p:grpSpPr>
          <a:xfrm>
            <a:off x="2104669" y="2209939"/>
            <a:ext cx="3076820" cy="1007942"/>
            <a:chOff x="444876" y="1621987"/>
            <a:chExt cx="7980457" cy="1600982"/>
          </a:xfrm>
        </p:grpSpPr>
        <p:cxnSp>
          <p:nvCxnSpPr>
            <p:cNvPr id="332" name="Gerade Verbindung 263"/>
            <p:cNvCxnSpPr/>
            <p:nvPr/>
          </p:nvCxnSpPr>
          <p:spPr>
            <a:xfrm>
              <a:off x="444876" y="1621987"/>
              <a:ext cx="7980457" cy="0"/>
            </a:xfrm>
            <a:prstGeom prst="line">
              <a:avLst/>
            </a:prstGeom>
            <a:noFill/>
            <a:ln w="12700" cap="flat" cmpd="sng" algn="ctr">
              <a:gradFill>
                <a:gsLst>
                  <a:gs pos="40000">
                    <a:srgbClr val="E20074"/>
                  </a:gs>
                  <a:gs pos="100000">
                    <a:srgbClr val="E20074">
                      <a:alpha val="0"/>
                    </a:srgbClr>
                  </a:gs>
                </a:gsLst>
                <a:lin ang="0" scaled="0"/>
              </a:gradFill>
              <a:prstDash val="solid"/>
              <a:headEnd type="none" w="med" len="med"/>
              <a:tailEnd type="none" w="med" len="med"/>
            </a:ln>
            <a:effectLst/>
          </p:spPr>
        </p:cxnSp>
        <p:cxnSp>
          <p:nvCxnSpPr>
            <p:cNvPr id="333" name="Gerade Verbindung 264"/>
            <p:cNvCxnSpPr/>
            <p:nvPr/>
          </p:nvCxnSpPr>
          <p:spPr>
            <a:xfrm>
              <a:off x="444876" y="2423088"/>
              <a:ext cx="7980457" cy="0"/>
            </a:xfrm>
            <a:prstGeom prst="line">
              <a:avLst/>
            </a:prstGeom>
            <a:noFill/>
            <a:ln w="12700" cap="flat" cmpd="sng" algn="ctr">
              <a:gradFill>
                <a:gsLst>
                  <a:gs pos="40000">
                    <a:srgbClr val="E20074"/>
                  </a:gs>
                  <a:gs pos="100000">
                    <a:srgbClr val="E20074">
                      <a:alpha val="0"/>
                    </a:srgbClr>
                  </a:gs>
                </a:gsLst>
                <a:lin ang="0" scaled="0"/>
              </a:gradFill>
              <a:prstDash val="solid"/>
              <a:headEnd type="none" w="med" len="med"/>
              <a:tailEnd type="none" w="med" len="med"/>
            </a:ln>
            <a:effectLst/>
          </p:spPr>
        </p:cxnSp>
        <p:cxnSp>
          <p:nvCxnSpPr>
            <p:cNvPr id="334" name="Gerade Verbindung 265"/>
            <p:cNvCxnSpPr/>
            <p:nvPr/>
          </p:nvCxnSpPr>
          <p:spPr>
            <a:xfrm>
              <a:off x="444876" y="3222969"/>
              <a:ext cx="7980457" cy="0"/>
            </a:xfrm>
            <a:prstGeom prst="line">
              <a:avLst/>
            </a:prstGeom>
            <a:noFill/>
            <a:ln w="12700" cap="flat" cmpd="sng" algn="ctr">
              <a:gradFill>
                <a:gsLst>
                  <a:gs pos="40000">
                    <a:srgbClr val="E20074"/>
                  </a:gs>
                  <a:gs pos="100000">
                    <a:srgbClr val="E20074">
                      <a:alpha val="0"/>
                    </a:srgbClr>
                  </a:gs>
                </a:gsLst>
                <a:lin ang="0" scaled="0"/>
              </a:gradFill>
              <a:prstDash val="solid"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335" name="Gruppieren 204"/>
          <p:cNvGrpSpPr/>
          <p:nvPr/>
        </p:nvGrpSpPr>
        <p:grpSpPr>
          <a:xfrm>
            <a:off x="3493613" y="1849316"/>
            <a:ext cx="1450102" cy="242575"/>
            <a:chOff x="2676696" y="3166700"/>
            <a:chExt cx="2964772" cy="908263"/>
          </a:xfrm>
          <a:gradFill flip="none" rotWithShape="1">
            <a:gsLst>
              <a:gs pos="0">
                <a:schemeClr val="tx1"/>
              </a:gs>
              <a:gs pos="100000">
                <a:schemeClr val="bg1"/>
              </a:gs>
              <a:gs pos="100000">
                <a:schemeClr val="tx1"/>
              </a:gs>
            </a:gsLst>
            <a:lin ang="0" scaled="1"/>
            <a:tileRect/>
          </a:gradFill>
        </p:grpSpPr>
        <p:sp>
          <p:nvSpPr>
            <p:cNvPr id="336" name="Isosceles Triangle 23"/>
            <p:cNvSpPr/>
            <p:nvPr/>
          </p:nvSpPr>
          <p:spPr>
            <a:xfrm>
              <a:off x="4903627" y="3166700"/>
              <a:ext cx="467681" cy="908263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3701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20074"/>
                </a:buClr>
                <a:buSzTx/>
                <a:defRPr/>
              </a:pPr>
              <a:endParaRPr lang="x-none" sz="1500" kern="0">
                <a:solidFill>
                  <a:schemeClr val="bg1"/>
                </a:solidFill>
                <a:latin typeface="Tele-GroteskNor"/>
              </a:endParaRPr>
            </a:p>
          </p:txBody>
        </p:sp>
        <p:sp>
          <p:nvSpPr>
            <p:cNvPr id="337" name="Isosceles Triangle 23"/>
            <p:cNvSpPr/>
            <p:nvPr/>
          </p:nvSpPr>
          <p:spPr>
            <a:xfrm>
              <a:off x="5173790" y="3166700"/>
              <a:ext cx="467678" cy="908263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3701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20074"/>
                </a:buClr>
                <a:buSzTx/>
                <a:defRPr/>
              </a:pPr>
              <a:endParaRPr lang="x-none" sz="1500" kern="0">
                <a:solidFill>
                  <a:schemeClr val="bg1"/>
                </a:solidFill>
                <a:latin typeface="Tele-GroteskNor"/>
              </a:endParaRPr>
            </a:p>
          </p:txBody>
        </p:sp>
        <p:sp>
          <p:nvSpPr>
            <p:cNvPr id="338" name="Isosceles Triangle 23"/>
            <p:cNvSpPr/>
            <p:nvPr/>
          </p:nvSpPr>
          <p:spPr>
            <a:xfrm>
              <a:off x="4632454" y="3166700"/>
              <a:ext cx="467681" cy="908263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3701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20074"/>
                </a:buClr>
                <a:buSzTx/>
                <a:defRPr/>
              </a:pPr>
              <a:endParaRPr lang="x-none" sz="1500" kern="0">
                <a:solidFill>
                  <a:schemeClr val="bg1"/>
                </a:solidFill>
                <a:latin typeface="Tele-GroteskNor"/>
              </a:endParaRPr>
            </a:p>
          </p:txBody>
        </p:sp>
        <p:sp>
          <p:nvSpPr>
            <p:cNvPr id="339" name="Isosceles Triangle 23"/>
            <p:cNvSpPr/>
            <p:nvPr/>
          </p:nvSpPr>
          <p:spPr>
            <a:xfrm>
              <a:off x="4353083" y="3166700"/>
              <a:ext cx="467679" cy="908263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3701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20074"/>
                </a:buClr>
                <a:buSzTx/>
                <a:defRPr/>
              </a:pPr>
              <a:endParaRPr lang="x-none" sz="1500" kern="0">
                <a:solidFill>
                  <a:schemeClr val="bg1"/>
                </a:solidFill>
                <a:latin typeface="Tele-GroteskNor"/>
              </a:endParaRPr>
            </a:p>
          </p:txBody>
        </p:sp>
        <p:sp>
          <p:nvSpPr>
            <p:cNvPr id="340" name="Isosceles Triangle 23"/>
            <p:cNvSpPr/>
            <p:nvPr/>
          </p:nvSpPr>
          <p:spPr>
            <a:xfrm>
              <a:off x="4075132" y="3166700"/>
              <a:ext cx="467680" cy="908263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3701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20074"/>
                </a:buClr>
                <a:buSzTx/>
                <a:defRPr/>
              </a:pPr>
              <a:endParaRPr lang="x-none" sz="1500" kern="0">
                <a:solidFill>
                  <a:schemeClr val="bg1"/>
                </a:solidFill>
                <a:latin typeface="Tele-GroteskNor"/>
              </a:endParaRPr>
            </a:p>
          </p:txBody>
        </p:sp>
        <p:sp>
          <p:nvSpPr>
            <p:cNvPr id="341" name="Isosceles Triangle 23"/>
            <p:cNvSpPr/>
            <p:nvPr/>
          </p:nvSpPr>
          <p:spPr>
            <a:xfrm>
              <a:off x="3794480" y="3166700"/>
              <a:ext cx="467680" cy="908263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3701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20074"/>
                </a:buClr>
                <a:buSzTx/>
                <a:defRPr/>
              </a:pPr>
              <a:endParaRPr lang="x-none" sz="1500" kern="0">
                <a:solidFill>
                  <a:schemeClr val="bg1"/>
                </a:solidFill>
                <a:latin typeface="Tele-GroteskNor"/>
              </a:endParaRPr>
            </a:p>
          </p:txBody>
        </p:sp>
        <p:sp>
          <p:nvSpPr>
            <p:cNvPr id="342" name="Isosceles Triangle 23"/>
            <p:cNvSpPr/>
            <p:nvPr/>
          </p:nvSpPr>
          <p:spPr>
            <a:xfrm>
              <a:off x="3516528" y="3166700"/>
              <a:ext cx="467682" cy="908263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3701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20074"/>
                </a:buClr>
                <a:buSzTx/>
                <a:defRPr/>
              </a:pPr>
              <a:endParaRPr lang="x-none" sz="1500" kern="0">
                <a:solidFill>
                  <a:schemeClr val="bg1"/>
                </a:solidFill>
                <a:latin typeface="Tele-GroteskNor"/>
              </a:endParaRPr>
            </a:p>
          </p:txBody>
        </p:sp>
        <p:sp>
          <p:nvSpPr>
            <p:cNvPr id="343" name="Isosceles Triangle 23"/>
            <p:cNvSpPr/>
            <p:nvPr/>
          </p:nvSpPr>
          <p:spPr>
            <a:xfrm>
              <a:off x="3243933" y="3166700"/>
              <a:ext cx="467683" cy="908263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3701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20074"/>
                </a:buClr>
                <a:buSzTx/>
                <a:defRPr/>
              </a:pPr>
              <a:endParaRPr lang="x-none" sz="1500" kern="0">
                <a:solidFill>
                  <a:schemeClr val="bg1"/>
                </a:solidFill>
                <a:latin typeface="Tele-GroteskNor"/>
              </a:endParaRPr>
            </a:p>
          </p:txBody>
        </p:sp>
        <p:sp>
          <p:nvSpPr>
            <p:cNvPr id="344" name="Isosceles Triangle 23"/>
            <p:cNvSpPr/>
            <p:nvPr/>
          </p:nvSpPr>
          <p:spPr>
            <a:xfrm>
              <a:off x="2965979" y="3166700"/>
              <a:ext cx="467683" cy="908263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3701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20074"/>
                </a:buClr>
                <a:buSzTx/>
                <a:defRPr/>
              </a:pPr>
              <a:endParaRPr lang="x-none" sz="1500" kern="0">
                <a:solidFill>
                  <a:schemeClr val="bg1"/>
                </a:solidFill>
                <a:latin typeface="Tele-GroteskNor"/>
              </a:endParaRPr>
            </a:p>
          </p:txBody>
        </p:sp>
        <p:sp>
          <p:nvSpPr>
            <p:cNvPr id="345" name="Isosceles Triangle 23"/>
            <p:cNvSpPr/>
            <p:nvPr/>
          </p:nvSpPr>
          <p:spPr>
            <a:xfrm>
              <a:off x="2676696" y="3166700"/>
              <a:ext cx="467681" cy="908263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3701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20074"/>
                </a:buClr>
                <a:buSzTx/>
                <a:defRPr/>
              </a:pPr>
              <a:endParaRPr lang="x-none" sz="1500" kern="0">
                <a:solidFill>
                  <a:schemeClr val="bg1"/>
                </a:solidFill>
                <a:latin typeface="Tele-GroteskNor"/>
              </a:endParaRPr>
            </a:p>
          </p:txBody>
        </p:sp>
      </p:grpSp>
      <p:grpSp>
        <p:nvGrpSpPr>
          <p:cNvPr id="346" name="Gruppieren 204"/>
          <p:cNvGrpSpPr/>
          <p:nvPr/>
        </p:nvGrpSpPr>
        <p:grpSpPr>
          <a:xfrm>
            <a:off x="3493613" y="2349756"/>
            <a:ext cx="1450102" cy="242575"/>
            <a:chOff x="2676696" y="3166700"/>
            <a:chExt cx="2964772" cy="908263"/>
          </a:xfrm>
          <a:gradFill flip="none" rotWithShape="1">
            <a:gsLst>
              <a:gs pos="0">
                <a:schemeClr val="tx1"/>
              </a:gs>
              <a:gs pos="100000">
                <a:schemeClr val="bg1"/>
              </a:gs>
              <a:gs pos="100000">
                <a:schemeClr val="tx1"/>
              </a:gs>
            </a:gsLst>
            <a:lin ang="0" scaled="1"/>
            <a:tileRect/>
          </a:gradFill>
        </p:grpSpPr>
        <p:sp>
          <p:nvSpPr>
            <p:cNvPr id="347" name="Isosceles Triangle 23"/>
            <p:cNvSpPr/>
            <p:nvPr/>
          </p:nvSpPr>
          <p:spPr>
            <a:xfrm>
              <a:off x="4903627" y="3166700"/>
              <a:ext cx="467681" cy="908263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3701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20074"/>
                </a:buClr>
                <a:buSzTx/>
                <a:defRPr/>
              </a:pPr>
              <a:endParaRPr lang="x-none" sz="1500" kern="0">
                <a:solidFill>
                  <a:schemeClr val="bg1"/>
                </a:solidFill>
                <a:latin typeface="Tele-GroteskNor"/>
              </a:endParaRPr>
            </a:p>
          </p:txBody>
        </p:sp>
        <p:sp>
          <p:nvSpPr>
            <p:cNvPr id="348" name="Isosceles Triangle 23"/>
            <p:cNvSpPr/>
            <p:nvPr/>
          </p:nvSpPr>
          <p:spPr>
            <a:xfrm>
              <a:off x="5173790" y="3166700"/>
              <a:ext cx="467678" cy="908263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3701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20074"/>
                </a:buClr>
                <a:buSzTx/>
                <a:defRPr/>
              </a:pPr>
              <a:endParaRPr lang="x-none" sz="1500" kern="0">
                <a:solidFill>
                  <a:schemeClr val="bg1"/>
                </a:solidFill>
                <a:latin typeface="Tele-GroteskNor"/>
              </a:endParaRPr>
            </a:p>
          </p:txBody>
        </p:sp>
        <p:sp>
          <p:nvSpPr>
            <p:cNvPr id="349" name="Isosceles Triangle 23"/>
            <p:cNvSpPr/>
            <p:nvPr/>
          </p:nvSpPr>
          <p:spPr>
            <a:xfrm>
              <a:off x="4632454" y="3166700"/>
              <a:ext cx="467681" cy="908263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3701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20074"/>
                </a:buClr>
                <a:buSzTx/>
                <a:defRPr/>
              </a:pPr>
              <a:endParaRPr lang="x-none" sz="1500" kern="0">
                <a:solidFill>
                  <a:schemeClr val="bg1"/>
                </a:solidFill>
                <a:latin typeface="Tele-GroteskNor"/>
              </a:endParaRPr>
            </a:p>
          </p:txBody>
        </p:sp>
        <p:sp>
          <p:nvSpPr>
            <p:cNvPr id="350" name="Isosceles Triangle 23"/>
            <p:cNvSpPr/>
            <p:nvPr/>
          </p:nvSpPr>
          <p:spPr>
            <a:xfrm>
              <a:off x="4353083" y="3166700"/>
              <a:ext cx="467679" cy="908263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3701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20074"/>
                </a:buClr>
                <a:buSzTx/>
                <a:defRPr/>
              </a:pPr>
              <a:endParaRPr lang="x-none" sz="1500" kern="0">
                <a:solidFill>
                  <a:schemeClr val="bg1"/>
                </a:solidFill>
                <a:latin typeface="Tele-GroteskNor"/>
              </a:endParaRPr>
            </a:p>
          </p:txBody>
        </p:sp>
        <p:sp>
          <p:nvSpPr>
            <p:cNvPr id="351" name="Isosceles Triangle 23"/>
            <p:cNvSpPr/>
            <p:nvPr/>
          </p:nvSpPr>
          <p:spPr>
            <a:xfrm>
              <a:off x="4075132" y="3166700"/>
              <a:ext cx="467680" cy="908263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3701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20074"/>
                </a:buClr>
                <a:buSzTx/>
                <a:defRPr/>
              </a:pPr>
              <a:endParaRPr lang="x-none" sz="1500" kern="0">
                <a:solidFill>
                  <a:schemeClr val="bg1"/>
                </a:solidFill>
                <a:latin typeface="Tele-GroteskNor"/>
              </a:endParaRPr>
            </a:p>
          </p:txBody>
        </p:sp>
        <p:sp>
          <p:nvSpPr>
            <p:cNvPr id="352" name="Isosceles Triangle 23"/>
            <p:cNvSpPr/>
            <p:nvPr/>
          </p:nvSpPr>
          <p:spPr>
            <a:xfrm>
              <a:off x="3794480" y="3166700"/>
              <a:ext cx="467680" cy="908263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3701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20074"/>
                </a:buClr>
                <a:buSzTx/>
                <a:defRPr/>
              </a:pPr>
              <a:endParaRPr lang="x-none" sz="1500" kern="0">
                <a:solidFill>
                  <a:schemeClr val="bg1"/>
                </a:solidFill>
                <a:latin typeface="Tele-GroteskNor"/>
              </a:endParaRPr>
            </a:p>
          </p:txBody>
        </p:sp>
        <p:sp>
          <p:nvSpPr>
            <p:cNvPr id="353" name="Isosceles Triangle 23"/>
            <p:cNvSpPr/>
            <p:nvPr/>
          </p:nvSpPr>
          <p:spPr>
            <a:xfrm>
              <a:off x="3516528" y="3166700"/>
              <a:ext cx="467682" cy="908263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3701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20074"/>
                </a:buClr>
                <a:buSzTx/>
                <a:defRPr/>
              </a:pPr>
              <a:endParaRPr lang="x-none" sz="1500" kern="0">
                <a:solidFill>
                  <a:schemeClr val="bg1"/>
                </a:solidFill>
                <a:latin typeface="Tele-GroteskNor"/>
              </a:endParaRPr>
            </a:p>
          </p:txBody>
        </p:sp>
        <p:sp>
          <p:nvSpPr>
            <p:cNvPr id="354" name="Isosceles Triangle 23"/>
            <p:cNvSpPr/>
            <p:nvPr/>
          </p:nvSpPr>
          <p:spPr>
            <a:xfrm>
              <a:off x="3243933" y="3166700"/>
              <a:ext cx="467683" cy="908263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3701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20074"/>
                </a:buClr>
                <a:buSzTx/>
                <a:defRPr/>
              </a:pPr>
              <a:endParaRPr lang="x-none" sz="1500" kern="0">
                <a:solidFill>
                  <a:schemeClr val="bg1"/>
                </a:solidFill>
                <a:latin typeface="Tele-GroteskNor"/>
              </a:endParaRPr>
            </a:p>
          </p:txBody>
        </p:sp>
        <p:sp>
          <p:nvSpPr>
            <p:cNvPr id="355" name="Isosceles Triangle 23"/>
            <p:cNvSpPr/>
            <p:nvPr/>
          </p:nvSpPr>
          <p:spPr>
            <a:xfrm>
              <a:off x="2965979" y="3166700"/>
              <a:ext cx="467683" cy="908263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3701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20074"/>
                </a:buClr>
                <a:buSzTx/>
                <a:defRPr/>
              </a:pPr>
              <a:endParaRPr lang="x-none" sz="1500" kern="0">
                <a:solidFill>
                  <a:schemeClr val="bg1"/>
                </a:solidFill>
                <a:latin typeface="Tele-GroteskNor"/>
              </a:endParaRPr>
            </a:p>
          </p:txBody>
        </p:sp>
        <p:sp>
          <p:nvSpPr>
            <p:cNvPr id="356" name="Isosceles Triangle 23"/>
            <p:cNvSpPr/>
            <p:nvPr/>
          </p:nvSpPr>
          <p:spPr>
            <a:xfrm>
              <a:off x="2676696" y="3166700"/>
              <a:ext cx="467681" cy="908263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3701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20074"/>
                </a:buClr>
                <a:buSzTx/>
                <a:defRPr/>
              </a:pPr>
              <a:endParaRPr lang="x-none" sz="1500" kern="0">
                <a:solidFill>
                  <a:schemeClr val="bg1"/>
                </a:solidFill>
                <a:latin typeface="Tele-GroteskNor"/>
              </a:endParaRPr>
            </a:p>
          </p:txBody>
        </p:sp>
      </p:grpSp>
      <p:grpSp>
        <p:nvGrpSpPr>
          <p:cNvPr id="357" name="Gruppieren 204"/>
          <p:cNvGrpSpPr/>
          <p:nvPr/>
        </p:nvGrpSpPr>
        <p:grpSpPr>
          <a:xfrm>
            <a:off x="3493613" y="2850196"/>
            <a:ext cx="1450102" cy="242575"/>
            <a:chOff x="2676696" y="3166700"/>
            <a:chExt cx="2964772" cy="908263"/>
          </a:xfrm>
          <a:gradFill flip="none" rotWithShape="1">
            <a:gsLst>
              <a:gs pos="0">
                <a:schemeClr val="tx1"/>
              </a:gs>
              <a:gs pos="100000">
                <a:schemeClr val="bg1"/>
              </a:gs>
              <a:gs pos="100000">
                <a:schemeClr val="tx1"/>
              </a:gs>
            </a:gsLst>
            <a:lin ang="0" scaled="1"/>
            <a:tileRect/>
          </a:gradFill>
        </p:grpSpPr>
        <p:sp>
          <p:nvSpPr>
            <p:cNvPr id="358" name="Isosceles Triangle 23"/>
            <p:cNvSpPr/>
            <p:nvPr/>
          </p:nvSpPr>
          <p:spPr>
            <a:xfrm>
              <a:off x="4903627" y="3166700"/>
              <a:ext cx="467681" cy="908263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3701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20074"/>
                </a:buClr>
                <a:buSzTx/>
                <a:defRPr/>
              </a:pPr>
              <a:endParaRPr lang="x-none" sz="1500" kern="0">
                <a:solidFill>
                  <a:schemeClr val="bg1"/>
                </a:solidFill>
                <a:latin typeface="Tele-GroteskNor"/>
              </a:endParaRPr>
            </a:p>
          </p:txBody>
        </p:sp>
        <p:sp>
          <p:nvSpPr>
            <p:cNvPr id="359" name="Isosceles Triangle 23"/>
            <p:cNvSpPr/>
            <p:nvPr/>
          </p:nvSpPr>
          <p:spPr>
            <a:xfrm>
              <a:off x="5173790" y="3166700"/>
              <a:ext cx="467678" cy="908263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3701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20074"/>
                </a:buClr>
                <a:buSzTx/>
                <a:defRPr/>
              </a:pPr>
              <a:endParaRPr lang="x-none" sz="1500" kern="0">
                <a:solidFill>
                  <a:schemeClr val="bg1"/>
                </a:solidFill>
                <a:latin typeface="Tele-GroteskNor"/>
              </a:endParaRPr>
            </a:p>
          </p:txBody>
        </p:sp>
        <p:sp>
          <p:nvSpPr>
            <p:cNvPr id="360" name="Isosceles Triangle 23"/>
            <p:cNvSpPr/>
            <p:nvPr/>
          </p:nvSpPr>
          <p:spPr>
            <a:xfrm>
              <a:off x="4632454" y="3166700"/>
              <a:ext cx="467681" cy="908263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3701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20074"/>
                </a:buClr>
                <a:buSzTx/>
                <a:defRPr/>
              </a:pPr>
              <a:endParaRPr lang="x-none" sz="1500" kern="0">
                <a:solidFill>
                  <a:schemeClr val="bg1"/>
                </a:solidFill>
                <a:latin typeface="Tele-GroteskNor"/>
              </a:endParaRPr>
            </a:p>
          </p:txBody>
        </p:sp>
        <p:sp>
          <p:nvSpPr>
            <p:cNvPr id="361" name="Isosceles Triangle 23"/>
            <p:cNvSpPr/>
            <p:nvPr/>
          </p:nvSpPr>
          <p:spPr>
            <a:xfrm>
              <a:off x="4353083" y="3166700"/>
              <a:ext cx="467679" cy="908263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3701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20074"/>
                </a:buClr>
                <a:buSzTx/>
                <a:defRPr/>
              </a:pPr>
              <a:endParaRPr lang="x-none" sz="1500" kern="0">
                <a:solidFill>
                  <a:schemeClr val="bg1"/>
                </a:solidFill>
                <a:latin typeface="Tele-GroteskNor"/>
              </a:endParaRPr>
            </a:p>
          </p:txBody>
        </p:sp>
        <p:sp>
          <p:nvSpPr>
            <p:cNvPr id="362" name="Isosceles Triangle 23"/>
            <p:cNvSpPr/>
            <p:nvPr/>
          </p:nvSpPr>
          <p:spPr>
            <a:xfrm>
              <a:off x="4075132" y="3166700"/>
              <a:ext cx="467680" cy="908263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3701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20074"/>
                </a:buClr>
                <a:buSzTx/>
                <a:defRPr/>
              </a:pPr>
              <a:endParaRPr lang="x-none" sz="1500" kern="0">
                <a:solidFill>
                  <a:schemeClr val="bg1"/>
                </a:solidFill>
                <a:latin typeface="Tele-GroteskNor"/>
              </a:endParaRPr>
            </a:p>
          </p:txBody>
        </p:sp>
        <p:sp>
          <p:nvSpPr>
            <p:cNvPr id="363" name="Isosceles Triangle 23"/>
            <p:cNvSpPr/>
            <p:nvPr/>
          </p:nvSpPr>
          <p:spPr>
            <a:xfrm>
              <a:off x="3794480" y="3166700"/>
              <a:ext cx="467680" cy="908263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3701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20074"/>
                </a:buClr>
                <a:buSzTx/>
                <a:defRPr/>
              </a:pPr>
              <a:endParaRPr lang="x-none" sz="1500" kern="0">
                <a:solidFill>
                  <a:schemeClr val="bg1"/>
                </a:solidFill>
                <a:latin typeface="Tele-GroteskNor"/>
              </a:endParaRPr>
            </a:p>
          </p:txBody>
        </p:sp>
        <p:sp>
          <p:nvSpPr>
            <p:cNvPr id="364" name="Isosceles Triangle 23"/>
            <p:cNvSpPr/>
            <p:nvPr/>
          </p:nvSpPr>
          <p:spPr>
            <a:xfrm>
              <a:off x="3516528" y="3166700"/>
              <a:ext cx="467682" cy="908263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3701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20074"/>
                </a:buClr>
                <a:buSzTx/>
                <a:defRPr/>
              </a:pPr>
              <a:endParaRPr lang="x-none" sz="1500" kern="0">
                <a:solidFill>
                  <a:schemeClr val="bg1"/>
                </a:solidFill>
                <a:latin typeface="Tele-GroteskNor"/>
              </a:endParaRPr>
            </a:p>
          </p:txBody>
        </p:sp>
        <p:sp>
          <p:nvSpPr>
            <p:cNvPr id="365" name="Isosceles Triangle 23"/>
            <p:cNvSpPr/>
            <p:nvPr/>
          </p:nvSpPr>
          <p:spPr>
            <a:xfrm>
              <a:off x="3243933" y="3166700"/>
              <a:ext cx="467683" cy="908263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3701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20074"/>
                </a:buClr>
                <a:buSzTx/>
                <a:defRPr/>
              </a:pPr>
              <a:endParaRPr lang="x-none" sz="1500" kern="0">
                <a:solidFill>
                  <a:schemeClr val="bg1"/>
                </a:solidFill>
                <a:latin typeface="Tele-GroteskNor"/>
              </a:endParaRPr>
            </a:p>
          </p:txBody>
        </p:sp>
        <p:sp>
          <p:nvSpPr>
            <p:cNvPr id="366" name="Isosceles Triangle 23"/>
            <p:cNvSpPr/>
            <p:nvPr/>
          </p:nvSpPr>
          <p:spPr>
            <a:xfrm>
              <a:off x="2965979" y="3166700"/>
              <a:ext cx="467683" cy="908263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3701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20074"/>
                </a:buClr>
                <a:buSzTx/>
                <a:defRPr/>
              </a:pPr>
              <a:endParaRPr lang="x-none" sz="1500" kern="0">
                <a:solidFill>
                  <a:schemeClr val="bg1"/>
                </a:solidFill>
                <a:latin typeface="Tele-GroteskNor"/>
              </a:endParaRPr>
            </a:p>
          </p:txBody>
        </p:sp>
        <p:sp>
          <p:nvSpPr>
            <p:cNvPr id="367" name="Isosceles Triangle 23"/>
            <p:cNvSpPr/>
            <p:nvPr/>
          </p:nvSpPr>
          <p:spPr>
            <a:xfrm>
              <a:off x="2676696" y="3166700"/>
              <a:ext cx="467681" cy="908263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3701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20074"/>
                </a:buClr>
                <a:buSzTx/>
                <a:defRPr/>
              </a:pPr>
              <a:endParaRPr lang="x-none" sz="1500" kern="0">
                <a:solidFill>
                  <a:schemeClr val="bg1"/>
                </a:solidFill>
                <a:latin typeface="Tele-GroteskNor"/>
              </a:endParaRPr>
            </a:p>
          </p:txBody>
        </p:sp>
      </p:grpSp>
      <p:grpSp>
        <p:nvGrpSpPr>
          <p:cNvPr id="368" name="Gruppieren 204"/>
          <p:cNvGrpSpPr/>
          <p:nvPr/>
        </p:nvGrpSpPr>
        <p:grpSpPr>
          <a:xfrm>
            <a:off x="3493613" y="3350636"/>
            <a:ext cx="1450102" cy="242575"/>
            <a:chOff x="2676696" y="3166700"/>
            <a:chExt cx="2964772" cy="908263"/>
          </a:xfrm>
          <a:gradFill flip="none" rotWithShape="1">
            <a:gsLst>
              <a:gs pos="0">
                <a:schemeClr val="tx1"/>
              </a:gs>
              <a:gs pos="100000">
                <a:schemeClr val="bg1"/>
              </a:gs>
              <a:gs pos="100000">
                <a:schemeClr val="tx1"/>
              </a:gs>
            </a:gsLst>
            <a:lin ang="0" scaled="1"/>
            <a:tileRect/>
          </a:gradFill>
        </p:grpSpPr>
        <p:sp>
          <p:nvSpPr>
            <p:cNvPr id="369" name="Isosceles Triangle 23"/>
            <p:cNvSpPr/>
            <p:nvPr/>
          </p:nvSpPr>
          <p:spPr>
            <a:xfrm>
              <a:off x="4903627" y="3166700"/>
              <a:ext cx="467681" cy="908263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3701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20074"/>
                </a:buClr>
                <a:buSzTx/>
                <a:defRPr/>
              </a:pPr>
              <a:endParaRPr lang="x-none" sz="1500" kern="0">
                <a:solidFill>
                  <a:schemeClr val="bg1"/>
                </a:solidFill>
                <a:latin typeface="Tele-GroteskNor"/>
              </a:endParaRPr>
            </a:p>
          </p:txBody>
        </p:sp>
        <p:sp>
          <p:nvSpPr>
            <p:cNvPr id="370" name="Isosceles Triangle 23"/>
            <p:cNvSpPr/>
            <p:nvPr/>
          </p:nvSpPr>
          <p:spPr>
            <a:xfrm>
              <a:off x="5173790" y="3166700"/>
              <a:ext cx="467678" cy="908263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3701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20074"/>
                </a:buClr>
                <a:buSzTx/>
                <a:defRPr/>
              </a:pPr>
              <a:endParaRPr lang="x-none" sz="1500" kern="0">
                <a:solidFill>
                  <a:schemeClr val="bg1"/>
                </a:solidFill>
                <a:latin typeface="Tele-GroteskNor"/>
              </a:endParaRPr>
            </a:p>
          </p:txBody>
        </p:sp>
        <p:sp>
          <p:nvSpPr>
            <p:cNvPr id="371" name="Isosceles Triangle 23"/>
            <p:cNvSpPr/>
            <p:nvPr/>
          </p:nvSpPr>
          <p:spPr>
            <a:xfrm>
              <a:off x="4632454" y="3166700"/>
              <a:ext cx="467681" cy="908263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3701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20074"/>
                </a:buClr>
                <a:buSzTx/>
                <a:defRPr/>
              </a:pPr>
              <a:endParaRPr lang="x-none" sz="1500" kern="0">
                <a:solidFill>
                  <a:schemeClr val="bg1"/>
                </a:solidFill>
                <a:latin typeface="Tele-GroteskNor"/>
              </a:endParaRPr>
            </a:p>
          </p:txBody>
        </p:sp>
        <p:sp>
          <p:nvSpPr>
            <p:cNvPr id="372" name="Isosceles Triangle 23"/>
            <p:cNvSpPr/>
            <p:nvPr/>
          </p:nvSpPr>
          <p:spPr>
            <a:xfrm>
              <a:off x="4353083" y="3166700"/>
              <a:ext cx="467679" cy="908263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3701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20074"/>
                </a:buClr>
                <a:buSzTx/>
                <a:defRPr/>
              </a:pPr>
              <a:endParaRPr lang="x-none" sz="1500" kern="0">
                <a:solidFill>
                  <a:schemeClr val="bg1"/>
                </a:solidFill>
                <a:latin typeface="Tele-GroteskNor"/>
              </a:endParaRPr>
            </a:p>
          </p:txBody>
        </p:sp>
        <p:sp>
          <p:nvSpPr>
            <p:cNvPr id="373" name="Isosceles Triangle 23"/>
            <p:cNvSpPr/>
            <p:nvPr/>
          </p:nvSpPr>
          <p:spPr>
            <a:xfrm>
              <a:off x="4075132" y="3166700"/>
              <a:ext cx="467680" cy="908263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3701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20074"/>
                </a:buClr>
                <a:buSzTx/>
                <a:defRPr/>
              </a:pPr>
              <a:endParaRPr lang="x-none" sz="1500" kern="0">
                <a:solidFill>
                  <a:schemeClr val="bg1"/>
                </a:solidFill>
                <a:latin typeface="Tele-GroteskNor"/>
              </a:endParaRPr>
            </a:p>
          </p:txBody>
        </p:sp>
        <p:sp>
          <p:nvSpPr>
            <p:cNvPr id="374" name="Isosceles Triangle 23"/>
            <p:cNvSpPr/>
            <p:nvPr/>
          </p:nvSpPr>
          <p:spPr>
            <a:xfrm>
              <a:off x="3794480" y="3166700"/>
              <a:ext cx="467680" cy="908263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3701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20074"/>
                </a:buClr>
                <a:buSzTx/>
                <a:defRPr/>
              </a:pPr>
              <a:endParaRPr lang="x-none" sz="1500" kern="0">
                <a:solidFill>
                  <a:schemeClr val="bg1"/>
                </a:solidFill>
                <a:latin typeface="Tele-GroteskNor"/>
              </a:endParaRPr>
            </a:p>
          </p:txBody>
        </p:sp>
        <p:sp>
          <p:nvSpPr>
            <p:cNvPr id="375" name="Isosceles Triangle 23"/>
            <p:cNvSpPr/>
            <p:nvPr/>
          </p:nvSpPr>
          <p:spPr>
            <a:xfrm>
              <a:off x="3516528" y="3166700"/>
              <a:ext cx="467682" cy="908263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3701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20074"/>
                </a:buClr>
                <a:buSzTx/>
                <a:defRPr/>
              </a:pPr>
              <a:endParaRPr lang="x-none" sz="1500" kern="0">
                <a:solidFill>
                  <a:schemeClr val="bg1"/>
                </a:solidFill>
                <a:latin typeface="Tele-GroteskNor"/>
              </a:endParaRPr>
            </a:p>
          </p:txBody>
        </p:sp>
        <p:sp>
          <p:nvSpPr>
            <p:cNvPr id="376" name="Isosceles Triangle 23"/>
            <p:cNvSpPr/>
            <p:nvPr/>
          </p:nvSpPr>
          <p:spPr>
            <a:xfrm>
              <a:off x="3243933" y="3166700"/>
              <a:ext cx="467683" cy="908263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3701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20074"/>
                </a:buClr>
                <a:buSzTx/>
                <a:defRPr/>
              </a:pPr>
              <a:endParaRPr lang="x-none" sz="1500" kern="0">
                <a:solidFill>
                  <a:schemeClr val="bg1"/>
                </a:solidFill>
                <a:latin typeface="Tele-GroteskNor"/>
              </a:endParaRPr>
            </a:p>
          </p:txBody>
        </p:sp>
        <p:sp>
          <p:nvSpPr>
            <p:cNvPr id="377" name="Isosceles Triangle 23"/>
            <p:cNvSpPr/>
            <p:nvPr/>
          </p:nvSpPr>
          <p:spPr>
            <a:xfrm>
              <a:off x="2965979" y="3166700"/>
              <a:ext cx="467683" cy="908263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3701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20074"/>
                </a:buClr>
                <a:buSzTx/>
                <a:defRPr/>
              </a:pPr>
              <a:endParaRPr lang="x-none" sz="1500" kern="0">
                <a:solidFill>
                  <a:schemeClr val="bg1"/>
                </a:solidFill>
                <a:latin typeface="Tele-GroteskNor"/>
              </a:endParaRPr>
            </a:p>
          </p:txBody>
        </p:sp>
        <p:sp>
          <p:nvSpPr>
            <p:cNvPr id="378" name="Isosceles Triangle 23"/>
            <p:cNvSpPr/>
            <p:nvPr/>
          </p:nvSpPr>
          <p:spPr>
            <a:xfrm>
              <a:off x="2676696" y="3166700"/>
              <a:ext cx="467681" cy="908263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370100"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20074"/>
                </a:buClr>
                <a:buSzTx/>
                <a:defRPr/>
              </a:pPr>
              <a:endParaRPr lang="x-none" sz="1500" kern="0">
                <a:solidFill>
                  <a:schemeClr val="bg1"/>
                </a:solidFill>
                <a:latin typeface="Tele-GroteskNor"/>
              </a:endParaRPr>
            </a:p>
          </p:txBody>
        </p:sp>
      </p:grpSp>
      <p:sp>
        <p:nvSpPr>
          <p:cNvPr id="381" name="Rechteck 380"/>
          <p:cNvSpPr/>
          <p:nvPr/>
        </p:nvSpPr>
        <p:spPr>
          <a:xfrm>
            <a:off x="323933" y="3836265"/>
            <a:ext cx="4473751" cy="58773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16611" tIns="29153" rIns="58306" bIns="29153" rtlCol="0" anchor="ctr"/>
          <a:lstStyle/>
          <a:p>
            <a:pPr algn="l" rtl="0">
              <a:lnSpc>
                <a:spcPct val="90000"/>
              </a:lnSpc>
              <a:buClr>
                <a:schemeClr val="tx2"/>
              </a:buClr>
            </a:pPr>
            <a:r>
              <a:rPr lang="x-none" sz="1500"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With end-to-end packages in </a:t>
            </a:r>
            <a:br>
              <a:rPr lang="x-none" sz="1500">
                <a:latin typeface="Tele-GroteskNor" pitchFamily="2" charset="0"/>
                <a:ea typeface="Tele-GroteskNor" pitchFamily="2" charset="0"/>
                <a:cs typeface="Tele-GroteskNor" pitchFamily="2" charset="0"/>
              </a:rPr>
            </a:br>
            <a:r>
              <a:rPr lang="x-none" sz="1500"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T-shirt sizes at fixed prices</a:t>
            </a:r>
          </a:p>
        </p:txBody>
      </p:sp>
      <p:sp>
        <p:nvSpPr>
          <p:cNvPr id="383" name="Rechteck 382"/>
          <p:cNvSpPr/>
          <p:nvPr/>
        </p:nvSpPr>
        <p:spPr>
          <a:xfrm>
            <a:off x="4860062" y="3836265"/>
            <a:ext cx="3951269" cy="58773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16611" tIns="29153" rIns="58306" bIns="29153" rtlCol="0" anchor="ctr"/>
          <a:lstStyle/>
          <a:p>
            <a:pPr algn="l" rtl="0">
              <a:lnSpc>
                <a:spcPct val="90000"/>
              </a:lnSpc>
              <a:buClr>
                <a:schemeClr val="tx2"/>
              </a:buClr>
            </a:pPr>
            <a:r>
              <a:rPr lang="x-none" sz="1500"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With expertise in hybrid scenarios </a:t>
            </a:r>
            <a:br>
              <a:rPr lang="x-none" sz="1500">
                <a:latin typeface="Tele-GroteskNor" pitchFamily="2" charset="0"/>
                <a:ea typeface="Tele-GroteskNor" pitchFamily="2" charset="0"/>
                <a:cs typeface="Tele-GroteskNor" pitchFamily="2" charset="0"/>
              </a:rPr>
            </a:br>
            <a:r>
              <a:rPr lang="x-none" sz="1500">
                <a:latin typeface="Tele-GroteskNor" pitchFamily="2" charset="0"/>
                <a:ea typeface="Tele-GroteskNor" pitchFamily="2" charset="0"/>
                <a:cs typeface="Tele-GroteskNor" pitchFamily="2" charset="0"/>
              </a:rPr>
              <a:t>and multi-cloud management</a:t>
            </a:r>
          </a:p>
        </p:txBody>
      </p:sp>
      <p:grpSp>
        <p:nvGrpSpPr>
          <p:cNvPr id="7" name="Gruppieren 6"/>
          <p:cNvGrpSpPr/>
          <p:nvPr/>
        </p:nvGrpSpPr>
        <p:grpSpPr>
          <a:xfrm>
            <a:off x="2883711" y="3973075"/>
            <a:ext cx="1777803" cy="254763"/>
            <a:chOff x="3066201" y="5874533"/>
            <a:chExt cx="1959904" cy="374517"/>
          </a:xfrm>
        </p:grpSpPr>
        <p:grpSp>
          <p:nvGrpSpPr>
            <p:cNvPr id="401" name="Group 23"/>
            <p:cNvGrpSpPr>
              <a:grpSpLocks noChangeAspect="1"/>
            </p:cNvGrpSpPr>
            <p:nvPr/>
          </p:nvGrpSpPr>
          <p:grpSpPr bwMode="auto">
            <a:xfrm>
              <a:off x="4594074" y="5874533"/>
              <a:ext cx="432031" cy="374517"/>
              <a:chOff x="2681" y="1215"/>
              <a:chExt cx="1892" cy="1646"/>
            </a:xfrm>
            <a:solidFill>
              <a:schemeClr val="bg1"/>
            </a:solidFill>
          </p:grpSpPr>
          <p:sp>
            <p:nvSpPr>
              <p:cNvPr id="414" name="Freeform 25"/>
              <p:cNvSpPr>
                <a:spLocks/>
              </p:cNvSpPr>
              <p:nvPr/>
            </p:nvSpPr>
            <p:spPr bwMode="auto">
              <a:xfrm>
                <a:off x="3449" y="1246"/>
                <a:ext cx="356" cy="128"/>
              </a:xfrm>
              <a:custGeom>
                <a:avLst/>
                <a:gdLst>
                  <a:gd name="T0" fmla="*/ 0 w 712"/>
                  <a:gd name="T1" fmla="*/ 0 h 257"/>
                  <a:gd name="T2" fmla="*/ 61 w 712"/>
                  <a:gd name="T3" fmla="*/ 13 h 257"/>
                  <a:gd name="T4" fmla="*/ 128 w 712"/>
                  <a:gd name="T5" fmla="*/ 26 h 257"/>
                  <a:gd name="T6" fmla="*/ 200 w 712"/>
                  <a:gd name="T7" fmla="*/ 35 h 257"/>
                  <a:gd name="T8" fmla="*/ 277 w 712"/>
                  <a:gd name="T9" fmla="*/ 40 h 257"/>
                  <a:gd name="T10" fmla="*/ 356 w 712"/>
                  <a:gd name="T11" fmla="*/ 42 h 257"/>
                  <a:gd name="T12" fmla="*/ 435 w 712"/>
                  <a:gd name="T13" fmla="*/ 40 h 257"/>
                  <a:gd name="T14" fmla="*/ 512 w 712"/>
                  <a:gd name="T15" fmla="*/ 35 h 257"/>
                  <a:gd name="T16" fmla="*/ 584 w 712"/>
                  <a:gd name="T17" fmla="*/ 26 h 257"/>
                  <a:gd name="T18" fmla="*/ 651 w 712"/>
                  <a:gd name="T19" fmla="*/ 13 h 257"/>
                  <a:gd name="T20" fmla="*/ 712 w 712"/>
                  <a:gd name="T21" fmla="*/ 0 h 257"/>
                  <a:gd name="T22" fmla="*/ 694 w 712"/>
                  <a:gd name="T23" fmla="*/ 43 h 257"/>
                  <a:gd name="T24" fmla="*/ 671 w 712"/>
                  <a:gd name="T25" fmla="*/ 85 h 257"/>
                  <a:gd name="T26" fmla="*/ 643 w 712"/>
                  <a:gd name="T27" fmla="*/ 122 h 257"/>
                  <a:gd name="T28" fmla="*/ 612 w 712"/>
                  <a:gd name="T29" fmla="*/ 157 h 257"/>
                  <a:gd name="T30" fmla="*/ 577 w 712"/>
                  <a:gd name="T31" fmla="*/ 186 h 257"/>
                  <a:gd name="T32" fmla="*/ 538 w 712"/>
                  <a:gd name="T33" fmla="*/ 211 h 257"/>
                  <a:gd name="T34" fmla="*/ 495 w 712"/>
                  <a:gd name="T35" fmla="*/ 230 h 257"/>
                  <a:gd name="T36" fmla="*/ 451 w 712"/>
                  <a:gd name="T37" fmla="*/ 245 h 257"/>
                  <a:gd name="T38" fmla="*/ 404 w 712"/>
                  <a:gd name="T39" fmla="*/ 255 h 257"/>
                  <a:gd name="T40" fmla="*/ 356 w 712"/>
                  <a:gd name="T41" fmla="*/ 257 h 257"/>
                  <a:gd name="T42" fmla="*/ 308 w 712"/>
                  <a:gd name="T43" fmla="*/ 255 h 257"/>
                  <a:gd name="T44" fmla="*/ 261 w 712"/>
                  <a:gd name="T45" fmla="*/ 245 h 257"/>
                  <a:gd name="T46" fmla="*/ 216 w 712"/>
                  <a:gd name="T47" fmla="*/ 230 h 257"/>
                  <a:gd name="T48" fmla="*/ 174 w 712"/>
                  <a:gd name="T49" fmla="*/ 211 h 257"/>
                  <a:gd name="T50" fmla="*/ 135 w 712"/>
                  <a:gd name="T51" fmla="*/ 186 h 257"/>
                  <a:gd name="T52" fmla="*/ 100 w 712"/>
                  <a:gd name="T53" fmla="*/ 157 h 257"/>
                  <a:gd name="T54" fmla="*/ 69 w 712"/>
                  <a:gd name="T55" fmla="*/ 122 h 257"/>
                  <a:gd name="T56" fmla="*/ 41 w 712"/>
                  <a:gd name="T57" fmla="*/ 85 h 257"/>
                  <a:gd name="T58" fmla="*/ 18 w 712"/>
                  <a:gd name="T59" fmla="*/ 43 h 257"/>
                  <a:gd name="T60" fmla="*/ 0 w 712"/>
                  <a:gd name="T61" fmla="*/ 0 h 2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712" h="257">
                    <a:moveTo>
                      <a:pt x="0" y="0"/>
                    </a:moveTo>
                    <a:lnTo>
                      <a:pt x="61" y="13"/>
                    </a:lnTo>
                    <a:lnTo>
                      <a:pt x="128" y="26"/>
                    </a:lnTo>
                    <a:lnTo>
                      <a:pt x="200" y="35"/>
                    </a:lnTo>
                    <a:lnTo>
                      <a:pt x="277" y="40"/>
                    </a:lnTo>
                    <a:lnTo>
                      <a:pt x="356" y="42"/>
                    </a:lnTo>
                    <a:lnTo>
                      <a:pt x="435" y="40"/>
                    </a:lnTo>
                    <a:lnTo>
                      <a:pt x="512" y="35"/>
                    </a:lnTo>
                    <a:lnTo>
                      <a:pt x="584" y="26"/>
                    </a:lnTo>
                    <a:lnTo>
                      <a:pt x="651" y="13"/>
                    </a:lnTo>
                    <a:lnTo>
                      <a:pt x="712" y="0"/>
                    </a:lnTo>
                    <a:lnTo>
                      <a:pt x="694" y="43"/>
                    </a:lnTo>
                    <a:lnTo>
                      <a:pt x="671" y="85"/>
                    </a:lnTo>
                    <a:lnTo>
                      <a:pt x="643" y="122"/>
                    </a:lnTo>
                    <a:lnTo>
                      <a:pt x="612" y="157"/>
                    </a:lnTo>
                    <a:lnTo>
                      <a:pt x="577" y="186"/>
                    </a:lnTo>
                    <a:lnTo>
                      <a:pt x="538" y="211"/>
                    </a:lnTo>
                    <a:lnTo>
                      <a:pt x="495" y="230"/>
                    </a:lnTo>
                    <a:lnTo>
                      <a:pt x="451" y="245"/>
                    </a:lnTo>
                    <a:lnTo>
                      <a:pt x="404" y="255"/>
                    </a:lnTo>
                    <a:lnTo>
                      <a:pt x="356" y="257"/>
                    </a:lnTo>
                    <a:lnTo>
                      <a:pt x="308" y="255"/>
                    </a:lnTo>
                    <a:lnTo>
                      <a:pt x="261" y="245"/>
                    </a:lnTo>
                    <a:lnTo>
                      <a:pt x="216" y="230"/>
                    </a:lnTo>
                    <a:lnTo>
                      <a:pt x="174" y="211"/>
                    </a:lnTo>
                    <a:lnTo>
                      <a:pt x="135" y="186"/>
                    </a:lnTo>
                    <a:lnTo>
                      <a:pt x="100" y="157"/>
                    </a:lnTo>
                    <a:lnTo>
                      <a:pt x="69" y="122"/>
                    </a:lnTo>
                    <a:lnTo>
                      <a:pt x="41" y="85"/>
                    </a:lnTo>
                    <a:lnTo>
                      <a:pt x="18" y="4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non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x-none" sz="1000">
                  <a:solidFill>
                    <a:schemeClr val="tx2"/>
                  </a:solidFill>
                </a:endParaRPr>
              </a:p>
            </p:txBody>
          </p:sp>
          <p:sp>
            <p:nvSpPr>
              <p:cNvPr id="415" name="Freeform 26"/>
              <p:cNvSpPr>
                <a:spLocks/>
              </p:cNvSpPr>
              <p:nvPr/>
            </p:nvSpPr>
            <p:spPr bwMode="auto">
              <a:xfrm>
                <a:off x="2681" y="1215"/>
                <a:ext cx="1892" cy="1646"/>
              </a:xfrm>
              <a:custGeom>
                <a:avLst/>
                <a:gdLst>
                  <a:gd name="T0" fmla="*/ 1255 w 3784"/>
                  <a:gd name="T1" fmla="*/ 0 h 3291"/>
                  <a:gd name="T2" fmla="*/ 1292 w 3784"/>
                  <a:gd name="T3" fmla="*/ 9 h 3291"/>
                  <a:gd name="T4" fmla="*/ 1322 w 3784"/>
                  <a:gd name="T5" fmla="*/ 32 h 3291"/>
                  <a:gd name="T6" fmla="*/ 1338 w 3784"/>
                  <a:gd name="T7" fmla="*/ 66 h 3291"/>
                  <a:gd name="T8" fmla="*/ 1376 w 3784"/>
                  <a:gd name="T9" fmla="*/ 179 h 3291"/>
                  <a:gd name="T10" fmla="*/ 1436 w 3784"/>
                  <a:gd name="T11" fmla="*/ 279 h 3291"/>
                  <a:gd name="T12" fmla="*/ 1513 w 3784"/>
                  <a:gd name="T13" fmla="*/ 365 h 3291"/>
                  <a:gd name="T14" fmla="*/ 1606 w 3784"/>
                  <a:gd name="T15" fmla="*/ 433 h 3291"/>
                  <a:gd name="T16" fmla="*/ 1713 w 3784"/>
                  <a:gd name="T17" fmla="*/ 481 h 3291"/>
                  <a:gd name="T18" fmla="*/ 1830 w 3784"/>
                  <a:gd name="T19" fmla="*/ 508 h 3291"/>
                  <a:gd name="T20" fmla="*/ 1954 w 3784"/>
                  <a:gd name="T21" fmla="*/ 508 h 3291"/>
                  <a:gd name="T22" fmla="*/ 2071 w 3784"/>
                  <a:gd name="T23" fmla="*/ 481 h 3291"/>
                  <a:gd name="T24" fmla="*/ 2177 w 3784"/>
                  <a:gd name="T25" fmla="*/ 433 h 3291"/>
                  <a:gd name="T26" fmla="*/ 2271 w 3784"/>
                  <a:gd name="T27" fmla="*/ 365 h 3291"/>
                  <a:gd name="T28" fmla="*/ 2348 w 3784"/>
                  <a:gd name="T29" fmla="*/ 279 h 3291"/>
                  <a:gd name="T30" fmla="*/ 2408 w 3784"/>
                  <a:gd name="T31" fmla="*/ 179 h 3291"/>
                  <a:gd name="T32" fmla="*/ 2446 w 3784"/>
                  <a:gd name="T33" fmla="*/ 66 h 3291"/>
                  <a:gd name="T34" fmla="*/ 2462 w 3784"/>
                  <a:gd name="T35" fmla="*/ 32 h 3291"/>
                  <a:gd name="T36" fmla="*/ 2492 w 3784"/>
                  <a:gd name="T37" fmla="*/ 9 h 3291"/>
                  <a:gd name="T38" fmla="*/ 2529 w 3784"/>
                  <a:gd name="T39" fmla="*/ 0 h 3291"/>
                  <a:gd name="T40" fmla="*/ 2537 w 3784"/>
                  <a:gd name="T41" fmla="*/ 1 h 3291"/>
                  <a:gd name="T42" fmla="*/ 2663 w 3784"/>
                  <a:gd name="T43" fmla="*/ 26 h 3291"/>
                  <a:gd name="T44" fmla="*/ 2897 w 3784"/>
                  <a:gd name="T45" fmla="*/ 88 h 3291"/>
                  <a:gd name="T46" fmla="*/ 3735 w 3784"/>
                  <a:gd name="T47" fmla="*/ 458 h 3291"/>
                  <a:gd name="T48" fmla="*/ 3769 w 3784"/>
                  <a:gd name="T49" fmla="*/ 487 h 3291"/>
                  <a:gd name="T50" fmla="*/ 3784 w 3784"/>
                  <a:gd name="T51" fmla="*/ 529 h 3291"/>
                  <a:gd name="T52" fmla="*/ 3775 w 3784"/>
                  <a:gd name="T53" fmla="*/ 574 h 3291"/>
                  <a:gd name="T54" fmla="*/ 3451 w 3784"/>
                  <a:gd name="T55" fmla="*/ 1209 h 3291"/>
                  <a:gd name="T56" fmla="*/ 3422 w 3784"/>
                  <a:gd name="T57" fmla="*/ 1230 h 3291"/>
                  <a:gd name="T58" fmla="*/ 3385 w 3784"/>
                  <a:gd name="T59" fmla="*/ 1238 h 3291"/>
                  <a:gd name="T60" fmla="*/ 3013 w 3784"/>
                  <a:gd name="T61" fmla="*/ 1133 h 3291"/>
                  <a:gd name="T62" fmla="*/ 3009 w 3784"/>
                  <a:gd name="T63" fmla="*/ 3229 h 3291"/>
                  <a:gd name="T64" fmla="*/ 2987 w 3784"/>
                  <a:gd name="T65" fmla="*/ 3266 h 3291"/>
                  <a:gd name="T66" fmla="*/ 2949 w 3784"/>
                  <a:gd name="T67" fmla="*/ 3289 h 3291"/>
                  <a:gd name="T68" fmla="*/ 856 w 3784"/>
                  <a:gd name="T69" fmla="*/ 3291 h 3291"/>
                  <a:gd name="T70" fmla="*/ 814 w 3784"/>
                  <a:gd name="T71" fmla="*/ 3279 h 3291"/>
                  <a:gd name="T72" fmla="*/ 783 w 3784"/>
                  <a:gd name="T73" fmla="*/ 3248 h 3291"/>
                  <a:gd name="T74" fmla="*/ 771 w 3784"/>
                  <a:gd name="T75" fmla="*/ 3206 h 3291"/>
                  <a:gd name="T76" fmla="*/ 423 w 3784"/>
                  <a:gd name="T77" fmla="*/ 1235 h 3291"/>
                  <a:gd name="T78" fmla="*/ 380 w 3784"/>
                  <a:gd name="T79" fmla="*/ 1237 h 3291"/>
                  <a:gd name="T80" fmla="*/ 347 w 3784"/>
                  <a:gd name="T81" fmla="*/ 1221 h 3291"/>
                  <a:gd name="T82" fmla="*/ 323 w 3784"/>
                  <a:gd name="T83" fmla="*/ 1192 h 3291"/>
                  <a:gd name="T84" fmla="*/ 1 w 3784"/>
                  <a:gd name="T85" fmla="*/ 552 h 3291"/>
                  <a:gd name="T86" fmla="*/ 5 w 3784"/>
                  <a:gd name="T87" fmla="*/ 508 h 3291"/>
                  <a:gd name="T88" fmla="*/ 30 w 3784"/>
                  <a:gd name="T89" fmla="*/ 470 h 3291"/>
                  <a:gd name="T90" fmla="*/ 771 w 3784"/>
                  <a:gd name="T91" fmla="*/ 125 h 3291"/>
                  <a:gd name="T92" fmla="*/ 1082 w 3784"/>
                  <a:gd name="T93" fmla="*/ 35 h 3291"/>
                  <a:gd name="T94" fmla="*/ 1247 w 3784"/>
                  <a:gd name="T95" fmla="*/ 1 h 32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3784" h="3291">
                    <a:moveTo>
                      <a:pt x="1255" y="0"/>
                    </a:moveTo>
                    <a:lnTo>
                      <a:pt x="1255" y="0"/>
                    </a:lnTo>
                    <a:lnTo>
                      <a:pt x="1275" y="2"/>
                    </a:lnTo>
                    <a:lnTo>
                      <a:pt x="1292" y="9"/>
                    </a:lnTo>
                    <a:lnTo>
                      <a:pt x="1308" y="19"/>
                    </a:lnTo>
                    <a:lnTo>
                      <a:pt x="1322" y="32"/>
                    </a:lnTo>
                    <a:lnTo>
                      <a:pt x="1332" y="48"/>
                    </a:lnTo>
                    <a:lnTo>
                      <a:pt x="1338" y="66"/>
                    </a:lnTo>
                    <a:lnTo>
                      <a:pt x="1354" y="124"/>
                    </a:lnTo>
                    <a:lnTo>
                      <a:pt x="1376" y="179"/>
                    </a:lnTo>
                    <a:lnTo>
                      <a:pt x="1403" y="231"/>
                    </a:lnTo>
                    <a:lnTo>
                      <a:pt x="1436" y="279"/>
                    </a:lnTo>
                    <a:lnTo>
                      <a:pt x="1472" y="324"/>
                    </a:lnTo>
                    <a:lnTo>
                      <a:pt x="1513" y="365"/>
                    </a:lnTo>
                    <a:lnTo>
                      <a:pt x="1557" y="402"/>
                    </a:lnTo>
                    <a:lnTo>
                      <a:pt x="1606" y="433"/>
                    </a:lnTo>
                    <a:lnTo>
                      <a:pt x="1659" y="460"/>
                    </a:lnTo>
                    <a:lnTo>
                      <a:pt x="1713" y="481"/>
                    </a:lnTo>
                    <a:lnTo>
                      <a:pt x="1770" y="497"/>
                    </a:lnTo>
                    <a:lnTo>
                      <a:pt x="1830" y="508"/>
                    </a:lnTo>
                    <a:lnTo>
                      <a:pt x="1892" y="510"/>
                    </a:lnTo>
                    <a:lnTo>
                      <a:pt x="1954" y="508"/>
                    </a:lnTo>
                    <a:lnTo>
                      <a:pt x="2014" y="497"/>
                    </a:lnTo>
                    <a:lnTo>
                      <a:pt x="2071" y="481"/>
                    </a:lnTo>
                    <a:lnTo>
                      <a:pt x="2125" y="460"/>
                    </a:lnTo>
                    <a:lnTo>
                      <a:pt x="2177" y="433"/>
                    </a:lnTo>
                    <a:lnTo>
                      <a:pt x="2226" y="402"/>
                    </a:lnTo>
                    <a:lnTo>
                      <a:pt x="2271" y="365"/>
                    </a:lnTo>
                    <a:lnTo>
                      <a:pt x="2312" y="324"/>
                    </a:lnTo>
                    <a:lnTo>
                      <a:pt x="2348" y="279"/>
                    </a:lnTo>
                    <a:lnTo>
                      <a:pt x="2380" y="231"/>
                    </a:lnTo>
                    <a:lnTo>
                      <a:pt x="2408" y="179"/>
                    </a:lnTo>
                    <a:lnTo>
                      <a:pt x="2430" y="124"/>
                    </a:lnTo>
                    <a:lnTo>
                      <a:pt x="2446" y="66"/>
                    </a:lnTo>
                    <a:lnTo>
                      <a:pt x="2452" y="48"/>
                    </a:lnTo>
                    <a:lnTo>
                      <a:pt x="2462" y="32"/>
                    </a:lnTo>
                    <a:lnTo>
                      <a:pt x="2476" y="19"/>
                    </a:lnTo>
                    <a:lnTo>
                      <a:pt x="2492" y="9"/>
                    </a:lnTo>
                    <a:lnTo>
                      <a:pt x="2509" y="2"/>
                    </a:lnTo>
                    <a:lnTo>
                      <a:pt x="2529" y="0"/>
                    </a:lnTo>
                    <a:lnTo>
                      <a:pt x="2529" y="0"/>
                    </a:lnTo>
                    <a:lnTo>
                      <a:pt x="2537" y="1"/>
                    </a:lnTo>
                    <a:lnTo>
                      <a:pt x="2545" y="2"/>
                    </a:lnTo>
                    <a:lnTo>
                      <a:pt x="2663" y="26"/>
                    </a:lnTo>
                    <a:lnTo>
                      <a:pt x="2780" y="55"/>
                    </a:lnTo>
                    <a:lnTo>
                      <a:pt x="2897" y="88"/>
                    </a:lnTo>
                    <a:lnTo>
                      <a:pt x="3013" y="125"/>
                    </a:lnTo>
                    <a:lnTo>
                      <a:pt x="3735" y="458"/>
                    </a:lnTo>
                    <a:lnTo>
                      <a:pt x="3753" y="470"/>
                    </a:lnTo>
                    <a:lnTo>
                      <a:pt x="3769" y="487"/>
                    </a:lnTo>
                    <a:lnTo>
                      <a:pt x="3779" y="508"/>
                    </a:lnTo>
                    <a:lnTo>
                      <a:pt x="3784" y="529"/>
                    </a:lnTo>
                    <a:lnTo>
                      <a:pt x="3782" y="552"/>
                    </a:lnTo>
                    <a:lnTo>
                      <a:pt x="3775" y="574"/>
                    </a:lnTo>
                    <a:lnTo>
                      <a:pt x="3461" y="1192"/>
                    </a:lnTo>
                    <a:lnTo>
                      <a:pt x="3451" y="1209"/>
                    </a:lnTo>
                    <a:lnTo>
                      <a:pt x="3437" y="1221"/>
                    </a:lnTo>
                    <a:lnTo>
                      <a:pt x="3422" y="1230"/>
                    </a:lnTo>
                    <a:lnTo>
                      <a:pt x="3403" y="1237"/>
                    </a:lnTo>
                    <a:lnTo>
                      <a:pt x="3385" y="1238"/>
                    </a:lnTo>
                    <a:lnTo>
                      <a:pt x="3361" y="1235"/>
                    </a:lnTo>
                    <a:lnTo>
                      <a:pt x="3013" y="1133"/>
                    </a:lnTo>
                    <a:lnTo>
                      <a:pt x="3013" y="3206"/>
                    </a:lnTo>
                    <a:lnTo>
                      <a:pt x="3009" y="3229"/>
                    </a:lnTo>
                    <a:lnTo>
                      <a:pt x="3001" y="3248"/>
                    </a:lnTo>
                    <a:lnTo>
                      <a:pt x="2987" y="3266"/>
                    </a:lnTo>
                    <a:lnTo>
                      <a:pt x="2970" y="3279"/>
                    </a:lnTo>
                    <a:lnTo>
                      <a:pt x="2949" y="3289"/>
                    </a:lnTo>
                    <a:lnTo>
                      <a:pt x="2928" y="3291"/>
                    </a:lnTo>
                    <a:lnTo>
                      <a:pt x="856" y="3291"/>
                    </a:lnTo>
                    <a:lnTo>
                      <a:pt x="833" y="3289"/>
                    </a:lnTo>
                    <a:lnTo>
                      <a:pt x="814" y="3279"/>
                    </a:lnTo>
                    <a:lnTo>
                      <a:pt x="797" y="3266"/>
                    </a:lnTo>
                    <a:lnTo>
                      <a:pt x="783" y="3248"/>
                    </a:lnTo>
                    <a:lnTo>
                      <a:pt x="774" y="3229"/>
                    </a:lnTo>
                    <a:lnTo>
                      <a:pt x="771" y="3206"/>
                    </a:lnTo>
                    <a:lnTo>
                      <a:pt x="771" y="1133"/>
                    </a:lnTo>
                    <a:lnTo>
                      <a:pt x="423" y="1235"/>
                    </a:lnTo>
                    <a:lnTo>
                      <a:pt x="399" y="1238"/>
                    </a:lnTo>
                    <a:lnTo>
                      <a:pt x="380" y="1237"/>
                    </a:lnTo>
                    <a:lnTo>
                      <a:pt x="362" y="1230"/>
                    </a:lnTo>
                    <a:lnTo>
                      <a:pt x="347" y="1221"/>
                    </a:lnTo>
                    <a:lnTo>
                      <a:pt x="333" y="1209"/>
                    </a:lnTo>
                    <a:lnTo>
                      <a:pt x="323" y="1192"/>
                    </a:lnTo>
                    <a:lnTo>
                      <a:pt x="9" y="574"/>
                    </a:lnTo>
                    <a:lnTo>
                      <a:pt x="1" y="552"/>
                    </a:lnTo>
                    <a:lnTo>
                      <a:pt x="0" y="529"/>
                    </a:lnTo>
                    <a:lnTo>
                      <a:pt x="5" y="508"/>
                    </a:lnTo>
                    <a:lnTo>
                      <a:pt x="15" y="487"/>
                    </a:lnTo>
                    <a:lnTo>
                      <a:pt x="30" y="470"/>
                    </a:lnTo>
                    <a:lnTo>
                      <a:pt x="49" y="458"/>
                    </a:lnTo>
                    <a:lnTo>
                      <a:pt x="771" y="125"/>
                    </a:lnTo>
                    <a:lnTo>
                      <a:pt x="925" y="77"/>
                    </a:lnTo>
                    <a:lnTo>
                      <a:pt x="1082" y="35"/>
                    </a:lnTo>
                    <a:lnTo>
                      <a:pt x="1239" y="2"/>
                    </a:lnTo>
                    <a:lnTo>
                      <a:pt x="1247" y="1"/>
                    </a:lnTo>
                    <a:lnTo>
                      <a:pt x="125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non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algn="ctr" defTabSz="933006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defRPr/>
                </a:pPr>
                <a:r>
                  <a:rPr lang="x-none" sz="1100" kern="0">
                    <a:solidFill>
                      <a:schemeClr val="tx2"/>
                    </a:solidFill>
                    <a:latin typeface="TeleGrotesk Headline Ultra" pitchFamily="2" charset="0"/>
                  </a:rPr>
                  <a:t>XL</a:t>
                </a:r>
                <a:endParaRPr lang="x-none" sz="1100" kern="0" dirty="0">
                  <a:solidFill>
                    <a:schemeClr val="tx2"/>
                  </a:solidFill>
                  <a:latin typeface="TeleGrotesk Headline Ultra" pitchFamily="2" charset="0"/>
                </a:endParaRPr>
              </a:p>
            </p:txBody>
          </p:sp>
        </p:grpSp>
        <p:grpSp>
          <p:nvGrpSpPr>
            <p:cNvPr id="402" name="Group 23"/>
            <p:cNvGrpSpPr>
              <a:grpSpLocks noChangeAspect="1"/>
            </p:cNvGrpSpPr>
            <p:nvPr/>
          </p:nvGrpSpPr>
          <p:grpSpPr bwMode="auto">
            <a:xfrm>
              <a:off x="4164330" y="5908580"/>
              <a:ext cx="392755" cy="340470"/>
              <a:chOff x="2840" y="1215"/>
              <a:chExt cx="1892" cy="1646"/>
            </a:xfrm>
            <a:solidFill>
              <a:schemeClr val="bg1"/>
            </a:solidFill>
          </p:grpSpPr>
          <p:sp>
            <p:nvSpPr>
              <p:cNvPr id="412" name="Freeform 25"/>
              <p:cNvSpPr>
                <a:spLocks/>
              </p:cNvSpPr>
              <p:nvPr/>
            </p:nvSpPr>
            <p:spPr bwMode="auto">
              <a:xfrm>
                <a:off x="3608" y="1246"/>
                <a:ext cx="356" cy="128"/>
              </a:xfrm>
              <a:custGeom>
                <a:avLst/>
                <a:gdLst>
                  <a:gd name="T0" fmla="*/ 0 w 712"/>
                  <a:gd name="T1" fmla="*/ 0 h 257"/>
                  <a:gd name="T2" fmla="*/ 61 w 712"/>
                  <a:gd name="T3" fmla="*/ 13 h 257"/>
                  <a:gd name="T4" fmla="*/ 128 w 712"/>
                  <a:gd name="T5" fmla="*/ 26 h 257"/>
                  <a:gd name="T6" fmla="*/ 200 w 712"/>
                  <a:gd name="T7" fmla="*/ 35 h 257"/>
                  <a:gd name="T8" fmla="*/ 277 w 712"/>
                  <a:gd name="T9" fmla="*/ 40 h 257"/>
                  <a:gd name="T10" fmla="*/ 356 w 712"/>
                  <a:gd name="T11" fmla="*/ 42 h 257"/>
                  <a:gd name="T12" fmla="*/ 435 w 712"/>
                  <a:gd name="T13" fmla="*/ 40 h 257"/>
                  <a:gd name="T14" fmla="*/ 512 w 712"/>
                  <a:gd name="T15" fmla="*/ 35 h 257"/>
                  <a:gd name="T16" fmla="*/ 584 w 712"/>
                  <a:gd name="T17" fmla="*/ 26 h 257"/>
                  <a:gd name="T18" fmla="*/ 651 w 712"/>
                  <a:gd name="T19" fmla="*/ 13 h 257"/>
                  <a:gd name="T20" fmla="*/ 712 w 712"/>
                  <a:gd name="T21" fmla="*/ 0 h 257"/>
                  <a:gd name="T22" fmla="*/ 694 w 712"/>
                  <a:gd name="T23" fmla="*/ 43 h 257"/>
                  <a:gd name="T24" fmla="*/ 671 w 712"/>
                  <a:gd name="T25" fmla="*/ 85 h 257"/>
                  <a:gd name="T26" fmla="*/ 643 w 712"/>
                  <a:gd name="T27" fmla="*/ 122 h 257"/>
                  <a:gd name="T28" fmla="*/ 612 w 712"/>
                  <a:gd name="T29" fmla="*/ 157 h 257"/>
                  <a:gd name="T30" fmla="*/ 577 w 712"/>
                  <a:gd name="T31" fmla="*/ 186 h 257"/>
                  <a:gd name="T32" fmla="*/ 538 w 712"/>
                  <a:gd name="T33" fmla="*/ 211 h 257"/>
                  <a:gd name="T34" fmla="*/ 495 w 712"/>
                  <a:gd name="T35" fmla="*/ 230 h 257"/>
                  <a:gd name="T36" fmla="*/ 451 w 712"/>
                  <a:gd name="T37" fmla="*/ 245 h 257"/>
                  <a:gd name="T38" fmla="*/ 404 w 712"/>
                  <a:gd name="T39" fmla="*/ 255 h 257"/>
                  <a:gd name="T40" fmla="*/ 356 w 712"/>
                  <a:gd name="T41" fmla="*/ 257 h 257"/>
                  <a:gd name="T42" fmla="*/ 308 w 712"/>
                  <a:gd name="T43" fmla="*/ 255 h 257"/>
                  <a:gd name="T44" fmla="*/ 261 w 712"/>
                  <a:gd name="T45" fmla="*/ 245 h 257"/>
                  <a:gd name="T46" fmla="*/ 216 w 712"/>
                  <a:gd name="T47" fmla="*/ 230 h 257"/>
                  <a:gd name="T48" fmla="*/ 174 w 712"/>
                  <a:gd name="T49" fmla="*/ 211 h 257"/>
                  <a:gd name="T50" fmla="*/ 135 w 712"/>
                  <a:gd name="T51" fmla="*/ 186 h 257"/>
                  <a:gd name="T52" fmla="*/ 100 w 712"/>
                  <a:gd name="T53" fmla="*/ 157 h 257"/>
                  <a:gd name="T54" fmla="*/ 69 w 712"/>
                  <a:gd name="T55" fmla="*/ 122 h 257"/>
                  <a:gd name="T56" fmla="*/ 41 w 712"/>
                  <a:gd name="T57" fmla="*/ 85 h 257"/>
                  <a:gd name="T58" fmla="*/ 18 w 712"/>
                  <a:gd name="T59" fmla="*/ 43 h 257"/>
                  <a:gd name="T60" fmla="*/ 0 w 712"/>
                  <a:gd name="T61" fmla="*/ 0 h 2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712" h="257">
                    <a:moveTo>
                      <a:pt x="0" y="0"/>
                    </a:moveTo>
                    <a:lnTo>
                      <a:pt x="61" y="13"/>
                    </a:lnTo>
                    <a:lnTo>
                      <a:pt x="128" y="26"/>
                    </a:lnTo>
                    <a:lnTo>
                      <a:pt x="200" y="35"/>
                    </a:lnTo>
                    <a:lnTo>
                      <a:pt x="277" y="40"/>
                    </a:lnTo>
                    <a:lnTo>
                      <a:pt x="356" y="42"/>
                    </a:lnTo>
                    <a:lnTo>
                      <a:pt x="435" y="40"/>
                    </a:lnTo>
                    <a:lnTo>
                      <a:pt x="512" y="35"/>
                    </a:lnTo>
                    <a:lnTo>
                      <a:pt x="584" y="26"/>
                    </a:lnTo>
                    <a:lnTo>
                      <a:pt x="651" y="13"/>
                    </a:lnTo>
                    <a:lnTo>
                      <a:pt x="712" y="0"/>
                    </a:lnTo>
                    <a:lnTo>
                      <a:pt x="694" y="43"/>
                    </a:lnTo>
                    <a:lnTo>
                      <a:pt x="671" y="85"/>
                    </a:lnTo>
                    <a:lnTo>
                      <a:pt x="643" y="122"/>
                    </a:lnTo>
                    <a:lnTo>
                      <a:pt x="612" y="157"/>
                    </a:lnTo>
                    <a:lnTo>
                      <a:pt x="577" y="186"/>
                    </a:lnTo>
                    <a:lnTo>
                      <a:pt x="538" y="211"/>
                    </a:lnTo>
                    <a:lnTo>
                      <a:pt x="495" y="230"/>
                    </a:lnTo>
                    <a:lnTo>
                      <a:pt x="451" y="245"/>
                    </a:lnTo>
                    <a:lnTo>
                      <a:pt x="404" y="255"/>
                    </a:lnTo>
                    <a:lnTo>
                      <a:pt x="356" y="257"/>
                    </a:lnTo>
                    <a:lnTo>
                      <a:pt x="308" y="255"/>
                    </a:lnTo>
                    <a:lnTo>
                      <a:pt x="261" y="245"/>
                    </a:lnTo>
                    <a:lnTo>
                      <a:pt x="216" y="230"/>
                    </a:lnTo>
                    <a:lnTo>
                      <a:pt x="174" y="211"/>
                    </a:lnTo>
                    <a:lnTo>
                      <a:pt x="135" y="186"/>
                    </a:lnTo>
                    <a:lnTo>
                      <a:pt x="100" y="157"/>
                    </a:lnTo>
                    <a:lnTo>
                      <a:pt x="69" y="122"/>
                    </a:lnTo>
                    <a:lnTo>
                      <a:pt x="41" y="85"/>
                    </a:lnTo>
                    <a:lnTo>
                      <a:pt x="18" y="4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non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x-none" sz="1000">
                  <a:solidFill>
                    <a:schemeClr val="tx2"/>
                  </a:solidFill>
                </a:endParaRPr>
              </a:p>
            </p:txBody>
          </p:sp>
          <p:sp>
            <p:nvSpPr>
              <p:cNvPr id="413" name="Freeform 26"/>
              <p:cNvSpPr>
                <a:spLocks/>
              </p:cNvSpPr>
              <p:nvPr/>
            </p:nvSpPr>
            <p:spPr bwMode="auto">
              <a:xfrm>
                <a:off x="2840" y="1215"/>
                <a:ext cx="1892" cy="1646"/>
              </a:xfrm>
              <a:custGeom>
                <a:avLst/>
                <a:gdLst>
                  <a:gd name="T0" fmla="*/ 1255 w 3784"/>
                  <a:gd name="T1" fmla="*/ 0 h 3291"/>
                  <a:gd name="T2" fmla="*/ 1292 w 3784"/>
                  <a:gd name="T3" fmla="*/ 9 h 3291"/>
                  <a:gd name="T4" fmla="*/ 1322 w 3784"/>
                  <a:gd name="T5" fmla="*/ 32 h 3291"/>
                  <a:gd name="T6" fmla="*/ 1338 w 3784"/>
                  <a:gd name="T7" fmla="*/ 66 h 3291"/>
                  <a:gd name="T8" fmla="*/ 1376 w 3784"/>
                  <a:gd name="T9" fmla="*/ 179 h 3291"/>
                  <a:gd name="T10" fmla="*/ 1436 w 3784"/>
                  <a:gd name="T11" fmla="*/ 279 h 3291"/>
                  <a:gd name="T12" fmla="*/ 1513 w 3784"/>
                  <a:gd name="T13" fmla="*/ 365 h 3291"/>
                  <a:gd name="T14" fmla="*/ 1606 w 3784"/>
                  <a:gd name="T15" fmla="*/ 433 h 3291"/>
                  <a:gd name="T16" fmla="*/ 1713 w 3784"/>
                  <a:gd name="T17" fmla="*/ 481 h 3291"/>
                  <a:gd name="T18" fmla="*/ 1830 w 3784"/>
                  <a:gd name="T19" fmla="*/ 508 h 3291"/>
                  <a:gd name="T20" fmla="*/ 1954 w 3784"/>
                  <a:gd name="T21" fmla="*/ 508 h 3291"/>
                  <a:gd name="T22" fmla="*/ 2071 w 3784"/>
                  <a:gd name="T23" fmla="*/ 481 h 3291"/>
                  <a:gd name="T24" fmla="*/ 2177 w 3784"/>
                  <a:gd name="T25" fmla="*/ 433 h 3291"/>
                  <a:gd name="T26" fmla="*/ 2271 w 3784"/>
                  <a:gd name="T27" fmla="*/ 365 h 3291"/>
                  <a:gd name="T28" fmla="*/ 2348 w 3784"/>
                  <a:gd name="T29" fmla="*/ 279 h 3291"/>
                  <a:gd name="T30" fmla="*/ 2408 w 3784"/>
                  <a:gd name="T31" fmla="*/ 179 h 3291"/>
                  <a:gd name="T32" fmla="*/ 2446 w 3784"/>
                  <a:gd name="T33" fmla="*/ 66 h 3291"/>
                  <a:gd name="T34" fmla="*/ 2462 w 3784"/>
                  <a:gd name="T35" fmla="*/ 32 h 3291"/>
                  <a:gd name="T36" fmla="*/ 2492 w 3784"/>
                  <a:gd name="T37" fmla="*/ 9 h 3291"/>
                  <a:gd name="T38" fmla="*/ 2529 w 3784"/>
                  <a:gd name="T39" fmla="*/ 0 h 3291"/>
                  <a:gd name="T40" fmla="*/ 2537 w 3784"/>
                  <a:gd name="T41" fmla="*/ 1 h 3291"/>
                  <a:gd name="T42" fmla="*/ 2663 w 3784"/>
                  <a:gd name="T43" fmla="*/ 26 h 3291"/>
                  <a:gd name="T44" fmla="*/ 2897 w 3784"/>
                  <a:gd name="T45" fmla="*/ 88 h 3291"/>
                  <a:gd name="T46" fmla="*/ 3735 w 3784"/>
                  <a:gd name="T47" fmla="*/ 458 h 3291"/>
                  <a:gd name="T48" fmla="*/ 3769 w 3784"/>
                  <a:gd name="T49" fmla="*/ 487 h 3291"/>
                  <a:gd name="T50" fmla="*/ 3784 w 3784"/>
                  <a:gd name="T51" fmla="*/ 529 h 3291"/>
                  <a:gd name="T52" fmla="*/ 3775 w 3784"/>
                  <a:gd name="T53" fmla="*/ 574 h 3291"/>
                  <a:gd name="T54" fmla="*/ 3451 w 3784"/>
                  <a:gd name="T55" fmla="*/ 1209 h 3291"/>
                  <a:gd name="T56" fmla="*/ 3422 w 3784"/>
                  <a:gd name="T57" fmla="*/ 1230 h 3291"/>
                  <a:gd name="T58" fmla="*/ 3385 w 3784"/>
                  <a:gd name="T59" fmla="*/ 1238 h 3291"/>
                  <a:gd name="T60" fmla="*/ 3013 w 3784"/>
                  <a:gd name="T61" fmla="*/ 1133 h 3291"/>
                  <a:gd name="T62" fmla="*/ 3009 w 3784"/>
                  <a:gd name="T63" fmla="*/ 3229 h 3291"/>
                  <a:gd name="T64" fmla="*/ 2987 w 3784"/>
                  <a:gd name="T65" fmla="*/ 3266 h 3291"/>
                  <a:gd name="T66" fmla="*/ 2949 w 3784"/>
                  <a:gd name="T67" fmla="*/ 3289 h 3291"/>
                  <a:gd name="T68" fmla="*/ 856 w 3784"/>
                  <a:gd name="T69" fmla="*/ 3291 h 3291"/>
                  <a:gd name="T70" fmla="*/ 814 w 3784"/>
                  <a:gd name="T71" fmla="*/ 3279 h 3291"/>
                  <a:gd name="T72" fmla="*/ 783 w 3784"/>
                  <a:gd name="T73" fmla="*/ 3248 h 3291"/>
                  <a:gd name="T74" fmla="*/ 771 w 3784"/>
                  <a:gd name="T75" fmla="*/ 3206 h 3291"/>
                  <a:gd name="T76" fmla="*/ 423 w 3784"/>
                  <a:gd name="T77" fmla="*/ 1235 h 3291"/>
                  <a:gd name="T78" fmla="*/ 380 w 3784"/>
                  <a:gd name="T79" fmla="*/ 1237 h 3291"/>
                  <a:gd name="T80" fmla="*/ 347 w 3784"/>
                  <a:gd name="T81" fmla="*/ 1221 h 3291"/>
                  <a:gd name="T82" fmla="*/ 323 w 3784"/>
                  <a:gd name="T83" fmla="*/ 1192 h 3291"/>
                  <a:gd name="T84" fmla="*/ 1 w 3784"/>
                  <a:gd name="T85" fmla="*/ 552 h 3291"/>
                  <a:gd name="T86" fmla="*/ 5 w 3784"/>
                  <a:gd name="T87" fmla="*/ 508 h 3291"/>
                  <a:gd name="T88" fmla="*/ 30 w 3784"/>
                  <a:gd name="T89" fmla="*/ 470 h 3291"/>
                  <a:gd name="T90" fmla="*/ 771 w 3784"/>
                  <a:gd name="T91" fmla="*/ 125 h 3291"/>
                  <a:gd name="T92" fmla="*/ 1082 w 3784"/>
                  <a:gd name="T93" fmla="*/ 35 h 3291"/>
                  <a:gd name="T94" fmla="*/ 1247 w 3784"/>
                  <a:gd name="T95" fmla="*/ 1 h 32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3784" h="3291">
                    <a:moveTo>
                      <a:pt x="1255" y="0"/>
                    </a:moveTo>
                    <a:lnTo>
                      <a:pt x="1255" y="0"/>
                    </a:lnTo>
                    <a:lnTo>
                      <a:pt x="1275" y="2"/>
                    </a:lnTo>
                    <a:lnTo>
                      <a:pt x="1292" y="9"/>
                    </a:lnTo>
                    <a:lnTo>
                      <a:pt x="1308" y="19"/>
                    </a:lnTo>
                    <a:lnTo>
                      <a:pt x="1322" y="32"/>
                    </a:lnTo>
                    <a:lnTo>
                      <a:pt x="1332" y="48"/>
                    </a:lnTo>
                    <a:lnTo>
                      <a:pt x="1338" y="66"/>
                    </a:lnTo>
                    <a:lnTo>
                      <a:pt x="1354" y="124"/>
                    </a:lnTo>
                    <a:lnTo>
                      <a:pt x="1376" y="179"/>
                    </a:lnTo>
                    <a:lnTo>
                      <a:pt x="1403" y="231"/>
                    </a:lnTo>
                    <a:lnTo>
                      <a:pt x="1436" y="279"/>
                    </a:lnTo>
                    <a:lnTo>
                      <a:pt x="1472" y="324"/>
                    </a:lnTo>
                    <a:lnTo>
                      <a:pt x="1513" y="365"/>
                    </a:lnTo>
                    <a:lnTo>
                      <a:pt x="1557" y="402"/>
                    </a:lnTo>
                    <a:lnTo>
                      <a:pt x="1606" y="433"/>
                    </a:lnTo>
                    <a:lnTo>
                      <a:pt x="1659" y="460"/>
                    </a:lnTo>
                    <a:lnTo>
                      <a:pt x="1713" y="481"/>
                    </a:lnTo>
                    <a:lnTo>
                      <a:pt x="1770" y="497"/>
                    </a:lnTo>
                    <a:lnTo>
                      <a:pt x="1830" y="508"/>
                    </a:lnTo>
                    <a:lnTo>
                      <a:pt x="1892" y="510"/>
                    </a:lnTo>
                    <a:lnTo>
                      <a:pt x="1954" y="508"/>
                    </a:lnTo>
                    <a:lnTo>
                      <a:pt x="2014" y="497"/>
                    </a:lnTo>
                    <a:lnTo>
                      <a:pt x="2071" y="481"/>
                    </a:lnTo>
                    <a:lnTo>
                      <a:pt x="2125" y="460"/>
                    </a:lnTo>
                    <a:lnTo>
                      <a:pt x="2177" y="433"/>
                    </a:lnTo>
                    <a:lnTo>
                      <a:pt x="2226" y="402"/>
                    </a:lnTo>
                    <a:lnTo>
                      <a:pt x="2271" y="365"/>
                    </a:lnTo>
                    <a:lnTo>
                      <a:pt x="2312" y="324"/>
                    </a:lnTo>
                    <a:lnTo>
                      <a:pt x="2348" y="279"/>
                    </a:lnTo>
                    <a:lnTo>
                      <a:pt x="2380" y="231"/>
                    </a:lnTo>
                    <a:lnTo>
                      <a:pt x="2408" y="179"/>
                    </a:lnTo>
                    <a:lnTo>
                      <a:pt x="2430" y="124"/>
                    </a:lnTo>
                    <a:lnTo>
                      <a:pt x="2446" y="66"/>
                    </a:lnTo>
                    <a:lnTo>
                      <a:pt x="2452" y="48"/>
                    </a:lnTo>
                    <a:lnTo>
                      <a:pt x="2462" y="32"/>
                    </a:lnTo>
                    <a:lnTo>
                      <a:pt x="2476" y="19"/>
                    </a:lnTo>
                    <a:lnTo>
                      <a:pt x="2492" y="9"/>
                    </a:lnTo>
                    <a:lnTo>
                      <a:pt x="2509" y="2"/>
                    </a:lnTo>
                    <a:lnTo>
                      <a:pt x="2529" y="0"/>
                    </a:lnTo>
                    <a:lnTo>
                      <a:pt x="2529" y="0"/>
                    </a:lnTo>
                    <a:lnTo>
                      <a:pt x="2537" y="1"/>
                    </a:lnTo>
                    <a:lnTo>
                      <a:pt x="2545" y="2"/>
                    </a:lnTo>
                    <a:lnTo>
                      <a:pt x="2663" y="26"/>
                    </a:lnTo>
                    <a:lnTo>
                      <a:pt x="2780" y="55"/>
                    </a:lnTo>
                    <a:lnTo>
                      <a:pt x="2897" y="88"/>
                    </a:lnTo>
                    <a:lnTo>
                      <a:pt x="3013" y="125"/>
                    </a:lnTo>
                    <a:lnTo>
                      <a:pt x="3735" y="458"/>
                    </a:lnTo>
                    <a:lnTo>
                      <a:pt x="3753" y="470"/>
                    </a:lnTo>
                    <a:lnTo>
                      <a:pt x="3769" y="487"/>
                    </a:lnTo>
                    <a:lnTo>
                      <a:pt x="3779" y="508"/>
                    </a:lnTo>
                    <a:lnTo>
                      <a:pt x="3784" y="529"/>
                    </a:lnTo>
                    <a:lnTo>
                      <a:pt x="3782" y="552"/>
                    </a:lnTo>
                    <a:lnTo>
                      <a:pt x="3775" y="574"/>
                    </a:lnTo>
                    <a:lnTo>
                      <a:pt x="3461" y="1192"/>
                    </a:lnTo>
                    <a:lnTo>
                      <a:pt x="3451" y="1209"/>
                    </a:lnTo>
                    <a:lnTo>
                      <a:pt x="3437" y="1221"/>
                    </a:lnTo>
                    <a:lnTo>
                      <a:pt x="3422" y="1230"/>
                    </a:lnTo>
                    <a:lnTo>
                      <a:pt x="3403" y="1237"/>
                    </a:lnTo>
                    <a:lnTo>
                      <a:pt x="3385" y="1238"/>
                    </a:lnTo>
                    <a:lnTo>
                      <a:pt x="3361" y="1235"/>
                    </a:lnTo>
                    <a:lnTo>
                      <a:pt x="3013" y="1133"/>
                    </a:lnTo>
                    <a:lnTo>
                      <a:pt x="3013" y="3206"/>
                    </a:lnTo>
                    <a:lnTo>
                      <a:pt x="3009" y="3229"/>
                    </a:lnTo>
                    <a:lnTo>
                      <a:pt x="3001" y="3248"/>
                    </a:lnTo>
                    <a:lnTo>
                      <a:pt x="2987" y="3266"/>
                    </a:lnTo>
                    <a:lnTo>
                      <a:pt x="2970" y="3279"/>
                    </a:lnTo>
                    <a:lnTo>
                      <a:pt x="2949" y="3289"/>
                    </a:lnTo>
                    <a:lnTo>
                      <a:pt x="2928" y="3291"/>
                    </a:lnTo>
                    <a:lnTo>
                      <a:pt x="856" y="3291"/>
                    </a:lnTo>
                    <a:lnTo>
                      <a:pt x="833" y="3289"/>
                    </a:lnTo>
                    <a:lnTo>
                      <a:pt x="814" y="3279"/>
                    </a:lnTo>
                    <a:lnTo>
                      <a:pt x="797" y="3266"/>
                    </a:lnTo>
                    <a:lnTo>
                      <a:pt x="783" y="3248"/>
                    </a:lnTo>
                    <a:lnTo>
                      <a:pt x="774" y="3229"/>
                    </a:lnTo>
                    <a:lnTo>
                      <a:pt x="771" y="3206"/>
                    </a:lnTo>
                    <a:lnTo>
                      <a:pt x="771" y="1133"/>
                    </a:lnTo>
                    <a:lnTo>
                      <a:pt x="423" y="1235"/>
                    </a:lnTo>
                    <a:lnTo>
                      <a:pt x="399" y="1238"/>
                    </a:lnTo>
                    <a:lnTo>
                      <a:pt x="380" y="1237"/>
                    </a:lnTo>
                    <a:lnTo>
                      <a:pt x="362" y="1230"/>
                    </a:lnTo>
                    <a:lnTo>
                      <a:pt x="347" y="1221"/>
                    </a:lnTo>
                    <a:lnTo>
                      <a:pt x="333" y="1209"/>
                    </a:lnTo>
                    <a:lnTo>
                      <a:pt x="323" y="1192"/>
                    </a:lnTo>
                    <a:lnTo>
                      <a:pt x="9" y="574"/>
                    </a:lnTo>
                    <a:lnTo>
                      <a:pt x="1" y="552"/>
                    </a:lnTo>
                    <a:lnTo>
                      <a:pt x="0" y="529"/>
                    </a:lnTo>
                    <a:lnTo>
                      <a:pt x="5" y="508"/>
                    </a:lnTo>
                    <a:lnTo>
                      <a:pt x="15" y="487"/>
                    </a:lnTo>
                    <a:lnTo>
                      <a:pt x="30" y="470"/>
                    </a:lnTo>
                    <a:lnTo>
                      <a:pt x="49" y="458"/>
                    </a:lnTo>
                    <a:lnTo>
                      <a:pt x="771" y="125"/>
                    </a:lnTo>
                    <a:lnTo>
                      <a:pt x="925" y="77"/>
                    </a:lnTo>
                    <a:lnTo>
                      <a:pt x="1082" y="35"/>
                    </a:lnTo>
                    <a:lnTo>
                      <a:pt x="1239" y="2"/>
                    </a:lnTo>
                    <a:lnTo>
                      <a:pt x="1247" y="1"/>
                    </a:lnTo>
                    <a:lnTo>
                      <a:pt x="125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non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algn="ctr" defTabSz="933006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defRPr/>
                </a:pPr>
                <a:r>
                  <a:rPr lang="x-none" sz="1100" kern="0">
                    <a:solidFill>
                      <a:schemeClr val="tx2"/>
                    </a:solidFill>
                    <a:latin typeface="TeleGrotesk Headline Ultra" pitchFamily="2" charset="0"/>
                  </a:rPr>
                  <a:t>l</a:t>
                </a:r>
                <a:endParaRPr lang="x-none" sz="1100" kern="0" dirty="0">
                  <a:solidFill>
                    <a:schemeClr val="tx2"/>
                  </a:solidFill>
                  <a:latin typeface="TeleGrotesk Headline Ultra" pitchFamily="2" charset="0"/>
                </a:endParaRPr>
              </a:p>
            </p:txBody>
          </p:sp>
        </p:grpSp>
        <p:grpSp>
          <p:nvGrpSpPr>
            <p:cNvPr id="403" name="Group 23"/>
            <p:cNvGrpSpPr>
              <a:grpSpLocks noChangeAspect="1"/>
            </p:cNvGrpSpPr>
            <p:nvPr/>
          </p:nvGrpSpPr>
          <p:grpSpPr bwMode="auto">
            <a:xfrm>
              <a:off x="3769951" y="5939532"/>
              <a:ext cx="357050" cy="309518"/>
              <a:chOff x="3029" y="1215"/>
              <a:chExt cx="1892" cy="1646"/>
            </a:xfrm>
            <a:solidFill>
              <a:schemeClr val="bg1"/>
            </a:solidFill>
          </p:grpSpPr>
          <p:sp>
            <p:nvSpPr>
              <p:cNvPr id="411" name="Freeform 26"/>
              <p:cNvSpPr>
                <a:spLocks/>
              </p:cNvSpPr>
              <p:nvPr/>
            </p:nvSpPr>
            <p:spPr bwMode="auto">
              <a:xfrm>
                <a:off x="3029" y="1215"/>
                <a:ext cx="1892" cy="1646"/>
              </a:xfrm>
              <a:custGeom>
                <a:avLst/>
                <a:gdLst>
                  <a:gd name="T0" fmla="*/ 1255 w 3784"/>
                  <a:gd name="T1" fmla="*/ 0 h 3291"/>
                  <a:gd name="T2" fmla="*/ 1292 w 3784"/>
                  <a:gd name="T3" fmla="*/ 9 h 3291"/>
                  <a:gd name="T4" fmla="*/ 1322 w 3784"/>
                  <a:gd name="T5" fmla="*/ 32 h 3291"/>
                  <a:gd name="T6" fmla="*/ 1338 w 3784"/>
                  <a:gd name="T7" fmla="*/ 66 h 3291"/>
                  <a:gd name="T8" fmla="*/ 1376 w 3784"/>
                  <a:gd name="T9" fmla="*/ 179 h 3291"/>
                  <a:gd name="T10" fmla="*/ 1436 w 3784"/>
                  <a:gd name="T11" fmla="*/ 279 h 3291"/>
                  <a:gd name="T12" fmla="*/ 1513 w 3784"/>
                  <a:gd name="T13" fmla="*/ 365 h 3291"/>
                  <a:gd name="T14" fmla="*/ 1606 w 3784"/>
                  <a:gd name="T15" fmla="*/ 433 h 3291"/>
                  <a:gd name="T16" fmla="*/ 1713 w 3784"/>
                  <a:gd name="T17" fmla="*/ 481 h 3291"/>
                  <a:gd name="T18" fmla="*/ 1830 w 3784"/>
                  <a:gd name="T19" fmla="*/ 508 h 3291"/>
                  <a:gd name="T20" fmla="*/ 1954 w 3784"/>
                  <a:gd name="T21" fmla="*/ 508 h 3291"/>
                  <a:gd name="T22" fmla="*/ 2071 w 3784"/>
                  <a:gd name="T23" fmla="*/ 481 h 3291"/>
                  <a:gd name="T24" fmla="*/ 2177 w 3784"/>
                  <a:gd name="T25" fmla="*/ 433 h 3291"/>
                  <a:gd name="T26" fmla="*/ 2271 w 3784"/>
                  <a:gd name="T27" fmla="*/ 365 h 3291"/>
                  <a:gd name="T28" fmla="*/ 2348 w 3784"/>
                  <a:gd name="T29" fmla="*/ 279 h 3291"/>
                  <a:gd name="T30" fmla="*/ 2408 w 3784"/>
                  <a:gd name="T31" fmla="*/ 179 h 3291"/>
                  <a:gd name="T32" fmla="*/ 2446 w 3784"/>
                  <a:gd name="T33" fmla="*/ 66 h 3291"/>
                  <a:gd name="T34" fmla="*/ 2462 w 3784"/>
                  <a:gd name="T35" fmla="*/ 32 h 3291"/>
                  <a:gd name="T36" fmla="*/ 2492 w 3784"/>
                  <a:gd name="T37" fmla="*/ 9 h 3291"/>
                  <a:gd name="T38" fmla="*/ 2529 w 3784"/>
                  <a:gd name="T39" fmla="*/ 0 h 3291"/>
                  <a:gd name="T40" fmla="*/ 2537 w 3784"/>
                  <a:gd name="T41" fmla="*/ 1 h 3291"/>
                  <a:gd name="T42" fmla="*/ 2663 w 3784"/>
                  <a:gd name="T43" fmla="*/ 26 h 3291"/>
                  <a:gd name="T44" fmla="*/ 2897 w 3784"/>
                  <a:gd name="T45" fmla="*/ 88 h 3291"/>
                  <a:gd name="T46" fmla="*/ 3735 w 3784"/>
                  <a:gd name="T47" fmla="*/ 458 h 3291"/>
                  <a:gd name="T48" fmla="*/ 3769 w 3784"/>
                  <a:gd name="T49" fmla="*/ 487 h 3291"/>
                  <a:gd name="T50" fmla="*/ 3784 w 3784"/>
                  <a:gd name="T51" fmla="*/ 529 h 3291"/>
                  <a:gd name="T52" fmla="*/ 3775 w 3784"/>
                  <a:gd name="T53" fmla="*/ 574 h 3291"/>
                  <a:gd name="T54" fmla="*/ 3451 w 3784"/>
                  <a:gd name="T55" fmla="*/ 1209 h 3291"/>
                  <a:gd name="T56" fmla="*/ 3422 w 3784"/>
                  <a:gd name="T57" fmla="*/ 1230 h 3291"/>
                  <a:gd name="T58" fmla="*/ 3385 w 3784"/>
                  <a:gd name="T59" fmla="*/ 1238 h 3291"/>
                  <a:gd name="T60" fmla="*/ 3013 w 3784"/>
                  <a:gd name="T61" fmla="*/ 1133 h 3291"/>
                  <a:gd name="T62" fmla="*/ 3009 w 3784"/>
                  <a:gd name="T63" fmla="*/ 3229 h 3291"/>
                  <a:gd name="T64" fmla="*/ 2987 w 3784"/>
                  <a:gd name="T65" fmla="*/ 3266 h 3291"/>
                  <a:gd name="T66" fmla="*/ 2949 w 3784"/>
                  <a:gd name="T67" fmla="*/ 3289 h 3291"/>
                  <a:gd name="T68" fmla="*/ 856 w 3784"/>
                  <a:gd name="T69" fmla="*/ 3291 h 3291"/>
                  <a:gd name="T70" fmla="*/ 814 w 3784"/>
                  <a:gd name="T71" fmla="*/ 3279 h 3291"/>
                  <a:gd name="T72" fmla="*/ 783 w 3784"/>
                  <a:gd name="T73" fmla="*/ 3248 h 3291"/>
                  <a:gd name="T74" fmla="*/ 771 w 3784"/>
                  <a:gd name="T75" fmla="*/ 3206 h 3291"/>
                  <a:gd name="T76" fmla="*/ 423 w 3784"/>
                  <a:gd name="T77" fmla="*/ 1235 h 3291"/>
                  <a:gd name="T78" fmla="*/ 380 w 3784"/>
                  <a:gd name="T79" fmla="*/ 1237 h 3291"/>
                  <a:gd name="T80" fmla="*/ 347 w 3784"/>
                  <a:gd name="T81" fmla="*/ 1221 h 3291"/>
                  <a:gd name="T82" fmla="*/ 323 w 3784"/>
                  <a:gd name="T83" fmla="*/ 1192 h 3291"/>
                  <a:gd name="T84" fmla="*/ 1 w 3784"/>
                  <a:gd name="T85" fmla="*/ 552 h 3291"/>
                  <a:gd name="T86" fmla="*/ 5 w 3784"/>
                  <a:gd name="T87" fmla="*/ 508 h 3291"/>
                  <a:gd name="T88" fmla="*/ 30 w 3784"/>
                  <a:gd name="T89" fmla="*/ 470 h 3291"/>
                  <a:gd name="T90" fmla="*/ 771 w 3784"/>
                  <a:gd name="T91" fmla="*/ 125 h 3291"/>
                  <a:gd name="T92" fmla="*/ 1082 w 3784"/>
                  <a:gd name="T93" fmla="*/ 35 h 3291"/>
                  <a:gd name="T94" fmla="*/ 1247 w 3784"/>
                  <a:gd name="T95" fmla="*/ 1 h 32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3784" h="3291">
                    <a:moveTo>
                      <a:pt x="1255" y="0"/>
                    </a:moveTo>
                    <a:lnTo>
                      <a:pt x="1255" y="0"/>
                    </a:lnTo>
                    <a:lnTo>
                      <a:pt x="1275" y="2"/>
                    </a:lnTo>
                    <a:lnTo>
                      <a:pt x="1292" y="9"/>
                    </a:lnTo>
                    <a:lnTo>
                      <a:pt x="1308" y="19"/>
                    </a:lnTo>
                    <a:lnTo>
                      <a:pt x="1322" y="32"/>
                    </a:lnTo>
                    <a:lnTo>
                      <a:pt x="1332" y="48"/>
                    </a:lnTo>
                    <a:lnTo>
                      <a:pt x="1338" y="66"/>
                    </a:lnTo>
                    <a:lnTo>
                      <a:pt x="1354" y="124"/>
                    </a:lnTo>
                    <a:lnTo>
                      <a:pt x="1376" y="179"/>
                    </a:lnTo>
                    <a:lnTo>
                      <a:pt x="1403" y="231"/>
                    </a:lnTo>
                    <a:lnTo>
                      <a:pt x="1436" y="279"/>
                    </a:lnTo>
                    <a:lnTo>
                      <a:pt x="1472" y="324"/>
                    </a:lnTo>
                    <a:lnTo>
                      <a:pt x="1513" y="365"/>
                    </a:lnTo>
                    <a:lnTo>
                      <a:pt x="1557" y="402"/>
                    </a:lnTo>
                    <a:lnTo>
                      <a:pt x="1606" y="433"/>
                    </a:lnTo>
                    <a:lnTo>
                      <a:pt x="1659" y="460"/>
                    </a:lnTo>
                    <a:lnTo>
                      <a:pt x="1713" y="481"/>
                    </a:lnTo>
                    <a:lnTo>
                      <a:pt x="1770" y="497"/>
                    </a:lnTo>
                    <a:lnTo>
                      <a:pt x="1830" y="508"/>
                    </a:lnTo>
                    <a:lnTo>
                      <a:pt x="1892" y="510"/>
                    </a:lnTo>
                    <a:lnTo>
                      <a:pt x="1954" y="508"/>
                    </a:lnTo>
                    <a:lnTo>
                      <a:pt x="2014" y="497"/>
                    </a:lnTo>
                    <a:lnTo>
                      <a:pt x="2071" y="481"/>
                    </a:lnTo>
                    <a:lnTo>
                      <a:pt x="2125" y="460"/>
                    </a:lnTo>
                    <a:lnTo>
                      <a:pt x="2177" y="433"/>
                    </a:lnTo>
                    <a:lnTo>
                      <a:pt x="2226" y="402"/>
                    </a:lnTo>
                    <a:lnTo>
                      <a:pt x="2271" y="365"/>
                    </a:lnTo>
                    <a:lnTo>
                      <a:pt x="2312" y="324"/>
                    </a:lnTo>
                    <a:lnTo>
                      <a:pt x="2348" y="279"/>
                    </a:lnTo>
                    <a:lnTo>
                      <a:pt x="2380" y="231"/>
                    </a:lnTo>
                    <a:lnTo>
                      <a:pt x="2408" y="179"/>
                    </a:lnTo>
                    <a:lnTo>
                      <a:pt x="2430" y="124"/>
                    </a:lnTo>
                    <a:lnTo>
                      <a:pt x="2446" y="66"/>
                    </a:lnTo>
                    <a:lnTo>
                      <a:pt x="2452" y="48"/>
                    </a:lnTo>
                    <a:lnTo>
                      <a:pt x="2462" y="32"/>
                    </a:lnTo>
                    <a:lnTo>
                      <a:pt x="2476" y="19"/>
                    </a:lnTo>
                    <a:lnTo>
                      <a:pt x="2492" y="9"/>
                    </a:lnTo>
                    <a:lnTo>
                      <a:pt x="2509" y="2"/>
                    </a:lnTo>
                    <a:lnTo>
                      <a:pt x="2529" y="0"/>
                    </a:lnTo>
                    <a:lnTo>
                      <a:pt x="2529" y="0"/>
                    </a:lnTo>
                    <a:lnTo>
                      <a:pt x="2537" y="1"/>
                    </a:lnTo>
                    <a:lnTo>
                      <a:pt x="2545" y="2"/>
                    </a:lnTo>
                    <a:lnTo>
                      <a:pt x="2663" y="26"/>
                    </a:lnTo>
                    <a:lnTo>
                      <a:pt x="2780" y="55"/>
                    </a:lnTo>
                    <a:lnTo>
                      <a:pt x="2897" y="88"/>
                    </a:lnTo>
                    <a:lnTo>
                      <a:pt x="3013" y="125"/>
                    </a:lnTo>
                    <a:lnTo>
                      <a:pt x="3735" y="458"/>
                    </a:lnTo>
                    <a:lnTo>
                      <a:pt x="3753" y="470"/>
                    </a:lnTo>
                    <a:lnTo>
                      <a:pt x="3769" y="487"/>
                    </a:lnTo>
                    <a:lnTo>
                      <a:pt x="3779" y="508"/>
                    </a:lnTo>
                    <a:lnTo>
                      <a:pt x="3784" y="529"/>
                    </a:lnTo>
                    <a:lnTo>
                      <a:pt x="3782" y="552"/>
                    </a:lnTo>
                    <a:lnTo>
                      <a:pt x="3775" y="574"/>
                    </a:lnTo>
                    <a:lnTo>
                      <a:pt x="3461" y="1192"/>
                    </a:lnTo>
                    <a:lnTo>
                      <a:pt x="3451" y="1209"/>
                    </a:lnTo>
                    <a:lnTo>
                      <a:pt x="3437" y="1221"/>
                    </a:lnTo>
                    <a:lnTo>
                      <a:pt x="3422" y="1230"/>
                    </a:lnTo>
                    <a:lnTo>
                      <a:pt x="3403" y="1237"/>
                    </a:lnTo>
                    <a:lnTo>
                      <a:pt x="3385" y="1238"/>
                    </a:lnTo>
                    <a:lnTo>
                      <a:pt x="3361" y="1235"/>
                    </a:lnTo>
                    <a:lnTo>
                      <a:pt x="3013" y="1133"/>
                    </a:lnTo>
                    <a:lnTo>
                      <a:pt x="3013" y="3206"/>
                    </a:lnTo>
                    <a:lnTo>
                      <a:pt x="3009" y="3229"/>
                    </a:lnTo>
                    <a:lnTo>
                      <a:pt x="3001" y="3248"/>
                    </a:lnTo>
                    <a:lnTo>
                      <a:pt x="2987" y="3266"/>
                    </a:lnTo>
                    <a:lnTo>
                      <a:pt x="2970" y="3279"/>
                    </a:lnTo>
                    <a:lnTo>
                      <a:pt x="2949" y="3289"/>
                    </a:lnTo>
                    <a:lnTo>
                      <a:pt x="2928" y="3291"/>
                    </a:lnTo>
                    <a:lnTo>
                      <a:pt x="856" y="3291"/>
                    </a:lnTo>
                    <a:lnTo>
                      <a:pt x="833" y="3289"/>
                    </a:lnTo>
                    <a:lnTo>
                      <a:pt x="814" y="3279"/>
                    </a:lnTo>
                    <a:lnTo>
                      <a:pt x="797" y="3266"/>
                    </a:lnTo>
                    <a:lnTo>
                      <a:pt x="783" y="3248"/>
                    </a:lnTo>
                    <a:lnTo>
                      <a:pt x="774" y="3229"/>
                    </a:lnTo>
                    <a:lnTo>
                      <a:pt x="771" y="3206"/>
                    </a:lnTo>
                    <a:lnTo>
                      <a:pt x="771" y="1133"/>
                    </a:lnTo>
                    <a:lnTo>
                      <a:pt x="423" y="1235"/>
                    </a:lnTo>
                    <a:lnTo>
                      <a:pt x="399" y="1238"/>
                    </a:lnTo>
                    <a:lnTo>
                      <a:pt x="380" y="1237"/>
                    </a:lnTo>
                    <a:lnTo>
                      <a:pt x="362" y="1230"/>
                    </a:lnTo>
                    <a:lnTo>
                      <a:pt x="347" y="1221"/>
                    </a:lnTo>
                    <a:lnTo>
                      <a:pt x="333" y="1209"/>
                    </a:lnTo>
                    <a:lnTo>
                      <a:pt x="323" y="1192"/>
                    </a:lnTo>
                    <a:lnTo>
                      <a:pt x="9" y="574"/>
                    </a:lnTo>
                    <a:lnTo>
                      <a:pt x="1" y="552"/>
                    </a:lnTo>
                    <a:lnTo>
                      <a:pt x="0" y="529"/>
                    </a:lnTo>
                    <a:lnTo>
                      <a:pt x="5" y="508"/>
                    </a:lnTo>
                    <a:lnTo>
                      <a:pt x="15" y="487"/>
                    </a:lnTo>
                    <a:lnTo>
                      <a:pt x="30" y="470"/>
                    </a:lnTo>
                    <a:lnTo>
                      <a:pt x="49" y="458"/>
                    </a:lnTo>
                    <a:lnTo>
                      <a:pt x="771" y="125"/>
                    </a:lnTo>
                    <a:lnTo>
                      <a:pt x="925" y="77"/>
                    </a:lnTo>
                    <a:lnTo>
                      <a:pt x="1082" y="35"/>
                    </a:lnTo>
                    <a:lnTo>
                      <a:pt x="1239" y="2"/>
                    </a:lnTo>
                    <a:lnTo>
                      <a:pt x="1247" y="1"/>
                    </a:lnTo>
                    <a:lnTo>
                      <a:pt x="125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non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algn="ctr" defTabSz="933006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defRPr/>
                </a:pPr>
                <a:r>
                  <a:rPr lang="x-none" sz="900" kern="0">
                    <a:solidFill>
                      <a:schemeClr val="tx2"/>
                    </a:solidFill>
                    <a:latin typeface="TeleGrotesk Headline Ultra" pitchFamily="2" charset="0"/>
                  </a:rPr>
                  <a:t>M</a:t>
                </a:r>
                <a:endParaRPr lang="x-none" sz="900" kern="0" dirty="0">
                  <a:solidFill>
                    <a:schemeClr val="tx2"/>
                  </a:solidFill>
                  <a:latin typeface="TeleGrotesk Headline Ultra" pitchFamily="2" charset="0"/>
                </a:endParaRPr>
              </a:p>
            </p:txBody>
          </p:sp>
          <p:sp>
            <p:nvSpPr>
              <p:cNvPr id="410" name="Freeform 25"/>
              <p:cNvSpPr>
                <a:spLocks/>
              </p:cNvSpPr>
              <p:nvPr/>
            </p:nvSpPr>
            <p:spPr bwMode="auto">
              <a:xfrm>
                <a:off x="3797" y="1246"/>
                <a:ext cx="356" cy="128"/>
              </a:xfrm>
              <a:custGeom>
                <a:avLst/>
                <a:gdLst>
                  <a:gd name="T0" fmla="*/ 0 w 712"/>
                  <a:gd name="T1" fmla="*/ 0 h 257"/>
                  <a:gd name="T2" fmla="*/ 61 w 712"/>
                  <a:gd name="T3" fmla="*/ 13 h 257"/>
                  <a:gd name="T4" fmla="*/ 128 w 712"/>
                  <a:gd name="T5" fmla="*/ 26 h 257"/>
                  <a:gd name="T6" fmla="*/ 200 w 712"/>
                  <a:gd name="T7" fmla="*/ 35 h 257"/>
                  <a:gd name="T8" fmla="*/ 277 w 712"/>
                  <a:gd name="T9" fmla="*/ 40 h 257"/>
                  <a:gd name="T10" fmla="*/ 356 w 712"/>
                  <a:gd name="T11" fmla="*/ 42 h 257"/>
                  <a:gd name="T12" fmla="*/ 435 w 712"/>
                  <a:gd name="T13" fmla="*/ 40 h 257"/>
                  <a:gd name="T14" fmla="*/ 512 w 712"/>
                  <a:gd name="T15" fmla="*/ 35 h 257"/>
                  <a:gd name="T16" fmla="*/ 584 w 712"/>
                  <a:gd name="T17" fmla="*/ 26 h 257"/>
                  <a:gd name="T18" fmla="*/ 651 w 712"/>
                  <a:gd name="T19" fmla="*/ 13 h 257"/>
                  <a:gd name="T20" fmla="*/ 712 w 712"/>
                  <a:gd name="T21" fmla="*/ 0 h 257"/>
                  <a:gd name="T22" fmla="*/ 694 w 712"/>
                  <a:gd name="T23" fmla="*/ 43 h 257"/>
                  <a:gd name="T24" fmla="*/ 671 w 712"/>
                  <a:gd name="T25" fmla="*/ 85 h 257"/>
                  <a:gd name="T26" fmla="*/ 643 w 712"/>
                  <a:gd name="T27" fmla="*/ 122 h 257"/>
                  <a:gd name="T28" fmla="*/ 612 w 712"/>
                  <a:gd name="T29" fmla="*/ 157 h 257"/>
                  <a:gd name="T30" fmla="*/ 577 w 712"/>
                  <a:gd name="T31" fmla="*/ 186 h 257"/>
                  <a:gd name="T32" fmla="*/ 538 w 712"/>
                  <a:gd name="T33" fmla="*/ 211 h 257"/>
                  <a:gd name="T34" fmla="*/ 495 w 712"/>
                  <a:gd name="T35" fmla="*/ 230 h 257"/>
                  <a:gd name="T36" fmla="*/ 451 w 712"/>
                  <a:gd name="T37" fmla="*/ 245 h 257"/>
                  <a:gd name="T38" fmla="*/ 404 w 712"/>
                  <a:gd name="T39" fmla="*/ 255 h 257"/>
                  <a:gd name="T40" fmla="*/ 356 w 712"/>
                  <a:gd name="T41" fmla="*/ 257 h 257"/>
                  <a:gd name="T42" fmla="*/ 308 w 712"/>
                  <a:gd name="T43" fmla="*/ 255 h 257"/>
                  <a:gd name="T44" fmla="*/ 261 w 712"/>
                  <a:gd name="T45" fmla="*/ 245 h 257"/>
                  <a:gd name="T46" fmla="*/ 216 w 712"/>
                  <a:gd name="T47" fmla="*/ 230 h 257"/>
                  <a:gd name="T48" fmla="*/ 174 w 712"/>
                  <a:gd name="T49" fmla="*/ 211 h 257"/>
                  <a:gd name="T50" fmla="*/ 135 w 712"/>
                  <a:gd name="T51" fmla="*/ 186 h 257"/>
                  <a:gd name="T52" fmla="*/ 100 w 712"/>
                  <a:gd name="T53" fmla="*/ 157 h 257"/>
                  <a:gd name="T54" fmla="*/ 69 w 712"/>
                  <a:gd name="T55" fmla="*/ 122 h 257"/>
                  <a:gd name="T56" fmla="*/ 41 w 712"/>
                  <a:gd name="T57" fmla="*/ 85 h 257"/>
                  <a:gd name="T58" fmla="*/ 18 w 712"/>
                  <a:gd name="T59" fmla="*/ 43 h 257"/>
                  <a:gd name="T60" fmla="*/ 0 w 712"/>
                  <a:gd name="T61" fmla="*/ 0 h 2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712" h="257">
                    <a:moveTo>
                      <a:pt x="0" y="0"/>
                    </a:moveTo>
                    <a:lnTo>
                      <a:pt x="61" y="13"/>
                    </a:lnTo>
                    <a:lnTo>
                      <a:pt x="128" y="26"/>
                    </a:lnTo>
                    <a:lnTo>
                      <a:pt x="200" y="35"/>
                    </a:lnTo>
                    <a:lnTo>
                      <a:pt x="277" y="40"/>
                    </a:lnTo>
                    <a:lnTo>
                      <a:pt x="356" y="42"/>
                    </a:lnTo>
                    <a:lnTo>
                      <a:pt x="435" y="40"/>
                    </a:lnTo>
                    <a:lnTo>
                      <a:pt x="512" y="35"/>
                    </a:lnTo>
                    <a:lnTo>
                      <a:pt x="584" y="26"/>
                    </a:lnTo>
                    <a:lnTo>
                      <a:pt x="651" y="13"/>
                    </a:lnTo>
                    <a:lnTo>
                      <a:pt x="712" y="0"/>
                    </a:lnTo>
                    <a:lnTo>
                      <a:pt x="694" y="43"/>
                    </a:lnTo>
                    <a:lnTo>
                      <a:pt x="671" y="85"/>
                    </a:lnTo>
                    <a:lnTo>
                      <a:pt x="643" y="122"/>
                    </a:lnTo>
                    <a:lnTo>
                      <a:pt x="612" y="157"/>
                    </a:lnTo>
                    <a:lnTo>
                      <a:pt x="577" y="186"/>
                    </a:lnTo>
                    <a:lnTo>
                      <a:pt x="538" y="211"/>
                    </a:lnTo>
                    <a:lnTo>
                      <a:pt x="495" y="230"/>
                    </a:lnTo>
                    <a:lnTo>
                      <a:pt x="451" y="245"/>
                    </a:lnTo>
                    <a:lnTo>
                      <a:pt x="404" y="255"/>
                    </a:lnTo>
                    <a:lnTo>
                      <a:pt x="356" y="257"/>
                    </a:lnTo>
                    <a:lnTo>
                      <a:pt x="308" y="255"/>
                    </a:lnTo>
                    <a:lnTo>
                      <a:pt x="261" y="245"/>
                    </a:lnTo>
                    <a:lnTo>
                      <a:pt x="216" y="230"/>
                    </a:lnTo>
                    <a:lnTo>
                      <a:pt x="174" y="211"/>
                    </a:lnTo>
                    <a:lnTo>
                      <a:pt x="135" y="186"/>
                    </a:lnTo>
                    <a:lnTo>
                      <a:pt x="100" y="157"/>
                    </a:lnTo>
                    <a:lnTo>
                      <a:pt x="69" y="122"/>
                    </a:lnTo>
                    <a:lnTo>
                      <a:pt x="41" y="85"/>
                    </a:lnTo>
                    <a:lnTo>
                      <a:pt x="18" y="4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non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x-none" sz="100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404" name="Group 23"/>
            <p:cNvGrpSpPr>
              <a:grpSpLocks noChangeAspect="1"/>
            </p:cNvGrpSpPr>
            <p:nvPr/>
          </p:nvGrpSpPr>
          <p:grpSpPr bwMode="auto">
            <a:xfrm>
              <a:off x="3408507" y="5967670"/>
              <a:ext cx="324591" cy="281380"/>
              <a:chOff x="3257" y="1215"/>
              <a:chExt cx="1892" cy="1646"/>
            </a:xfrm>
            <a:solidFill>
              <a:schemeClr val="bg1"/>
            </a:solidFill>
          </p:grpSpPr>
          <p:sp>
            <p:nvSpPr>
              <p:cNvPr id="409" name="Freeform 26"/>
              <p:cNvSpPr>
                <a:spLocks/>
              </p:cNvSpPr>
              <p:nvPr/>
            </p:nvSpPr>
            <p:spPr bwMode="auto">
              <a:xfrm>
                <a:off x="3257" y="1215"/>
                <a:ext cx="1892" cy="1646"/>
              </a:xfrm>
              <a:custGeom>
                <a:avLst/>
                <a:gdLst>
                  <a:gd name="T0" fmla="*/ 1255 w 3784"/>
                  <a:gd name="T1" fmla="*/ 0 h 3291"/>
                  <a:gd name="T2" fmla="*/ 1292 w 3784"/>
                  <a:gd name="T3" fmla="*/ 9 h 3291"/>
                  <a:gd name="T4" fmla="*/ 1322 w 3784"/>
                  <a:gd name="T5" fmla="*/ 32 h 3291"/>
                  <a:gd name="T6" fmla="*/ 1338 w 3784"/>
                  <a:gd name="T7" fmla="*/ 66 h 3291"/>
                  <a:gd name="T8" fmla="*/ 1376 w 3784"/>
                  <a:gd name="T9" fmla="*/ 179 h 3291"/>
                  <a:gd name="T10" fmla="*/ 1436 w 3784"/>
                  <a:gd name="T11" fmla="*/ 279 h 3291"/>
                  <a:gd name="T12" fmla="*/ 1513 w 3784"/>
                  <a:gd name="T13" fmla="*/ 365 h 3291"/>
                  <a:gd name="T14" fmla="*/ 1606 w 3784"/>
                  <a:gd name="T15" fmla="*/ 433 h 3291"/>
                  <a:gd name="T16" fmla="*/ 1713 w 3784"/>
                  <a:gd name="T17" fmla="*/ 481 h 3291"/>
                  <a:gd name="T18" fmla="*/ 1830 w 3784"/>
                  <a:gd name="T19" fmla="*/ 508 h 3291"/>
                  <a:gd name="T20" fmla="*/ 1954 w 3784"/>
                  <a:gd name="T21" fmla="*/ 508 h 3291"/>
                  <a:gd name="T22" fmla="*/ 2071 w 3784"/>
                  <a:gd name="T23" fmla="*/ 481 h 3291"/>
                  <a:gd name="T24" fmla="*/ 2177 w 3784"/>
                  <a:gd name="T25" fmla="*/ 433 h 3291"/>
                  <a:gd name="T26" fmla="*/ 2271 w 3784"/>
                  <a:gd name="T27" fmla="*/ 365 h 3291"/>
                  <a:gd name="T28" fmla="*/ 2348 w 3784"/>
                  <a:gd name="T29" fmla="*/ 279 h 3291"/>
                  <a:gd name="T30" fmla="*/ 2408 w 3784"/>
                  <a:gd name="T31" fmla="*/ 179 h 3291"/>
                  <a:gd name="T32" fmla="*/ 2446 w 3784"/>
                  <a:gd name="T33" fmla="*/ 66 h 3291"/>
                  <a:gd name="T34" fmla="*/ 2462 w 3784"/>
                  <a:gd name="T35" fmla="*/ 32 h 3291"/>
                  <a:gd name="T36" fmla="*/ 2492 w 3784"/>
                  <a:gd name="T37" fmla="*/ 9 h 3291"/>
                  <a:gd name="T38" fmla="*/ 2529 w 3784"/>
                  <a:gd name="T39" fmla="*/ 0 h 3291"/>
                  <a:gd name="T40" fmla="*/ 2537 w 3784"/>
                  <a:gd name="T41" fmla="*/ 1 h 3291"/>
                  <a:gd name="T42" fmla="*/ 2663 w 3784"/>
                  <a:gd name="T43" fmla="*/ 26 h 3291"/>
                  <a:gd name="T44" fmla="*/ 2897 w 3784"/>
                  <a:gd name="T45" fmla="*/ 88 h 3291"/>
                  <a:gd name="T46" fmla="*/ 3735 w 3784"/>
                  <a:gd name="T47" fmla="*/ 458 h 3291"/>
                  <a:gd name="T48" fmla="*/ 3769 w 3784"/>
                  <a:gd name="T49" fmla="*/ 487 h 3291"/>
                  <a:gd name="T50" fmla="*/ 3784 w 3784"/>
                  <a:gd name="T51" fmla="*/ 529 h 3291"/>
                  <a:gd name="T52" fmla="*/ 3775 w 3784"/>
                  <a:gd name="T53" fmla="*/ 574 h 3291"/>
                  <a:gd name="T54" fmla="*/ 3451 w 3784"/>
                  <a:gd name="T55" fmla="*/ 1209 h 3291"/>
                  <a:gd name="T56" fmla="*/ 3422 w 3784"/>
                  <a:gd name="T57" fmla="*/ 1230 h 3291"/>
                  <a:gd name="T58" fmla="*/ 3385 w 3784"/>
                  <a:gd name="T59" fmla="*/ 1238 h 3291"/>
                  <a:gd name="T60" fmla="*/ 3013 w 3784"/>
                  <a:gd name="T61" fmla="*/ 1133 h 3291"/>
                  <a:gd name="T62" fmla="*/ 3009 w 3784"/>
                  <a:gd name="T63" fmla="*/ 3229 h 3291"/>
                  <a:gd name="T64" fmla="*/ 2987 w 3784"/>
                  <a:gd name="T65" fmla="*/ 3266 h 3291"/>
                  <a:gd name="T66" fmla="*/ 2949 w 3784"/>
                  <a:gd name="T67" fmla="*/ 3289 h 3291"/>
                  <a:gd name="T68" fmla="*/ 856 w 3784"/>
                  <a:gd name="T69" fmla="*/ 3291 h 3291"/>
                  <a:gd name="T70" fmla="*/ 814 w 3784"/>
                  <a:gd name="T71" fmla="*/ 3279 h 3291"/>
                  <a:gd name="T72" fmla="*/ 783 w 3784"/>
                  <a:gd name="T73" fmla="*/ 3248 h 3291"/>
                  <a:gd name="T74" fmla="*/ 771 w 3784"/>
                  <a:gd name="T75" fmla="*/ 3206 h 3291"/>
                  <a:gd name="T76" fmla="*/ 423 w 3784"/>
                  <a:gd name="T77" fmla="*/ 1235 h 3291"/>
                  <a:gd name="T78" fmla="*/ 380 w 3784"/>
                  <a:gd name="T79" fmla="*/ 1237 h 3291"/>
                  <a:gd name="T80" fmla="*/ 347 w 3784"/>
                  <a:gd name="T81" fmla="*/ 1221 h 3291"/>
                  <a:gd name="T82" fmla="*/ 323 w 3784"/>
                  <a:gd name="T83" fmla="*/ 1192 h 3291"/>
                  <a:gd name="T84" fmla="*/ 1 w 3784"/>
                  <a:gd name="T85" fmla="*/ 552 h 3291"/>
                  <a:gd name="T86" fmla="*/ 5 w 3784"/>
                  <a:gd name="T87" fmla="*/ 508 h 3291"/>
                  <a:gd name="T88" fmla="*/ 30 w 3784"/>
                  <a:gd name="T89" fmla="*/ 470 h 3291"/>
                  <a:gd name="T90" fmla="*/ 771 w 3784"/>
                  <a:gd name="T91" fmla="*/ 125 h 3291"/>
                  <a:gd name="T92" fmla="*/ 1082 w 3784"/>
                  <a:gd name="T93" fmla="*/ 35 h 3291"/>
                  <a:gd name="T94" fmla="*/ 1247 w 3784"/>
                  <a:gd name="T95" fmla="*/ 1 h 32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3784" h="3291">
                    <a:moveTo>
                      <a:pt x="1255" y="0"/>
                    </a:moveTo>
                    <a:lnTo>
                      <a:pt x="1255" y="0"/>
                    </a:lnTo>
                    <a:lnTo>
                      <a:pt x="1275" y="2"/>
                    </a:lnTo>
                    <a:lnTo>
                      <a:pt x="1292" y="9"/>
                    </a:lnTo>
                    <a:lnTo>
                      <a:pt x="1308" y="19"/>
                    </a:lnTo>
                    <a:lnTo>
                      <a:pt x="1322" y="32"/>
                    </a:lnTo>
                    <a:lnTo>
                      <a:pt x="1332" y="48"/>
                    </a:lnTo>
                    <a:lnTo>
                      <a:pt x="1338" y="66"/>
                    </a:lnTo>
                    <a:lnTo>
                      <a:pt x="1354" y="124"/>
                    </a:lnTo>
                    <a:lnTo>
                      <a:pt x="1376" y="179"/>
                    </a:lnTo>
                    <a:lnTo>
                      <a:pt x="1403" y="231"/>
                    </a:lnTo>
                    <a:lnTo>
                      <a:pt x="1436" y="279"/>
                    </a:lnTo>
                    <a:lnTo>
                      <a:pt x="1472" y="324"/>
                    </a:lnTo>
                    <a:lnTo>
                      <a:pt x="1513" y="365"/>
                    </a:lnTo>
                    <a:lnTo>
                      <a:pt x="1557" y="402"/>
                    </a:lnTo>
                    <a:lnTo>
                      <a:pt x="1606" y="433"/>
                    </a:lnTo>
                    <a:lnTo>
                      <a:pt x="1659" y="460"/>
                    </a:lnTo>
                    <a:lnTo>
                      <a:pt x="1713" y="481"/>
                    </a:lnTo>
                    <a:lnTo>
                      <a:pt x="1770" y="497"/>
                    </a:lnTo>
                    <a:lnTo>
                      <a:pt x="1830" y="508"/>
                    </a:lnTo>
                    <a:lnTo>
                      <a:pt x="1892" y="510"/>
                    </a:lnTo>
                    <a:lnTo>
                      <a:pt x="1954" y="508"/>
                    </a:lnTo>
                    <a:lnTo>
                      <a:pt x="2014" y="497"/>
                    </a:lnTo>
                    <a:lnTo>
                      <a:pt x="2071" y="481"/>
                    </a:lnTo>
                    <a:lnTo>
                      <a:pt x="2125" y="460"/>
                    </a:lnTo>
                    <a:lnTo>
                      <a:pt x="2177" y="433"/>
                    </a:lnTo>
                    <a:lnTo>
                      <a:pt x="2226" y="402"/>
                    </a:lnTo>
                    <a:lnTo>
                      <a:pt x="2271" y="365"/>
                    </a:lnTo>
                    <a:lnTo>
                      <a:pt x="2312" y="324"/>
                    </a:lnTo>
                    <a:lnTo>
                      <a:pt x="2348" y="279"/>
                    </a:lnTo>
                    <a:lnTo>
                      <a:pt x="2380" y="231"/>
                    </a:lnTo>
                    <a:lnTo>
                      <a:pt x="2408" y="179"/>
                    </a:lnTo>
                    <a:lnTo>
                      <a:pt x="2430" y="124"/>
                    </a:lnTo>
                    <a:lnTo>
                      <a:pt x="2446" y="66"/>
                    </a:lnTo>
                    <a:lnTo>
                      <a:pt x="2452" y="48"/>
                    </a:lnTo>
                    <a:lnTo>
                      <a:pt x="2462" y="32"/>
                    </a:lnTo>
                    <a:lnTo>
                      <a:pt x="2476" y="19"/>
                    </a:lnTo>
                    <a:lnTo>
                      <a:pt x="2492" y="9"/>
                    </a:lnTo>
                    <a:lnTo>
                      <a:pt x="2509" y="2"/>
                    </a:lnTo>
                    <a:lnTo>
                      <a:pt x="2529" y="0"/>
                    </a:lnTo>
                    <a:lnTo>
                      <a:pt x="2529" y="0"/>
                    </a:lnTo>
                    <a:lnTo>
                      <a:pt x="2537" y="1"/>
                    </a:lnTo>
                    <a:lnTo>
                      <a:pt x="2545" y="2"/>
                    </a:lnTo>
                    <a:lnTo>
                      <a:pt x="2663" y="26"/>
                    </a:lnTo>
                    <a:lnTo>
                      <a:pt x="2780" y="55"/>
                    </a:lnTo>
                    <a:lnTo>
                      <a:pt x="2897" y="88"/>
                    </a:lnTo>
                    <a:lnTo>
                      <a:pt x="3013" y="125"/>
                    </a:lnTo>
                    <a:lnTo>
                      <a:pt x="3735" y="458"/>
                    </a:lnTo>
                    <a:lnTo>
                      <a:pt x="3753" y="470"/>
                    </a:lnTo>
                    <a:lnTo>
                      <a:pt x="3769" y="487"/>
                    </a:lnTo>
                    <a:lnTo>
                      <a:pt x="3779" y="508"/>
                    </a:lnTo>
                    <a:lnTo>
                      <a:pt x="3784" y="529"/>
                    </a:lnTo>
                    <a:lnTo>
                      <a:pt x="3782" y="552"/>
                    </a:lnTo>
                    <a:lnTo>
                      <a:pt x="3775" y="574"/>
                    </a:lnTo>
                    <a:lnTo>
                      <a:pt x="3461" y="1192"/>
                    </a:lnTo>
                    <a:lnTo>
                      <a:pt x="3451" y="1209"/>
                    </a:lnTo>
                    <a:lnTo>
                      <a:pt x="3437" y="1221"/>
                    </a:lnTo>
                    <a:lnTo>
                      <a:pt x="3422" y="1230"/>
                    </a:lnTo>
                    <a:lnTo>
                      <a:pt x="3403" y="1237"/>
                    </a:lnTo>
                    <a:lnTo>
                      <a:pt x="3385" y="1238"/>
                    </a:lnTo>
                    <a:lnTo>
                      <a:pt x="3361" y="1235"/>
                    </a:lnTo>
                    <a:lnTo>
                      <a:pt x="3013" y="1133"/>
                    </a:lnTo>
                    <a:lnTo>
                      <a:pt x="3013" y="3206"/>
                    </a:lnTo>
                    <a:lnTo>
                      <a:pt x="3009" y="3229"/>
                    </a:lnTo>
                    <a:lnTo>
                      <a:pt x="3001" y="3248"/>
                    </a:lnTo>
                    <a:lnTo>
                      <a:pt x="2987" y="3266"/>
                    </a:lnTo>
                    <a:lnTo>
                      <a:pt x="2970" y="3279"/>
                    </a:lnTo>
                    <a:lnTo>
                      <a:pt x="2949" y="3289"/>
                    </a:lnTo>
                    <a:lnTo>
                      <a:pt x="2928" y="3291"/>
                    </a:lnTo>
                    <a:lnTo>
                      <a:pt x="856" y="3291"/>
                    </a:lnTo>
                    <a:lnTo>
                      <a:pt x="833" y="3289"/>
                    </a:lnTo>
                    <a:lnTo>
                      <a:pt x="814" y="3279"/>
                    </a:lnTo>
                    <a:lnTo>
                      <a:pt x="797" y="3266"/>
                    </a:lnTo>
                    <a:lnTo>
                      <a:pt x="783" y="3248"/>
                    </a:lnTo>
                    <a:lnTo>
                      <a:pt x="774" y="3229"/>
                    </a:lnTo>
                    <a:lnTo>
                      <a:pt x="771" y="3206"/>
                    </a:lnTo>
                    <a:lnTo>
                      <a:pt x="771" y="1133"/>
                    </a:lnTo>
                    <a:lnTo>
                      <a:pt x="423" y="1235"/>
                    </a:lnTo>
                    <a:lnTo>
                      <a:pt x="399" y="1238"/>
                    </a:lnTo>
                    <a:lnTo>
                      <a:pt x="380" y="1237"/>
                    </a:lnTo>
                    <a:lnTo>
                      <a:pt x="362" y="1230"/>
                    </a:lnTo>
                    <a:lnTo>
                      <a:pt x="347" y="1221"/>
                    </a:lnTo>
                    <a:lnTo>
                      <a:pt x="333" y="1209"/>
                    </a:lnTo>
                    <a:lnTo>
                      <a:pt x="323" y="1192"/>
                    </a:lnTo>
                    <a:lnTo>
                      <a:pt x="9" y="574"/>
                    </a:lnTo>
                    <a:lnTo>
                      <a:pt x="1" y="552"/>
                    </a:lnTo>
                    <a:lnTo>
                      <a:pt x="0" y="529"/>
                    </a:lnTo>
                    <a:lnTo>
                      <a:pt x="5" y="508"/>
                    </a:lnTo>
                    <a:lnTo>
                      <a:pt x="15" y="487"/>
                    </a:lnTo>
                    <a:lnTo>
                      <a:pt x="30" y="470"/>
                    </a:lnTo>
                    <a:lnTo>
                      <a:pt x="49" y="458"/>
                    </a:lnTo>
                    <a:lnTo>
                      <a:pt x="771" y="125"/>
                    </a:lnTo>
                    <a:lnTo>
                      <a:pt x="925" y="77"/>
                    </a:lnTo>
                    <a:lnTo>
                      <a:pt x="1082" y="35"/>
                    </a:lnTo>
                    <a:lnTo>
                      <a:pt x="1239" y="2"/>
                    </a:lnTo>
                    <a:lnTo>
                      <a:pt x="1247" y="1"/>
                    </a:lnTo>
                    <a:lnTo>
                      <a:pt x="125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non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algn="ctr" defTabSz="933006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defRPr/>
                </a:pPr>
                <a:r>
                  <a:rPr lang="x-none" sz="900" kern="0">
                    <a:solidFill>
                      <a:schemeClr val="tx2"/>
                    </a:solidFill>
                    <a:latin typeface="TeleGrotesk Headline Ultra" pitchFamily="2" charset="0"/>
                  </a:rPr>
                  <a:t>S</a:t>
                </a:r>
                <a:endParaRPr lang="x-none" sz="900" kern="0" dirty="0">
                  <a:solidFill>
                    <a:schemeClr val="tx2"/>
                  </a:solidFill>
                  <a:latin typeface="TeleGrotesk Headline Ultra" pitchFamily="2" charset="0"/>
                </a:endParaRPr>
              </a:p>
            </p:txBody>
          </p:sp>
          <p:sp>
            <p:nvSpPr>
              <p:cNvPr id="408" name="Freeform 25"/>
              <p:cNvSpPr>
                <a:spLocks/>
              </p:cNvSpPr>
              <p:nvPr/>
            </p:nvSpPr>
            <p:spPr bwMode="auto">
              <a:xfrm>
                <a:off x="4025" y="1280"/>
                <a:ext cx="356" cy="128"/>
              </a:xfrm>
              <a:custGeom>
                <a:avLst/>
                <a:gdLst>
                  <a:gd name="T0" fmla="*/ 0 w 712"/>
                  <a:gd name="T1" fmla="*/ 0 h 257"/>
                  <a:gd name="T2" fmla="*/ 61 w 712"/>
                  <a:gd name="T3" fmla="*/ 13 h 257"/>
                  <a:gd name="T4" fmla="*/ 128 w 712"/>
                  <a:gd name="T5" fmla="*/ 26 h 257"/>
                  <a:gd name="T6" fmla="*/ 200 w 712"/>
                  <a:gd name="T7" fmla="*/ 35 h 257"/>
                  <a:gd name="T8" fmla="*/ 277 w 712"/>
                  <a:gd name="T9" fmla="*/ 40 h 257"/>
                  <a:gd name="T10" fmla="*/ 356 w 712"/>
                  <a:gd name="T11" fmla="*/ 42 h 257"/>
                  <a:gd name="T12" fmla="*/ 435 w 712"/>
                  <a:gd name="T13" fmla="*/ 40 h 257"/>
                  <a:gd name="T14" fmla="*/ 512 w 712"/>
                  <a:gd name="T15" fmla="*/ 35 h 257"/>
                  <a:gd name="T16" fmla="*/ 584 w 712"/>
                  <a:gd name="T17" fmla="*/ 26 h 257"/>
                  <a:gd name="T18" fmla="*/ 651 w 712"/>
                  <a:gd name="T19" fmla="*/ 13 h 257"/>
                  <a:gd name="T20" fmla="*/ 712 w 712"/>
                  <a:gd name="T21" fmla="*/ 0 h 257"/>
                  <a:gd name="T22" fmla="*/ 694 w 712"/>
                  <a:gd name="T23" fmla="*/ 43 h 257"/>
                  <a:gd name="T24" fmla="*/ 671 w 712"/>
                  <a:gd name="T25" fmla="*/ 85 h 257"/>
                  <a:gd name="T26" fmla="*/ 643 w 712"/>
                  <a:gd name="T27" fmla="*/ 122 h 257"/>
                  <a:gd name="T28" fmla="*/ 612 w 712"/>
                  <a:gd name="T29" fmla="*/ 157 h 257"/>
                  <a:gd name="T30" fmla="*/ 577 w 712"/>
                  <a:gd name="T31" fmla="*/ 186 h 257"/>
                  <a:gd name="T32" fmla="*/ 538 w 712"/>
                  <a:gd name="T33" fmla="*/ 211 h 257"/>
                  <a:gd name="T34" fmla="*/ 495 w 712"/>
                  <a:gd name="T35" fmla="*/ 230 h 257"/>
                  <a:gd name="T36" fmla="*/ 451 w 712"/>
                  <a:gd name="T37" fmla="*/ 245 h 257"/>
                  <a:gd name="T38" fmla="*/ 404 w 712"/>
                  <a:gd name="T39" fmla="*/ 255 h 257"/>
                  <a:gd name="T40" fmla="*/ 356 w 712"/>
                  <a:gd name="T41" fmla="*/ 257 h 257"/>
                  <a:gd name="T42" fmla="*/ 308 w 712"/>
                  <a:gd name="T43" fmla="*/ 255 h 257"/>
                  <a:gd name="T44" fmla="*/ 261 w 712"/>
                  <a:gd name="T45" fmla="*/ 245 h 257"/>
                  <a:gd name="T46" fmla="*/ 216 w 712"/>
                  <a:gd name="T47" fmla="*/ 230 h 257"/>
                  <a:gd name="T48" fmla="*/ 174 w 712"/>
                  <a:gd name="T49" fmla="*/ 211 h 257"/>
                  <a:gd name="T50" fmla="*/ 135 w 712"/>
                  <a:gd name="T51" fmla="*/ 186 h 257"/>
                  <a:gd name="T52" fmla="*/ 100 w 712"/>
                  <a:gd name="T53" fmla="*/ 157 h 257"/>
                  <a:gd name="T54" fmla="*/ 69 w 712"/>
                  <a:gd name="T55" fmla="*/ 122 h 257"/>
                  <a:gd name="T56" fmla="*/ 41 w 712"/>
                  <a:gd name="T57" fmla="*/ 85 h 257"/>
                  <a:gd name="T58" fmla="*/ 18 w 712"/>
                  <a:gd name="T59" fmla="*/ 43 h 257"/>
                  <a:gd name="T60" fmla="*/ 0 w 712"/>
                  <a:gd name="T61" fmla="*/ 0 h 2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712" h="257">
                    <a:moveTo>
                      <a:pt x="0" y="0"/>
                    </a:moveTo>
                    <a:lnTo>
                      <a:pt x="61" y="13"/>
                    </a:lnTo>
                    <a:lnTo>
                      <a:pt x="128" y="26"/>
                    </a:lnTo>
                    <a:lnTo>
                      <a:pt x="200" y="35"/>
                    </a:lnTo>
                    <a:lnTo>
                      <a:pt x="277" y="40"/>
                    </a:lnTo>
                    <a:lnTo>
                      <a:pt x="356" y="42"/>
                    </a:lnTo>
                    <a:lnTo>
                      <a:pt x="435" y="40"/>
                    </a:lnTo>
                    <a:lnTo>
                      <a:pt x="512" y="35"/>
                    </a:lnTo>
                    <a:lnTo>
                      <a:pt x="584" y="26"/>
                    </a:lnTo>
                    <a:lnTo>
                      <a:pt x="651" y="13"/>
                    </a:lnTo>
                    <a:lnTo>
                      <a:pt x="712" y="0"/>
                    </a:lnTo>
                    <a:lnTo>
                      <a:pt x="694" y="43"/>
                    </a:lnTo>
                    <a:lnTo>
                      <a:pt x="671" y="85"/>
                    </a:lnTo>
                    <a:lnTo>
                      <a:pt x="643" y="122"/>
                    </a:lnTo>
                    <a:lnTo>
                      <a:pt x="612" y="157"/>
                    </a:lnTo>
                    <a:lnTo>
                      <a:pt x="577" y="186"/>
                    </a:lnTo>
                    <a:lnTo>
                      <a:pt x="538" y="211"/>
                    </a:lnTo>
                    <a:lnTo>
                      <a:pt x="495" y="230"/>
                    </a:lnTo>
                    <a:lnTo>
                      <a:pt x="451" y="245"/>
                    </a:lnTo>
                    <a:lnTo>
                      <a:pt x="404" y="255"/>
                    </a:lnTo>
                    <a:lnTo>
                      <a:pt x="356" y="257"/>
                    </a:lnTo>
                    <a:lnTo>
                      <a:pt x="308" y="255"/>
                    </a:lnTo>
                    <a:lnTo>
                      <a:pt x="261" y="245"/>
                    </a:lnTo>
                    <a:lnTo>
                      <a:pt x="216" y="230"/>
                    </a:lnTo>
                    <a:lnTo>
                      <a:pt x="174" y="211"/>
                    </a:lnTo>
                    <a:lnTo>
                      <a:pt x="135" y="186"/>
                    </a:lnTo>
                    <a:lnTo>
                      <a:pt x="100" y="157"/>
                    </a:lnTo>
                    <a:lnTo>
                      <a:pt x="69" y="122"/>
                    </a:lnTo>
                    <a:lnTo>
                      <a:pt x="41" y="85"/>
                    </a:lnTo>
                    <a:lnTo>
                      <a:pt x="18" y="4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non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x-none" sz="100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405" name="Group 23"/>
            <p:cNvGrpSpPr>
              <a:grpSpLocks noChangeAspect="1"/>
            </p:cNvGrpSpPr>
            <p:nvPr/>
          </p:nvGrpSpPr>
          <p:grpSpPr bwMode="auto">
            <a:xfrm>
              <a:off x="3066201" y="5993249"/>
              <a:ext cx="295084" cy="255801"/>
              <a:chOff x="3533" y="1215"/>
              <a:chExt cx="1892" cy="1646"/>
            </a:xfrm>
            <a:solidFill>
              <a:schemeClr val="bg1"/>
            </a:solidFill>
          </p:grpSpPr>
          <p:sp>
            <p:nvSpPr>
              <p:cNvPr id="406" name="Freeform 25"/>
              <p:cNvSpPr>
                <a:spLocks/>
              </p:cNvSpPr>
              <p:nvPr/>
            </p:nvSpPr>
            <p:spPr bwMode="auto">
              <a:xfrm>
                <a:off x="4301" y="1246"/>
                <a:ext cx="356" cy="128"/>
              </a:xfrm>
              <a:custGeom>
                <a:avLst/>
                <a:gdLst>
                  <a:gd name="T0" fmla="*/ 0 w 712"/>
                  <a:gd name="T1" fmla="*/ 0 h 257"/>
                  <a:gd name="T2" fmla="*/ 61 w 712"/>
                  <a:gd name="T3" fmla="*/ 13 h 257"/>
                  <a:gd name="T4" fmla="*/ 128 w 712"/>
                  <a:gd name="T5" fmla="*/ 26 h 257"/>
                  <a:gd name="T6" fmla="*/ 200 w 712"/>
                  <a:gd name="T7" fmla="*/ 35 h 257"/>
                  <a:gd name="T8" fmla="*/ 277 w 712"/>
                  <a:gd name="T9" fmla="*/ 40 h 257"/>
                  <a:gd name="T10" fmla="*/ 356 w 712"/>
                  <a:gd name="T11" fmla="*/ 42 h 257"/>
                  <a:gd name="T12" fmla="*/ 435 w 712"/>
                  <a:gd name="T13" fmla="*/ 40 h 257"/>
                  <a:gd name="T14" fmla="*/ 512 w 712"/>
                  <a:gd name="T15" fmla="*/ 35 h 257"/>
                  <a:gd name="T16" fmla="*/ 584 w 712"/>
                  <a:gd name="T17" fmla="*/ 26 h 257"/>
                  <a:gd name="T18" fmla="*/ 651 w 712"/>
                  <a:gd name="T19" fmla="*/ 13 h 257"/>
                  <a:gd name="T20" fmla="*/ 712 w 712"/>
                  <a:gd name="T21" fmla="*/ 0 h 257"/>
                  <a:gd name="T22" fmla="*/ 694 w 712"/>
                  <a:gd name="T23" fmla="*/ 43 h 257"/>
                  <a:gd name="T24" fmla="*/ 671 w 712"/>
                  <a:gd name="T25" fmla="*/ 85 h 257"/>
                  <a:gd name="T26" fmla="*/ 643 w 712"/>
                  <a:gd name="T27" fmla="*/ 122 h 257"/>
                  <a:gd name="T28" fmla="*/ 612 w 712"/>
                  <a:gd name="T29" fmla="*/ 157 h 257"/>
                  <a:gd name="T30" fmla="*/ 577 w 712"/>
                  <a:gd name="T31" fmla="*/ 186 h 257"/>
                  <a:gd name="T32" fmla="*/ 538 w 712"/>
                  <a:gd name="T33" fmla="*/ 211 h 257"/>
                  <a:gd name="T34" fmla="*/ 495 w 712"/>
                  <a:gd name="T35" fmla="*/ 230 h 257"/>
                  <a:gd name="T36" fmla="*/ 451 w 712"/>
                  <a:gd name="T37" fmla="*/ 245 h 257"/>
                  <a:gd name="T38" fmla="*/ 404 w 712"/>
                  <a:gd name="T39" fmla="*/ 255 h 257"/>
                  <a:gd name="T40" fmla="*/ 356 w 712"/>
                  <a:gd name="T41" fmla="*/ 257 h 257"/>
                  <a:gd name="T42" fmla="*/ 308 w 712"/>
                  <a:gd name="T43" fmla="*/ 255 h 257"/>
                  <a:gd name="T44" fmla="*/ 261 w 712"/>
                  <a:gd name="T45" fmla="*/ 245 h 257"/>
                  <a:gd name="T46" fmla="*/ 216 w 712"/>
                  <a:gd name="T47" fmla="*/ 230 h 257"/>
                  <a:gd name="T48" fmla="*/ 174 w 712"/>
                  <a:gd name="T49" fmla="*/ 211 h 257"/>
                  <a:gd name="T50" fmla="*/ 135 w 712"/>
                  <a:gd name="T51" fmla="*/ 186 h 257"/>
                  <a:gd name="T52" fmla="*/ 100 w 712"/>
                  <a:gd name="T53" fmla="*/ 157 h 257"/>
                  <a:gd name="T54" fmla="*/ 69 w 712"/>
                  <a:gd name="T55" fmla="*/ 122 h 257"/>
                  <a:gd name="T56" fmla="*/ 41 w 712"/>
                  <a:gd name="T57" fmla="*/ 85 h 257"/>
                  <a:gd name="T58" fmla="*/ 18 w 712"/>
                  <a:gd name="T59" fmla="*/ 43 h 257"/>
                  <a:gd name="T60" fmla="*/ 0 w 712"/>
                  <a:gd name="T61" fmla="*/ 0 h 2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712" h="257">
                    <a:moveTo>
                      <a:pt x="0" y="0"/>
                    </a:moveTo>
                    <a:lnTo>
                      <a:pt x="61" y="13"/>
                    </a:lnTo>
                    <a:lnTo>
                      <a:pt x="128" y="26"/>
                    </a:lnTo>
                    <a:lnTo>
                      <a:pt x="200" y="35"/>
                    </a:lnTo>
                    <a:lnTo>
                      <a:pt x="277" y="40"/>
                    </a:lnTo>
                    <a:lnTo>
                      <a:pt x="356" y="42"/>
                    </a:lnTo>
                    <a:lnTo>
                      <a:pt x="435" y="40"/>
                    </a:lnTo>
                    <a:lnTo>
                      <a:pt x="512" y="35"/>
                    </a:lnTo>
                    <a:lnTo>
                      <a:pt x="584" y="26"/>
                    </a:lnTo>
                    <a:lnTo>
                      <a:pt x="651" y="13"/>
                    </a:lnTo>
                    <a:lnTo>
                      <a:pt x="712" y="0"/>
                    </a:lnTo>
                    <a:lnTo>
                      <a:pt x="694" y="43"/>
                    </a:lnTo>
                    <a:lnTo>
                      <a:pt x="671" y="85"/>
                    </a:lnTo>
                    <a:lnTo>
                      <a:pt x="643" y="122"/>
                    </a:lnTo>
                    <a:lnTo>
                      <a:pt x="612" y="157"/>
                    </a:lnTo>
                    <a:lnTo>
                      <a:pt x="577" y="186"/>
                    </a:lnTo>
                    <a:lnTo>
                      <a:pt x="538" y="211"/>
                    </a:lnTo>
                    <a:lnTo>
                      <a:pt x="495" y="230"/>
                    </a:lnTo>
                    <a:lnTo>
                      <a:pt x="451" y="245"/>
                    </a:lnTo>
                    <a:lnTo>
                      <a:pt x="404" y="255"/>
                    </a:lnTo>
                    <a:lnTo>
                      <a:pt x="356" y="257"/>
                    </a:lnTo>
                    <a:lnTo>
                      <a:pt x="308" y="255"/>
                    </a:lnTo>
                    <a:lnTo>
                      <a:pt x="261" y="245"/>
                    </a:lnTo>
                    <a:lnTo>
                      <a:pt x="216" y="230"/>
                    </a:lnTo>
                    <a:lnTo>
                      <a:pt x="174" y="211"/>
                    </a:lnTo>
                    <a:lnTo>
                      <a:pt x="135" y="186"/>
                    </a:lnTo>
                    <a:lnTo>
                      <a:pt x="100" y="157"/>
                    </a:lnTo>
                    <a:lnTo>
                      <a:pt x="69" y="122"/>
                    </a:lnTo>
                    <a:lnTo>
                      <a:pt x="41" y="85"/>
                    </a:lnTo>
                    <a:lnTo>
                      <a:pt x="18" y="4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non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x-none" sz="1000">
                  <a:solidFill>
                    <a:schemeClr val="tx2"/>
                  </a:solidFill>
                </a:endParaRPr>
              </a:p>
            </p:txBody>
          </p:sp>
          <p:sp>
            <p:nvSpPr>
              <p:cNvPr id="407" name="Freeform 26"/>
              <p:cNvSpPr>
                <a:spLocks/>
              </p:cNvSpPr>
              <p:nvPr/>
            </p:nvSpPr>
            <p:spPr bwMode="auto">
              <a:xfrm>
                <a:off x="3533" y="1215"/>
                <a:ext cx="1892" cy="1646"/>
              </a:xfrm>
              <a:custGeom>
                <a:avLst/>
                <a:gdLst>
                  <a:gd name="T0" fmla="*/ 1255 w 3784"/>
                  <a:gd name="T1" fmla="*/ 0 h 3291"/>
                  <a:gd name="T2" fmla="*/ 1292 w 3784"/>
                  <a:gd name="T3" fmla="*/ 9 h 3291"/>
                  <a:gd name="T4" fmla="*/ 1322 w 3784"/>
                  <a:gd name="T5" fmla="*/ 32 h 3291"/>
                  <a:gd name="T6" fmla="*/ 1338 w 3784"/>
                  <a:gd name="T7" fmla="*/ 66 h 3291"/>
                  <a:gd name="T8" fmla="*/ 1376 w 3784"/>
                  <a:gd name="T9" fmla="*/ 179 h 3291"/>
                  <a:gd name="T10" fmla="*/ 1436 w 3784"/>
                  <a:gd name="T11" fmla="*/ 279 h 3291"/>
                  <a:gd name="T12" fmla="*/ 1513 w 3784"/>
                  <a:gd name="T13" fmla="*/ 365 h 3291"/>
                  <a:gd name="T14" fmla="*/ 1606 w 3784"/>
                  <a:gd name="T15" fmla="*/ 433 h 3291"/>
                  <a:gd name="T16" fmla="*/ 1713 w 3784"/>
                  <a:gd name="T17" fmla="*/ 481 h 3291"/>
                  <a:gd name="T18" fmla="*/ 1830 w 3784"/>
                  <a:gd name="T19" fmla="*/ 508 h 3291"/>
                  <a:gd name="T20" fmla="*/ 1954 w 3784"/>
                  <a:gd name="T21" fmla="*/ 508 h 3291"/>
                  <a:gd name="T22" fmla="*/ 2071 w 3784"/>
                  <a:gd name="T23" fmla="*/ 481 h 3291"/>
                  <a:gd name="T24" fmla="*/ 2177 w 3784"/>
                  <a:gd name="T25" fmla="*/ 433 h 3291"/>
                  <a:gd name="T26" fmla="*/ 2271 w 3784"/>
                  <a:gd name="T27" fmla="*/ 365 h 3291"/>
                  <a:gd name="T28" fmla="*/ 2348 w 3784"/>
                  <a:gd name="T29" fmla="*/ 279 h 3291"/>
                  <a:gd name="T30" fmla="*/ 2408 w 3784"/>
                  <a:gd name="T31" fmla="*/ 179 h 3291"/>
                  <a:gd name="T32" fmla="*/ 2446 w 3784"/>
                  <a:gd name="T33" fmla="*/ 66 h 3291"/>
                  <a:gd name="T34" fmla="*/ 2462 w 3784"/>
                  <a:gd name="T35" fmla="*/ 32 h 3291"/>
                  <a:gd name="T36" fmla="*/ 2492 w 3784"/>
                  <a:gd name="T37" fmla="*/ 9 h 3291"/>
                  <a:gd name="T38" fmla="*/ 2529 w 3784"/>
                  <a:gd name="T39" fmla="*/ 0 h 3291"/>
                  <a:gd name="T40" fmla="*/ 2537 w 3784"/>
                  <a:gd name="T41" fmla="*/ 1 h 3291"/>
                  <a:gd name="T42" fmla="*/ 2663 w 3784"/>
                  <a:gd name="T43" fmla="*/ 26 h 3291"/>
                  <a:gd name="T44" fmla="*/ 2897 w 3784"/>
                  <a:gd name="T45" fmla="*/ 88 h 3291"/>
                  <a:gd name="T46" fmla="*/ 3735 w 3784"/>
                  <a:gd name="T47" fmla="*/ 458 h 3291"/>
                  <a:gd name="T48" fmla="*/ 3769 w 3784"/>
                  <a:gd name="T49" fmla="*/ 487 h 3291"/>
                  <a:gd name="T50" fmla="*/ 3784 w 3784"/>
                  <a:gd name="T51" fmla="*/ 529 h 3291"/>
                  <a:gd name="T52" fmla="*/ 3775 w 3784"/>
                  <a:gd name="T53" fmla="*/ 574 h 3291"/>
                  <a:gd name="T54" fmla="*/ 3451 w 3784"/>
                  <a:gd name="T55" fmla="*/ 1209 h 3291"/>
                  <a:gd name="T56" fmla="*/ 3422 w 3784"/>
                  <a:gd name="T57" fmla="*/ 1230 h 3291"/>
                  <a:gd name="T58" fmla="*/ 3385 w 3784"/>
                  <a:gd name="T59" fmla="*/ 1238 h 3291"/>
                  <a:gd name="T60" fmla="*/ 3013 w 3784"/>
                  <a:gd name="T61" fmla="*/ 1133 h 3291"/>
                  <a:gd name="T62" fmla="*/ 3009 w 3784"/>
                  <a:gd name="T63" fmla="*/ 3229 h 3291"/>
                  <a:gd name="T64" fmla="*/ 2987 w 3784"/>
                  <a:gd name="T65" fmla="*/ 3266 h 3291"/>
                  <a:gd name="T66" fmla="*/ 2949 w 3784"/>
                  <a:gd name="T67" fmla="*/ 3289 h 3291"/>
                  <a:gd name="T68" fmla="*/ 856 w 3784"/>
                  <a:gd name="T69" fmla="*/ 3291 h 3291"/>
                  <a:gd name="T70" fmla="*/ 814 w 3784"/>
                  <a:gd name="T71" fmla="*/ 3279 h 3291"/>
                  <a:gd name="T72" fmla="*/ 783 w 3784"/>
                  <a:gd name="T73" fmla="*/ 3248 h 3291"/>
                  <a:gd name="T74" fmla="*/ 771 w 3784"/>
                  <a:gd name="T75" fmla="*/ 3206 h 3291"/>
                  <a:gd name="T76" fmla="*/ 423 w 3784"/>
                  <a:gd name="T77" fmla="*/ 1235 h 3291"/>
                  <a:gd name="T78" fmla="*/ 380 w 3784"/>
                  <a:gd name="T79" fmla="*/ 1237 h 3291"/>
                  <a:gd name="T80" fmla="*/ 347 w 3784"/>
                  <a:gd name="T81" fmla="*/ 1221 h 3291"/>
                  <a:gd name="T82" fmla="*/ 323 w 3784"/>
                  <a:gd name="T83" fmla="*/ 1192 h 3291"/>
                  <a:gd name="T84" fmla="*/ 1 w 3784"/>
                  <a:gd name="T85" fmla="*/ 552 h 3291"/>
                  <a:gd name="T86" fmla="*/ 5 w 3784"/>
                  <a:gd name="T87" fmla="*/ 508 h 3291"/>
                  <a:gd name="T88" fmla="*/ 30 w 3784"/>
                  <a:gd name="T89" fmla="*/ 470 h 3291"/>
                  <a:gd name="T90" fmla="*/ 771 w 3784"/>
                  <a:gd name="T91" fmla="*/ 125 h 3291"/>
                  <a:gd name="T92" fmla="*/ 1082 w 3784"/>
                  <a:gd name="T93" fmla="*/ 35 h 3291"/>
                  <a:gd name="T94" fmla="*/ 1247 w 3784"/>
                  <a:gd name="T95" fmla="*/ 1 h 32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3784" h="3291">
                    <a:moveTo>
                      <a:pt x="1255" y="0"/>
                    </a:moveTo>
                    <a:lnTo>
                      <a:pt x="1255" y="0"/>
                    </a:lnTo>
                    <a:lnTo>
                      <a:pt x="1275" y="2"/>
                    </a:lnTo>
                    <a:lnTo>
                      <a:pt x="1292" y="9"/>
                    </a:lnTo>
                    <a:lnTo>
                      <a:pt x="1308" y="19"/>
                    </a:lnTo>
                    <a:lnTo>
                      <a:pt x="1322" y="32"/>
                    </a:lnTo>
                    <a:lnTo>
                      <a:pt x="1332" y="48"/>
                    </a:lnTo>
                    <a:lnTo>
                      <a:pt x="1338" y="66"/>
                    </a:lnTo>
                    <a:lnTo>
                      <a:pt x="1354" y="124"/>
                    </a:lnTo>
                    <a:lnTo>
                      <a:pt x="1376" y="179"/>
                    </a:lnTo>
                    <a:lnTo>
                      <a:pt x="1403" y="231"/>
                    </a:lnTo>
                    <a:lnTo>
                      <a:pt x="1436" y="279"/>
                    </a:lnTo>
                    <a:lnTo>
                      <a:pt x="1472" y="324"/>
                    </a:lnTo>
                    <a:lnTo>
                      <a:pt x="1513" y="365"/>
                    </a:lnTo>
                    <a:lnTo>
                      <a:pt x="1557" y="402"/>
                    </a:lnTo>
                    <a:lnTo>
                      <a:pt x="1606" y="433"/>
                    </a:lnTo>
                    <a:lnTo>
                      <a:pt x="1659" y="460"/>
                    </a:lnTo>
                    <a:lnTo>
                      <a:pt x="1713" y="481"/>
                    </a:lnTo>
                    <a:lnTo>
                      <a:pt x="1770" y="497"/>
                    </a:lnTo>
                    <a:lnTo>
                      <a:pt x="1830" y="508"/>
                    </a:lnTo>
                    <a:lnTo>
                      <a:pt x="1892" y="510"/>
                    </a:lnTo>
                    <a:lnTo>
                      <a:pt x="1954" y="508"/>
                    </a:lnTo>
                    <a:lnTo>
                      <a:pt x="2014" y="497"/>
                    </a:lnTo>
                    <a:lnTo>
                      <a:pt x="2071" y="481"/>
                    </a:lnTo>
                    <a:lnTo>
                      <a:pt x="2125" y="460"/>
                    </a:lnTo>
                    <a:lnTo>
                      <a:pt x="2177" y="433"/>
                    </a:lnTo>
                    <a:lnTo>
                      <a:pt x="2226" y="402"/>
                    </a:lnTo>
                    <a:lnTo>
                      <a:pt x="2271" y="365"/>
                    </a:lnTo>
                    <a:lnTo>
                      <a:pt x="2312" y="324"/>
                    </a:lnTo>
                    <a:lnTo>
                      <a:pt x="2348" y="279"/>
                    </a:lnTo>
                    <a:lnTo>
                      <a:pt x="2380" y="231"/>
                    </a:lnTo>
                    <a:lnTo>
                      <a:pt x="2408" y="179"/>
                    </a:lnTo>
                    <a:lnTo>
                      <a:pt x="2430" y="124"/>
                    </a:lnTo>
                    <a:lnTo>
                      <a:pt x="2446" y="66"/>
                    </a:lnTo>
                    <a:lnTo>
                      <a:pt x="2452" y="48"/>
                    </a:lnTo>
                    <a:lnTo>
                      <a:pt x="2462" y="32"/>
                    </a:lnTo>
                    <a:lnTo>
                      <a:pt x="2476" y="19"/>
                    </a:lnTo>
                    <a:lnTo>
                      <a:pt x="2492" y="9"/>
                    </a:lnTo>
                    <a:lnTo>
                      <a:pt x="2509" y="2"/>
                    </a:lnTo>
                    <a:lnTo>
                      <a:pt x="2529" y="0"/>
                    </a:lnTo>
                    <a:lnTo>
                      <a:pt x="2529" y="0"/>
                    </a:lnTo>
                    <a:lnTo>
                      <a:pt x="2537" y="1"/>
                    </a:lnTo>
                    <a:lnTo>
                      <a:pt x="2545" y="2"/>
                    </a:lnTo>
                    <a:lnTo>
                      <a:pt x="2663" y="26"/>
                    </a:lnTo>
                    <a:lnTo>
                      <a:pt x="2780" y="55"/>
                    </a:lnTo>
                    <a:lnTo>
                      <a:pt x="2897" y="88"/>
                    </a:lnTo>
                    <a:lnTo>
                      <a:pt x="3013" y="125"/>
                    </a:lnTo>
                    <a:lnTo>
                      <a:pt x="3735" y="458"/>
                    </a:lnTo>
                    <a:lnTo>
                      <a:pt x="3753" y="470"/>
                    </a:lnTo>
                    <a:lnTo>
                      <a:pt x="3769" y="487"/>
                    </a:lnTo>
                    <a:lnTo>
                      <a:pt x="3779" y="508"/>
                    </a:lnTo>
                    <a:lnTo>
                      <a:pt x="3784" y="529"/>
                    </a:lnTo>
                    <a:lnTo>
                      <a:pt x="3782" y="552"/>
                    </a:lnTo>
                    <a:lnTo>
                      <a:pt x="3775" y="574"/>
                    </a:lnTo>
                    <a:lnTo>
                      <a:pt x="3461" y="1192"/>
                    </a:lnTo>
                    <a:lnTo>
                      <a:pt x="3451" y="1209"/>
                    </a:lnTo>
                    <a:lnTo>
                      <a:pt x="3437" y="1221"/>
                    </a:lnTo>
                    <a:lnTo>
                      <a:pt x="3422" y="1230"/>
                    </a:lnTo>
                    <a:lnTo>
                      <a:pt x="3403" y="1237"/>
                    </a:lnTo>
                    <a:lnTo>
                      <a:pt x="3385" y="1238"/>
                    </a:lnTo>
                    <a:lnTo>
                      <a:pt x="3361" y="1235"/>
                    </a:lnTo>
                    <a:lnTo>
                      <a:pt x="3013" y="1133"/>
                    </a:lnTo>
                    <a:lnTo>
                      <a:pt x="3013" y="3206"/>
                    </a:lnTo>
                    <a:lnTo>
                      <a:pt x="3009" y="3229"/>
                    </a:lnTo>
                    <a:lnTo>
                      <a:pt x="3001" y="3248"/>
                    </a:lnTo>
                    <a:lnTo>
                      <a:pt x="2987" y="3266"/>
                    </a:lnTo>
                    <a:lnTo>
                      <a:pt x="2970" y="3279"/>
                    </a:lnTo>
                    <a:lnTo>
                      <a:pt x="2949" y="3289"/>
                    </a:lnTo>
                    <a:lnTo>
                      <a:pt x="2928" y="3291"/>
                    </a:lnTo>
                    <a:lnTo>
                      <a:pt x="856" y="3291"/>
                    </a:lnTo>
                    <a:lnTo>
                      <a:pt x="833" y="3289"/>
                    </a:lnTo>
                    <a:lnTo>
                      <a:pt x="814" y="3279"/>
                    </a:lnTo>
                    <a:lnTo>
                      <a:pt x="797" y="3266"/>
                    </a:lnTo>
                    <a:lnTo>
                      <a:pt x="783" y="3248"/>
                    </a:lnTo>
                    <a:lnTo>
                      <a:pt x="774" y="3229"/>
                    </a:lnTo>
                    <a:lnTo>
                      <a:pt x="771" y="3206"/>
                    </a:lnTo>
                    <a:lnTo>
                      <a:pt x="771" y="1133"/>
                    </a:lnTo>
                    <a:lnTo>
                      <a:pt x="423" y="1235"/>
                    </a:lnTo>
                    <a:lnTo>
                      <a:pt x="399" y="1238"/>
                    </a:lnTo>
                    <a:lnTo>
                      <a:pt x="380" y="1237"/>
                    </a:lnTo>
                    <a:lnTo>
                      <a:pt x="362" y="1230"/>
                    </a:lnTo>
                    <a:lnTo>
                      <a:pt x="347" y="1221"/>
                    </a:lnTo>
                    <a:lnTo>
                      <a:pt x="333" y="1209"/>
                    </a:lnTo>
                    <a:lnTo>
                      <a:pt x="323" y="1192"/>
                    </a:lnTo>
                    <a:lnTo>
                      <a:pt x="9" y="574"/>
                    </a:lnTo>
                    <a:lnTo>
                      <a:pt x="1" y="552"/>
                    </a:lnTo>
                    <a:lnTo>
                      <a:pt x="0" y="529"/>
                    </a:lnTo>
                    <a:lnTo>
                      <a:pt x="5" y="508"/>
                    </a:lnTo>
                    <a:lnTo>
                      <a:pt x="15" y="487"/>
                    </a:lnTo>
                    <a:lnTo>
                      <a:pt x="30" y="470"/>
                    </a:lnTo>
                    <a:lnTo>
                      <a:pt x="49" y="458"/>
                    </a:lnTo>
                    <a:lnTo>
                      <a:pt x="771" y="125"/>
                    </a:lnTo>
                    <a:lnTo>
                      <a:pt x="925" y="77"/>
                    </a:lnTo>
                    <a:lnTo>
                      <a:pt x="1082" y="35"/>
                    </a:lnTo>
                    <a:lnTo>
                      <a:pt x="1239" y="2"/>
                    </a:lnTo>
                    <a:lnTo>
                      <a:pt x="1247" y="1"/>
                    </a:lnTo>
                    <a:lnTo>
                      <a:pt x="1255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non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algn="ctr" defTabSz="933006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defRPr/>
                </a:pPr>
                <a:r>
                  <a:rPr lang="x-none" sz="700" kern="0">
                    <a:solidFill>
                      <a:schemeClr val="tx2"/>
                    </a:solidFill>
                    <a:latin typeface="TeleGrotesk Headline Ultra" pitchFamily="2" charset="0"/>
                  </a:rPr>
                  <a:t>XS</a:t>
                </a:r>
                <a:endParaRPr lang="x-none" sz="700" kern="0" dirty="0">
                  <a:solidFill>
                    <a:schemeClr val="tx2"/>
                  </a:solidFill>
                  <a:latin typeface="TeleGrotesk Headline Ultra" pitchFamily="2" charset="0"/>
                </a:endParaRPr>
              </a:p>
            </p:txBody>
          </p:sp>
        </p:grpSp>
      </p:grpSp>
      <p:sp>
        <p:nvSpPr>
          <p:cNvPr id="416" name="Rechteck 415"/>
          <p:cNvSpPr/>
          <p:nvPr/>
        </p:nvSpPr>
        <p:spPr>
          <a:xfrm>
            <a:off x="1974755" y="1526815"/>
            <a:ext cx="4131120" cy="20095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16611" tIns="29153" rIns="58306" bIns="29153" rtlCol="0" anchor="ctr"/>
          <a:lstStyle/>
          <a:p>
            <a:pPr algn="l" rtl="0">
              <a:lnSpc>
                <a:spcPct val="90000"/>
              </a:lnSpc>
              <a:buClr>
                <a:schemeClr val="tx2"/>
              </a:buClr>
            </a:pPr>
            <a:r>
              <a:rPr lang="x-none" sz="1500">
                <a:solidFill>
                  <a:srgbClr val="000000"/>
                </a:solidFill>
                <a:latin typeface="Tele-GroteskEENor" pitchFamily="2" charset="0"/>
              </a:rPr>
              <a:t>Degree of value added depending </a:t>
            </a:r>
            <a:r>
              <a:rPr lang="de-DE" sz="1500" dirty="0">
                <a:solidFill>
                  <a:srgbClr val="000000"/>
                </a:solidFill>
                <a:latin typeface="Tele-GroteskEENor" pitchFamily="2" charset="0"/>
              </a:rPr>
              <a:t/>
            </a:r>
            <a:br>
              <a:rPr lang="de-DE" sz="1500" dirty="0">
                <a:solidFill>
                  <a:srgbClr val="000000"/>
                </a:solidFill>
                <a:latin typeface="Tele-GroteskEENor" pitchFamily="2" charset="0"/>
              </a:rPr>
            </a:br>
            <a:r>
              <a:rPr lang="x-none" sz="1500">
                <a:solidFill>
                  <a:srgbClr val="000000"/>
                </a:solidFill>
                <a:latin typeface="Tele-GroteskEENor" pitchFamily="2" charset="0"/>
              </a:rPr>
              <a:t>on customer situation:</a:t>
            </a:r>
          </a:p>
        </p:txBody>
      </p:sp>
      <p:grpSp>
        <p:nvGrpSpPr>
          <p:cNvPr id="417" name="Gruppieren 416"/>
          <p:cNvGrpSpPr/>
          <p:nvPr/>
        </p:nvGrpSpPr>
        <p:grpSpPr>
          <a:xfrm>
            <a:off x="8068133" y="3996622"/>
            <a:ext cx="574992" cy="237813"/>
            <a:chOff x="4510090" y="5621339"/>
            <a:chExt cx="523875" cy="288925"/>
          </a:xfrm>
          <a:solidFill>
            <a:schemeClr val="bg1"/>
          </a:solidFill>
        </p:grpSpPr>
        <p:sp>
          <p:nvSpPr>
            <p:cNvPr id="418" name="Freeform 13"/>
            <p:cNvSpPr>
              <a:spLocks/>
            </p:cNvSpPr>
            <p:nvPr/>
          </p:nvSpPr>
          <p:spPr bwMode="auto">
            <a:xfrm>
              <a:off x="4767265" y="5621339"/>
              <a:ext cx="266700" cy="247650"/>
            </a:xfrm>
            <a:custGeom>
              <a:avLst/>
              <a:gdLst>
                <a:gd name="T0" fmla="*/ 250 w 335"/>
                <a:gd name="T1" fmla="*/ 131 h 313"/>
                <a:gd name="T2" fmla="*/ 246 w 335"/>
                <a:gd name="T3" fmla="*/ 104 h 313"/>
                <a:gd name="T4" fmla="*/ 236 w 335"/>
                <a:gd name="T5" fmla="*/ 79 h 313"/>
                <a:gd name="T6" fmla="*/ 223 w 335"/>
                <a:gd name="T7" fmla="*/ 58 h 313"/>
                <a:gd name="T8" fmla="*/ 206 w 335"/>
                <a:gd name="T9" fmla="*/ 38 h 313"/>
                <a:gd name="T10" fmla="*/ 185 w 335"/>
                <a:gd name="T11" fmla="*/ 22 h 313"/>
                <a:gd name="T12" fmla="*/ 161 w 335"/>
                <a:gd name="T13" fmla="*/ 10 h 313"/>
                <a:gd name="T14" fmla="*/ 137 w 335"/>
                <a:gd name="T15" fmla="*/ 3 h 313"/>
                <a:gd name="T16" fmla="*/ 109 w 335"/>
                <a:gd name="T17" fmla="*/ 0 h 313"/>
                <a:gd name="T18" fmla="*/ 84 w 335"/>
                <a:gd name="T19" fmla="*/ 3 h 313"/>
                <a:gd name="T20" fmla="*/ 60 w 335"/>
                <a:gd name="T21" fmla="*/ 9 h 313"/>
                <a:gd name="T22" fmla="*/ 37 w 335"/>
                <a:gd name="T23" fmla="*/ 20 h 313"/>
                <a:gd name="T24" fmla="*/ 17 w 335"/>
                <a:gd name="T25" fmla="*/ 35 h 313"/>
                <a:gd name="T26" fmla="*/ 0 w 335"/>
                <a:gd name="T27" fmla="*/ 52 h 313"/>
                <a:gd name="T28" fmla="*/ 21 w 335"/>
                <a:gd name="T29" fmla="*/ 68 h 313"/>
                <a:gd name="T30" fmla="*/ 39 w 335"/>
                <a:gd name="T31" fmla="*/ 51 h 313"/>
                <a:gd name="T32" fmla="*/ 60 w 335"/>
                <a:gd name="T33" fmla="*/ 38 h 313"/>
                <a:gd name="T34" fmla="*/ 84 w 335"/>
                <a:gd name="T35" fmla="*/ 30 h 313"/>
                <a:gd name="T36" fmla="*/ 109 w 335"/>
                <a:gd name="T37" fmla="*/ 27 h 313"/>
                <a:gd name="T38" fmla="*/ 134 w 335"/>
                <a:gd name="T39" fmla="*/ 30 h 313"/>
                <a:gd name="T40" fmla="*/ 158 w 335"/>
                <a:gd name="T41" fmla="*/ 38 h 313"/>
                <a:gd name="T42" fmla="*/ 180 w 335"/>
                <a:gd name="T43" fmla="*/ 51 h 313"/>
                <a:gd name="T44" fmla="*/ 197 w 335"/>
                <a:gd name="T45" fmla="*/ 68 h 313"/>
                <a:gd name="T46" fmla="*/ 211 w 335"/>
                <a:gd name="T47" fmla="*/ 89 h 313"/>
                <a:gd name="T48" fmla="*/ 220 w 335"/>
                <a:gd name="T49" fmla="*/ 112 h 313"/>
                <a:gd name="T50" fmla="*/ 223 w 335"/>
                <a:gd name="T51" fmla="*/ 138 h 313"/>
                <a:gd name="T52" fmla="*/ 224 w 335"/>
                <a:gd name="T53" fmla="*/ 158 h 313"/>
                <a:gd name="T54" fmla="*/ 246 w 335"/>
                <a:gd name="T55" fmla="*/ 158 h 313"/>
                <a:gd name="T56" fmla="*/ 265 w 335"/>
                <a:gd name="T57" fmla="*/ 161 h 313"/>
                <a:gd name="T58" fmla="*/ 282 w 335"/>
                <a:gd name="T59" fmla="*/ 170 h 313"/>
                <a:gd name="T60" fmla="*/ 296 w 335"/>
                <a:gd name="T61" fmla="*/ 184 h 313"/>
                <a:gd name="T62" fmla="*/ 305 w 335"/>
                <a:gd name="T63" fmla="*/ 201 h 313"/>
                <a:gd name="T64" fmla="*/ 308 w 335"/>
                <a:gd name="T65" fmla="*/ 222 h 313"/>
                <a:gd name="T66" fmla="*/ 305 w 335"/>
                <a:gd name="T67" fmla="*/ 242 h 313"/>
                <a:gd name="T68" fmla="*/ 296 w 335"/>
                <a:gd name="T69" fmla="*/ 260 h 313"/>
                <a:gd name="T70" fmla="*/ 282 w 335"/>
                <a:gd name="T71" fmla="*/ 274 h 313"/>
                <a:gd name="T72" fmla="*/ 264 w 335"/>
                <a:gd name="T73" fmla="*/ 282 h 313"/>
                <a:gd name="T74" fmla="*/ 245 w 335"/>
                <a:gd name="T75" fmla="*/ 286 h 313"/>
                <a:gd name="T76" fmla="*/ 171 w 335"/>
                <a:gd name="T77" fmla="*/ 286 h 313"/>
                <a:gd name="T78" fmla="*/ 170 w 335"/>
                <a:gd name="T79" fmla="*/ 300 h 313"/>
                <a:gd name="T80" fmla="*/ 167 w 335"/>
                <a:gd name="T81" fmla="*/ 313 h 313"/>
                <a:gd name="T82" fmla="*/ 245 w 335"/>
                <a:gd name="T83" fmla="*/ 313 h 313"/>
                <a:gd name="T84" fmla="*/ 268 w 335"/>
                <a:gd name="T85" fmla="*/ 309 h 313"/>
                <a:gd name="T86" fmla="*/ 290 w 335"/>
                <a:gd name="T87" fmla="*/ 301 h 313"/>
                <a:gd name="T88" fmla="*/ 308 w 335"/>
                <a:gd name="T89" fmla="*/ 287 h 313"/>
                <a:gd name="T90" fmla="*/ 322 w 335"/>
                <a:gd name="T91" fmla="*/ 268 h 313"/>
                <a:gd name="T92" fmla="*/ 332 w 335"/>
                <a:gd name="T93" fmla="*/ 246 h 313"/>
                <a:gd name="T94" fmla="*/ 335 w 335"/>
                <a:gd name="T95" fmla="*/ 222 h 313"/>
                <a:gd name="T96" fmla="*/ 332 w 335"/>
                <a:gd name="T97" fmla="*/ 199 h 313"/>
                <a:gd name="T98" fmla="*/ 323 w 335"/>
                <a:gd name="T99" fmla="*/ 178 h 313"/>
                <a:gd name="T100" fmla="*/ 310 w 335"/>
                <a:gd name="T101" fmla="*/ 160 h 313"/>
                <a:gd name="T102" fmla="*/ 293 w 335"/>
                <a:gd name="T103" fmla="*/ 145 h 313"/>
                <a:gd name="T104" fmla="*/ 273 w 335"/>
                <a:gd name="T105" fmla="*/ 135 h 313"/>
                <a:gd name="T106" fmla="*/ 250 w 335"/>
                <a:gd name="T107" fmla="*/ 131 h 3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35" h="313">
                  <a:moveTo>
                    <a:pt x="250" y="131"/>
                  </a:moveTo>
                  <a:lnTo>
                    <a:pt x="246" y="104"/>
                  </a:lnTo>
                  <a:lnTo>
                    <a:pt x="236" y="79"/>
                  </a:lnTo>
                  <a:lnTo>
                    <a:pt x="223" y="58"/>
                  </a:lnTo>
                  <a:lnTo>
                    <a:pt x="206" y="38"/>
                  </a:lnTo>
                  <a:lnTo>
                    <a:pt x="185" y="22"/>
                  </a:lnTo>
                  <a:lnTo>
                    <a:pt x="161" y="10"/>
                  </a:lnTo>
                  <a:lnTo>
                    <a:pt x="137" y="3"/>
                  </a:lnTo>
                  <a:lnTo>
                    <a:pt x="109" y="0"/>
                  </a:lnTo>
                  <a:lnTo>
                    <a:pt x="84" y="3"/>
                  </a:lnTo>
                  <a:lnTo>
                    <a:pt x="60" y="9"/>
                  </a:lnTo>
                  <a:lnTo>
                    <a:pt x="37" y="20"/>
                  </a:lnTo>
                  <a:lnTo>
                    <a:pt x="17" y="35"/>
                  </a:lnTo>
                  <a:lnTo>
                    <a:pt x="0" y="52"/>
                  </a:lnTo>
                  <a:lnTo>
                    <a:pt x="21" y="68"/>
                  </a:lnTo>
                  <a:lnTo>
                    <a:pt x="39" y="51"/>
                  </a:lnTo>
                  <a:lnTo>
                    <a:pt x="60" y="38"/>
                  </a:lnTo>
                  <a:lnTo>
                    <a:pt x="84" y="30"/>
                  </a:lnTo>
                  <a:lnTo>
                    <a:pt x="109" y="27"/>
                  </a:lnTo>
                  <a:lnTo>
                    <a:pt x="134" y="30"/>
                  </a:lnTo>
                  <a:lnTo>
                    <a:pt x="158" y="38"/>
                  </a:lnTo>
                  <a:lnTo>
                    <a:pt x="180" y="51"/>
                  </a:lnTo>
                  <a:lnTo>
                    <a:pt x="197" y="68"/>
                  </a:lnTo>
                  <a:lnTo>
                    <a:pt x="211" y="89"/>
                  </a:lnTo>
                  <a:lnTo>
                    <a:pt x="220" y="112"/>
                  </a:lnTo>
                  <a:lnTo>
                    <a:pt x="223" y="138"/>
                  </a:lnTo>
                  <a:lnTo>
                    <a:pt x="224" y="158"/>
                  </a:lnTo>
                  <a:lnTo>
                    <a:pt x="246" y="158"/>
                  </a:lnTo>
                  <a:lnTo>
                    <a:pt x="265" y="161"/>
                  </a:lnTo>
                  <a:lnTo>
                    <a:pt x="282" y="170"/>
                  </a:lnTo>
                  <a:lnTo>
                    <a:pt x="296" y="184"/>
                  </a:lnTo>
                  <a:lnTo>
                    <a:pt x="305" y="201"/>
                  </a:lnTo>
                  <a:lnTo>
                    <a:pt x="308" y="222"/>
                  </a:lnTo>
                  <a:lnTo>
                    <a:pt x="305" y="242"/>
                  </a:lnTo>
                  <a:lnTo>
                    <a:pt x="296" y="260"/>
                  </a:lnTo>
                  <a:lnTo>
                    <a:pt x="282" y="274"/>
                  </a:lnTo>
                  <a:lnTo>
                    <a:pt x="264" y="282"/>
                  </a:lnTo>
                  <a:lnTo>
                    <a:pt x="245" y="286"/>
                  </a:lnTo>
                  <a:lnTo>
                    <a:pt x="171" y="286"/>
                  </a:lnTo>
                  <a:lnTo>
                    <a:pt x="170" y="300"/>
                  </a:lnTo>
                  <a:lnTo>
                    <a:pt x="167" y="313"/>
                  </a:lnTo>
                  <a:lnTo>
                    <a:pt x="245" y="313"/>
                  </a:lnTo>
                  <a:lnTo>
                    <a:pt x="268" y="309"/>
                  </a:lnTo>
                  <a:lnTo>
                    <a:pt x="290" y="301"/>
                  </a:lnTo>
                  <a:lnTo>
                    <a:pt x="308" y="287"/>
                  </a:lnTo>
                  <a:lnTo>
                    <a:pt x="322" y="268"/>
                  </a:lnTo>
                  <a:lnTo>
                    <a:pt x="332" y="246"/>
                  </a:lnTo>
                  <a:lnTo>
                    <a:pt x="335" y="222"/>
                  </a:lnTo>
                  <a:lnTo>
                    <a:pt x="332" y="199"/>
                  </a:lnTo>
                  <a:lnTo>
                    <a:pt x="323" y="178"/>
                  </a:lnTo>
                  <a:lnTo>
                    <a:pt x="310" y="160"/>
                  </a:lnTo>
                  <a:lnTo>
                    <a:pt x="293" y="145"/>
                  </a:lnTo>
                  <a:lnTo>
                    <a:pt x="273" y="135"/>
                  </a:lnTo>
                  <a:lnTo>
                    <a:pt x="250" y="13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x-none"/>
            </a:p>
          </p:txBody>
        </p:sp>
        <p:sp>
          <p:nvSpPr>
            <p:cNvPr id="419" name="Freeform 14"/>
            <p:cNvSpPr>
              <a:spLocks/>
            </p:cNvSpPr>
            <p:nvPr/>
          </p:nvSpPr>
          <p:spPr bwMode="auto">
            <a:xfrm>
              <a:off x="4510090" y="5648326"/>
              <a:ext cx="400050" cy="261938"/>
            </a:xfrm>
            <a:custGeom>
              <a:avLst/>
              <a:gdLst>
                <a:gd name="T0" fmla="*/ 410 w 503"/>
                <a:gd name="T1" fmla="*/ 144 h 329"/>
                <a:gd name="T2" fmla="*/ 410 w 503"/>
                <a:gd name="T3" fmla="*/ 144 h 329"/>
                <a:gd name="T4" fmla="*/ 406 w 503"/>
                <a:gd name="T5" fmla="*/ 114 h 329"/>
                <a:gd name="T6" fmla="*/ 397 w 503"/>
                <a:gd name="T7" fmla="*/ 87 h 329"/>
                <a:gd name="T8" fmla="*/ 383 w 503"/>
                <a:gd name="T9" fmla="*/ 64 h 329"/>
                <a:gd name="T10" fmla="*/ 365 w 503"/>
                <a:gd name="T11" fmla="*/ 42 h 329"/>
                <a:gd name="T12" fmla="*/ 343 w 503"/>
                <a:gd name="T13" fmla="*/ 25 h 329"/>
                <a:gd name="T14" fmla="*/ 318 w 503"/>
                <a:gd name="T15" fmla="*/ 12 h 329"/>
                <a:gd name="T16" fmla="*/ 291 w 503"/>
                <a:gd name="T17" fmla="*/ 3 h 329"/>
                <a:gd name="T18" fmla="*/ 262 w 503"/>
                <a:gd name="T19" fmla="*/ 0 h 329"/>
                <a:gd name="T20" fmla="*/ 233 w 503"/>
                <a:gd name="T21" fmla="*/ 3 h 329"/>
                <a:gd name="T22" fmla="*/ 206 w 503"/>
                <a:gd name="T23" fmla="*/ 11 h 329"/>
                <a:gd name="T24" fmla="*/ 181 w 503"/>
                <a:gd name="T25" fmla="*/ 24 h 329"/>
                <a:gd name="T26" fmla="*/ 161 w 503"/>
                <a:gd name="T27" fmla="*/ 40 h 329"/>
                <a:gd name="T28" fmla="*/ 143 w 503"/>
                <a:gd name="T29" fmla="*/ 58 h 329"/>
                <a:gd name="T30" fmla="*/ 130 w 503"/>
                <a:gd name="T31" fmla="*/ 80 h 329"/>
                <a:gd name="T32" fmla="*/ 152 w 503"/>
                <a:gd name="T33" fmla="*/ 86 h 329"/>
                <a:gd name="T34" fmla="*/ 170 w 503"/>
                <a:gd name="T35" fmla="*/ 96 h 329"/>
                <a:gd name="T36" fmla="*/ 185 w 503"/>
                <a:gd name="T37" fmla="*/ 108 h 329"/>
                <a:gd name="T38" fmla="*/ 196 w 503"/>
                <a:gd name="T39" fmla="*/ 123 h 329"/>
                <a:gd name="T40" fmla="*/ 205 w 503"/>
                <a:gd name="T41" fmla="*/ 139 h 329"/>
                <a:gd name="T42" fmla="*/ 208 w 503"/>
                <a:gd name="T43" fmla="*/ 156 h 329"/>
                <a:gd name="T44" fmla="*/ 208 w 503"/>
                <a:gd name="T45" fmla="*/ 171 h 329"/>
                <a:gd name="T46" fmla="*/ 199 w 503"/>
                <a:gd name="T47" fmla="*/ 154 h 329"/>
                <a:gd name="T48" fmla="*/ 189 w 503"/>
                <a:gd name="T49" fmla="*/ 139 h 329"/>
                <a:gd name="T50" fmla="*/ 173 w 503"/>
                <a:gd name="T51" fmla="*/ 127 h 329"/>
                <a:gd name="T52" fmla="*/ 155 w 503"/>
                <a:gd name="T53" fmla="*/ 118 h 329"/>
                <a:gd name="T54" fmla="*/ 134 w 503"/>
                <a:gd name="T55" fmla="*/ 111 h 329"/>
                <a:gd name="T56" fmla="*/ 109 w 503"/>
                <a:gd name="T57" fmla="*/ 109 h 329"/>
                <a:gd name="T58" fmla="*/ 84 w 503"/>
                <a:gd name="T59" fmla="*/ 112 h 329"/>
                <a:gd name="T60" fmla="*/ 61 w 503"/>
                <a:gd name="T61" fmla="*/ 120 h 329"/>
                <a:gd name="T62" fmla="*/ 41 w 503"/>
                <a:gd name="T63" fmla="*/ 133 h 329"/>
                <a:gd name="T64" fmla="*/ 23 w 503"/>
                <a:gd name="T65" fmla="*/ 150 h 329"/>
                <a:gd name="T66" fmla="*/ 10 w 503"/>
                <a:gd name="T67" fmla="*/ 171 h 329"/>
                <a:gd name="T68" fmla="*/ 2 w 503"/>
                <a:gd name="T69" fmla="*/ 194 h 329"/>
                <a:gd name="T70" fmla="*/ 0 w 503"/>
                <a:gd name="T71" fmla="*/ 219 h 329"/>
                <a:gd name="T72" fmla="*/ 2 w 503"/>
                <a:gd name="T73" fmla="*/ 244 h 329"/>
                <a:gd name="T74" fmla="*/ 10 w 503"/>
                <a:gd name="T75" fmla="*/ 268 h 329"/>
                <a:gd name="T76" fmla="*/ 23 w 503"/>
                <a:gd name="T77" fmla="*/ 288 h 329"/>
                <a:gd name="T78" fmla="*/ 41 w 503"/>
                <a:gd name="T79" fmla="*/ 305 h 329"/>
                <a:gd name="T80" fmla="*/ 61 w 503"/>
                <a:gd name="T81" fmla="*/ 318 h 329"/>
                <a:gd name="T82" fmla="*/ 84 w 503"/>
                <a:gd name="T83" fmla="*/ 326 h 329"/>
                <a:gd name="T84" fmla="*/ 109 w 503"/>
                <a:gd name="T85" fmla="*/ 329 h 329"/>
                <a:gd name="T86" fmla="*/ 410 w 503"/>
                <a:gd name="T87" fmla="*/ 329 h 329"/>
                <a:gd name="T88" fmla="*/ 435 w 503"/>
                <a:gd name="T89" fmla="*/ 326 h 329"/>
                <a:gd name="T90" fmla="*/ 457 w 503"/>
                <a:gd name="T91" fmla="*/ 316 h 329"/>
                <a:gd name="T92" fmla="*/ 476 w 503"/>
                <a:gd name="T93" fmla="*/ 302 h 329"/>
                <a:gd name="T94" fmla="*/ 490 w 503"/>
                <a:gd name="T95" fmla="*/ 283 h 329"/>
                <a:gd name="T96" fmla="*/ 499 w 503"/>
                <a:gd name="T97" fmla="*/ 261 h 329"/>
                <a:gd name="T98" fmla="*/ 503 w 503"/>
                <a:gd name="T99" fmla="*/ 237 h 329"/>
                <a:gd name="T100" fmla="*/ 499 w 503"/>
                <a:gd name="T101" fmla="*/ 212 h 329"/>
                <a:gd name="T102" fmla="*/ 490 w 503"/>
                <a:gd name="T103" fmla="*/ 190 h 329"/>
                <a:gd name="T104" fmla="*/ 476 w 503"/>
                <a:gd name="T105" fmla="*/ 171 h 329"/>
                <a:gd name="T106" fmla="*/ 457 w 503"/>
                <a:gd name="T107" fmla="*/ 157 h 329"/>
                <a:gd name="T108" fmla="*/ 435 w 503"/>
                <a:gd name="T109" fmla="*/ 147 h 329"/>
                <a:gd name="T110" fmla="*/ 410 w 503"/>
                <a:gd name="T111" fmla="*/ 144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03" h="329">
                  <a:moveTo>
                    <a:pt x="410" y="144"/>
                  </a:moveTo>
                  <a:lnTo>
                    <a:pt x="410" y="144"/>
                  </a:lnTo>
                  <a:lnTo>
                    <a:pt x="406" y="114"/>
                  </a:lnTo>
                  <a:lnTo>
                    <a:pt x="397" y="87"/>
                  </a:lnTo>
                  <a:lnTo>
                    <a:pt x="383" y="64"/>
                  </a:lnTo>
                  <a:lnTo>
                    <a:pt x="365" y="42"/>
                  </a:lnTo>
                  <a:lnTo>
                    <a:pt x="343" y="25"/>
                  </a:lnTo>
                  <a:lnTo>
                    <a:pt x="318" y="12"/>
                  </a:lnTo>
                  <a:lnTo>
                    <a:pt x="291" y="3"/>
                  </a:lnTo>
                  <a:lnTo>
                    <a:pt x="262" y="0"/>
                  </a:lnTo>
                  <a:lnTo>
                    <a:pt x="233" y="3"/>
                  </a:lnTo>
                  <a:lnTo>
                    <a:pt x="206" y="11"/>
                  </a:lnTo>
                  <a:lnTo>
                    <a:pt x="181" y="24"/>
                  </a:lnTo>
                  <a:lnTo>
                    <a:pt x="161" y="40"/>
                  </a:lnTo>
                  <a:lnTo>
                    <a:pt x="143" y="58"/>
                  </a:lnTo>
                  <a:lnTo>
                    <a:pt x="130" y="80"/>
                  </a:lnTo>
                  <a:lnTo>
                    <a:pt x="152" y="86"/>
                  </a:lnTo>
                  <a:lnTo>
                    <a:pt x="170" y="96"/>
                  </a:lnTo>
                  <a:lnTo>
                    <a:pt x="185" y="108"/>
                  </a:lnTo>
                  <a:lnTo>
                    <a:pt x="196" y="123"/>
                  </a:lnTo>
                  <a:lnTo>
                    <a:pt x="205" y="139"/>
                  </a:lnTo>
                  <a:lnTo>
                    <a:pt x="208" y="156"/>
                  </a:lnTo>
                  <a:lnTo>
                    <a:pt x="208" y="171"/>
                  </a:lnTo>
                  <a:lnTo>
                    <a:pt x="199" y="154"/>
                  </a:lnTo>
                  <a:lnTo>
                    <a:pt x="189" y="139"/>
                  </a:lnTo>
                  <a:lnTo>
                    <a:pt x="173" y="127"/>
                  </a:lnTo>
                  <a:lnTo>
                    <a:pt x="155" y="118"/>
                  </a:lnTo>
                  <a:lnTo>
                    <a:pt x="134" y="111"/>
                  </a:lnTo>
                  <a:lnTo>
                    <a:pt x="109" y="109"/>
                  </a:lnTo>
                  <a:lnTo>
                    <a:pt x="84" y="112"/>
                  </a:lnTo>
                  <a:lnTo>
                    <a:pt x="61" y="120"/>
                  </a:lnTo>
                  <a:lnTo>
                    <a:pt x="41" y="133"/>
                  </a:lnTo>
                  <a:lnTo>
                    <a:pt x="23" y="150"/>
                  </a:lnTo>
                  <a:lnTo>
                    <a:pt x="10" y="171"/>
                  </a:lnTo>
                  <a:lnTo>
                    <a:pt x="2" y="194"/>
                  </a:lnTo>
                  <a:lnTo>
                    <a:pt x="0" y="219"/>
                  </a:lnTo>
                  <a:lnTo>
                    <a:pt x="2" y="244"/>
                  </a:lnTo>
                  <a:lnTo>
                    <a:pt x="10" y="268"/>
                  </a:lnTo>
                  <a:lnTo>
                    <a:pt x="23" y="288"/>
                  </a:lnTo>
                  <a:lnTo>
                    <a:pt x="41" y="305"/>
                  </a:lnTo>
                  <a:lnTo>
                    <a:pt x="61" y="318"/>
                  </a:lnTo>
                  <a:lnTo>
                    <a:pt x="84" y="326"/>
                  </a:lnTo>
                  <a:lnTo>
                    <a:pt x="109" y="329"/>
                  </a:lnTo>
                  <a:lnTo>
                    <a:pt x="410" y="329"/>
                  </a:lnTo>
                  <a:lnTo>
                    <a:pt x="435" y="326"/>
                  </a:lnTo>
                  <a:lnTo>
                    <a:pt x="457" y="316"/>
                  </a:lnTo>
                  <a:lnTo>
                    <a:pt x="476" y="302"/>
                  </a:lnTo>
                  <a:lnTo>
                    <a:pt x="490" y="283"/>
                  </a:lnTo>
                  <a:lnTo>
                    <a:pt x="499" y="261"/>
                  </a:lnTo>
                  <a:lnTo>
                    <a:pt x="503" y="237"/>
                  </a:lnTo>
                  <a:lnTo>
                    <a:pt x="499" y="212"/>
                  </a:lnTo>
                  <a:lnTo>
                    <a:pt x="490" y="190"/>
                  </a:lnTo>
                  <a:lnTo>
                    <a:pt x="476" y="171"/>
                  </a:lnTo>
                  <a:lnTo>
                    <a:pt x="457" y="157"/>
                  </a:lnTo>
                  <a:lnTo>
                    <a:pt x="435" y="147"/>
                  </a:lnTo>
                  <a:lnTo>
                    <a:pt x="410" y="14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x-none"/>
            </a:p>
          </p:txBody>
        </p:sp>
      </p:grpSp>
      <p:sp>
        <p:nvSpPr>
          <p:cNvPr id="138" name="Freeform 441"/>
          <p:cNvSpPr>
            <a:spLocks noEditPoints="1"/>
          </p:cNvSpPr>
          <p:nvPr/>
        </p:nvSpPr>
        <p:spPr bwMode="auto">
          <a:xfrm>
            <a:off x="5430347" y="1491280"/>
            <a:ext cx="2754085" cy="1670104"/>
          </a:xfrm>
          <a:custGeom>
            <a:avLst/>
            <a:gdLst>
              <a:gd name="T0" fmla="*/ 1582 w 3116"/>
              <a:gd name="T1" fmla="*/ 111 h 2061"/>
              <a:gd name="T2" fmla="*/ 1302 w 3116"/>
              <a:gd name="T3" fmla="*/ 279 h 2061"/>
              <a:gd name="T4" fmla="*/ 1134 w 3116"/>
              <a:gd name="T5" fmla="*/ 500 h 2061"/>
              <a:gd name="T6" fmla="*/ 966 w 3116"/>
              <a:gd name="T7" fmla="*/ 441 h 2061"/>
              <a:gd name="T8" fmla="*/ 758 w 3116"/>
              <a:gd name="T9" fmla="*/ 471 h 2061"/>
              <a:gd name="T10" fmla="*/ 589 w 3116"/>
              <a:gd name="T11" fmla="*/ 602 h 2061"/>
              <a:gd name="T12" fmla="*/ 505 w 3116"/>
              <a:gd name="T13" fmla="*/ 840 h 2061"/>
              <a:gd name="T14" fmla="*/ 353 w 3116"/>
              <a:gd name="T15" fmla="*/ 895 h 2061"/>
              <a:gd name="T16" fmla="*/ 161 w 3116"/>
              <a:gd name="T17" fmla="*/ 1030 h 2061"/>
              <a:gd name="T18" fmla="*/ 73 w 3116"/>
              <a:gd name="T19" fmla="*/ 1236 h 2061"/>
              <a:gd name="T20" fmla="*/ 111 w 3116"/>
              <a:gd name="T21" fmla="*/ 1474 h 2061"/>
              <a:gd name="T22" fmla="*/ 272 w 3116"/>
              <a:gd name="T23" fmla="*/ 1650 h 2061"/>
              <a:gd name="T24" fmla="*/ 488 w 3116"/>
              <a:gd name="T25" fmla="*/ 1711 h 2061"/>
              <a:gd name="T26" fmla="*/ 661 w 3116"/>
              <a:gd name="T27" fmla="*/ 1673 h 2061"/>
              <a:gd name="T28" fmla="*/ 881 w 3116"/>
              <a:gd name="T29" fmla="*/ 1867 h 2061"/>
              <a:gd name="T30" fmla="*/ 1226 w 3116"/>
              <a:gd name="T31" fmla="*/ 1984 h 2061"/>
              <a:gd name="T32" fmla="*/ 1594 w 3116"/>
              <a:gd name="T33" fmla="*/ 1945 h 2061"/>
              <a:gd name="T34" fmla="*/ 1847 w 3116"/>
              <a:gd name="T35" fmla="*/ 1804 h 2061"/>
              <a:gd name="T36" fmla="*/ 2038 w 3116"/>
              <a:gd name="T37" fmla="*/ 1877 h 2061"/>
              <a:gd name="T38" fmla="*/ 2254 w 3116"/>
              <a:gd name="T39" fmla="*/ 1855 h 2061"/>
              <a:gd name="T40" fmla="*/ 2424 w 3116"/>
              <a:gd name="T41" fmla="*/ 1744 h 2061"/>
              <a:gd name="T42" fmla="*/ 2542 w 3116"/>
              <a:gd name="T43" fmla="*/ 1702 h 2061"/>
              <a:gd name="T44" fmla="*/ 2791 w 3116"/>
              <a:gd name="T45" fmla="*/ 1661 h 2061"/>
              <a:gd name="T46" fmla="*/ 2981 w 3116"/>
              <a:gd name="T47" fmla="*/ 1486 h 2061"/>
              <a:gd name="T48" fmla="*/ 3047 w 3116"/>
              <a:gd name="T49" fmla="*/ 1250 h 2061"/>
              <a:gd name="T50" fmla="*/ 2971 w 3116"/>
              <a:gd name="T51" fmla="*/ 997 h 2061"/>
              <a:gd name="T52" fmla="*/ 2774 w 3116"/>
              <a:gd name="T53" fmla="*/ 833 h 2061"/>
              <a:gd name="T54" fmla="*/ 2614 w 3116"/>
              <a:gd name="T55" fmla="*/ 769 h 2061"/>
              <a:gd name="T56" fmla="*/ 2512 w 3116"/>
              <a:gd name="T57" fmla="*/ 457 h 2061"/>
              <a:gd name="T58" fmla="*/ 2299 w 3116"/>
              <a:gd name="T59" fmla="*/ 220 h 2061"/>
              <a:gd name="T60" fmla="*/ 2003 w 3116"/>
              <a:gd name="T61" fmla="*/ 86 h 2061"/>
              <a:gd name="T62" fmla="*/ 1929 w 3116"/>
              <a:gd name="T63" fmla="*/ 5 h 2061"/>
              <a:gd name="T64" fmla="*/ 2266 w 3116"/>
              <a:gd name="T65" fmla="*/ 116 h 2061"/>
              <a:gd name="T66" fmla="*/ 2524 w 3116"/>
              <a:gd name="T67" fmla="*/ 350 h 2061"/>
              <a:gd name="T68" fmla="*/ 2668 w 3116"/>
              <a:gd name="T69" fmla="*/ 670 h 2061"/>
              <a:gd name="T70" fmla="*/ 2836 w 3116"/>
              <a:gd name="T71" fmla="*/ 786 h 2061"/>
              <a:gd name="T72" fmla="*/ 3021 w 3116"/>
              <a:gd name="T73" fmla="*/ 949 h 2061"/>
              <a:gd name="T74" fmla="*/ 3113 w 3116"/>
              <a:gd name="T75" fmla="*/ 1184 h 2061"/>
              <a:gd name="T76" fmla="*/ 3084 w 3116"/>
              <a:gd name="T77" fmla="*/ 1435 h 2061"/>
              <a:gd name="T78" fmla="*/ 2948 w 3116"/>
              <a:gd name="T79" fmla="*/ 1635 h 2061"/>
              <a:gd name="T80" fmla="*/ 2732 w 3116"/>
              <a:gd name="T81" fmla="*/ 1756 h 2061"/>
              <a:gd name="T82" fmla="*/ 2498 w 3116"/>
              <a:gd name="T83" fmla="*/ 1764 h 2061"/>
              <a:gd name="T84" fmla="*/ 2332 w 3116"/>
              <a:gd name="T85" fmla="*/ 1896 h 2061"/>
              <a:gd name="T86" fmla="*/ 2100 w 3116"/>
              <a:gd name="T87" fmla="*/ 1950 h 2061"/>
              <a:gd name="T88" fmla="*/ 1852 w 3116"/>
              <a:gd name="T89" fmla="*/ 1887 h 2061"/>
              <a:gd name="T90" fmla="*/ 1575 w 3116"/>
              <a:gd name="T91" fmla="*/ 2024 h 2061"/>
              <a:gd name="T92" fmla="*/ 1238 w 3116"/>
              <a:gd name="T93" fmla="*/ 2055 h 2061"/>
              <a:gd name="T94" fmla="*/ 931 w 3116"/>
              <a:gd name="T95" fmla="*/ 1972 h 2061"/>
              <a:gd name="T96" fmla="*/ 677 w 3116"/>
              <a:gd name="T97" fmla="*/ 1794 h 2061"/>
              <a:gd name="T98" fmla="*/ 488 w 3116"/>
              <a:gd name="T99" fmla="*/ 1780 h 2061"/>
              <a:gd name="T100" fmla="*/ 265 w 3116"/>
              <a:gd name="T101" fmla="*/ 1725 h 2061"/>
              <a:gd name="T102" fmla="*/ 95 w 3116"/>
              <a:gd name="T103" fmla="*/ 1579 h 2061"/>
              <a:gd name="T104" fmla="*/ 5 w 3116"/>
              <a:gd name="T105" fmla="*/ 1357 h 2061"/>
              <a:gd name="T106" fmla="*/ 38 w 3116"/>
              <a:gd name="T107" fmla="*/ 1105 h 2061"/>
              <a:gd name="T108" fmla="*/ 182 w 3116"/>
              <a:gd name="T109" fmla="*/ 911 h 2061"/>
              <a:gd name="T110" fmla="*/ 407 w 3116"/>
              <a:gd name="T111" fmla="*/ 810 h 2061"/>
              <a:gd name="T112" fmla="*/ 488 w 3116"/>
              <a:gd name="T113" fmla="*/ 635 h 2061"/>
              <a:gd name="T114" fmla="*/ 670 w 3116"/>
              <a:gd name="T115" fmla="*/ 438 h 2061"/>
              <a:gd name="T116" fmla="*/ 916 w 3116"/>
              <a:gd name="T117" fmla="*/ 370 h 2061"/>
              <a:gd name="T118" fmla="*/ 1108 w 3116"/>
              <a:gd name="T119" fmla="*/ 410 h 2061"/>
              <a:gd name="T120" fmla="*/ 1323 w 3116"/>
              <a:gd name="T121" fmla="*/ 171 h 2061"/>
              <a:gd name="T122" fmla="*/ 1648 w 3116"/>
              <a:gd name="T123" fmla="*/ 20 h 20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116" h="2061">
                <a:moveTo>
                  <a:pt x="1835" y="69"/>
                </a:moveTo>
                <a:lnTo>
                  <a:pt x="1749" y="72"/>
                </a:lnTo>
                <a:lnTo>
                  <a:pt x="1664" y="86"/>
                </a:lnTo>
                <a:lnTo>
                  <a:pt x="1582" y="111"/>
                </a:lnTo>
                <a:lnTo>
                  <a:pt x="1506" y="142"/>
                </a:lnTo>
                <a:lnTo>
                  <a:pt x="1433" y="180"/>
                </a:lnTo>
                <a:lnTo>
                  <a:pt x="1364" y="227"/>
                </a:lnTo>
                <a:lnTo>
                  <a:pt x="1302" y="279"/>
                </a:lnTo>
                <a:lnTo>
                  <a:pt x="1245" y="337"/>
                </a:lnTo>
                <a:lnTo>
                  <a:pt x="1195" y="401"/>
                </a:lnTo>
                <a:lnTo>
                  <a:pt x="1151" y="471"/>
                </a:lnTo>
                <a:lnTo>
                  <a:pt x="1134" y="500"/>
                </a:lnTo>
                <a:lnTo>
                  <a:pt x="1104" y="485"/>
                </a:lnTo>
                <a:lnTo>
                  <a:pt x="1061" y="466"/>
                </a:lnTo>
                <a:lnTo>
                  <a:pt x="1014" y="452"/>
                </a:lnTo>
                <a:lnTo>
                  <a:pt x="966" y="441"/>
                </a:lnTo>
                <a:lnTo>
                  <a:pt x="916" y="440"/>
                </a:lnTo>
                <a:lnTo>
                  <a:pt x="860" y="443"/>
                </a:lnTo>
                <a:lnTo>
                  <a:pt x="808" y="453"/>
                </a:lnTo>
                <a:lnTo>
                  <a:pt x="758" y="471"/>
                </a:lnTo>
                <a:lnTo>
                  <a:pt x="711" y="493"/>
                </a:lnTo>
                <a:lnTo>
                  <a:pt x="668" y="523"/>
                </a:lnTo>
                <a:lnTo>
                  <a:pt x="628" y="556"/>
                </a:lnTo>
                <a:lnTo>
                  <a:pt x="589" y="602"/>
                </a:lnTo>
                <a:lnTo>
                  <a:pt x="554" y="654"/>
                </a:lnTo>
                <a:lnTo>
                  <a:pt x="530" y="713"/>
                </a:lnTo>
                <a:lnTo>
                  <a:pt x="512" y="774"/>
                </a:lnTo>
                <a:lnTo>
                  <a:pt x="505" y="840"/>
                </a:lnTo>
                <a:lnTo>
                  <a:pt x="505" y="873"/>
                </a:lnTo>
                <a:lnTo>
                  <a:pt x="473" y="873"/>
                </a:lnTo>
                <a:lnTo>
                  <a:pt x="412" y="879"/>
                </a:lnTo>
                <a:lnTo>
                  <a:pt x="353" y="895"/>
                </a:lnTo>
                <a:lnTo>
                  <a:pt x="298" y="919"/>
                </a:lnTo>
                <a:lnTo>
                  <a:pt x="247" y="949"/>
                </a:lnTo>
                <a:lnTo>
                  <a:pt x="201" y="987"/>
                </a:lnTo>
                <a:lnTo>
                  <a:pt x="161" y="1030"/>
                </a:lnTo>
                <a:lnTo>
                  <a:pt x="128" y="1079"/>
                </a:lnTo>
                <a:lnTo>
                  <a:pt x="100" y="1132"/>
                </a:lnTo>
                <a:lnTo>
                  <a:pt x="85" y="1183"/>
                </a:lnTo>
                <a:lnTo>
                  <a:pt x="73" y="1236"/>
                </a:lnTo>
                <a:lnTo>
                  <a:pt x="69" y="1292"/>
                </a:lnTo>
                <a:lnTo>
                  <a:pt x="74" y="1356"/>
                </a:lnTo>
                <a:lnTo>
                  <a:pt x="88" y="1416"/>
                </a:lnTo>
                <a:lnTo>
                  <a:pt x="111" y="1474"/>
                </a:lnTo>
                <a:lnTo>
                  <a:pt x="142" y="1525"/>
                </a:lnTo>
                <a:lnTo>
                  <a:pt x="178" y="1572"/>
                </a:lnTo>
                <a:lnTo>
                  <a:pt x="221" y="1614"/>
                </a:lnTo>
                <a:lnTo>
                  <a:pt x="272" y="1650"/>
                </a:lnTo>
                <a:lnTo>
                  <a:pt x="325" y="1678"/>
                </a:lnTo>
                <a:lnTo>
                  <a:pt x="377" y="1695"/>
                </a:lnTo>
                <a:lnTo>
                  <a:pt x="431" y="1706"/>
                </a:lnTo>
                <a:lnTo>
                  <a:pt x="488" y="1711"/>
                </a:lnTo>
                <a:lnTo>
                  <a:pt x="540" y="1707"/>
                </a:lnTo>
                <a:lnTo>
                  <a:pt x="590" y="1697"/>
                </a:lnTo>
                <a:lnTo>
                  <a:pt x="639" y="1681"/>
                </a:lnTo>
                <a:lnTo>
                  <a:pt x="661" y="1673"/>
                </a:lnTo>
                <a:lnTo>
                  <a:pt x="679" y="1692"/>
                </a:lnTo>
                <a:lnTo>
                  <a:pt x="739" y="1758"/>
                </a:lnTo>
                <a:lnTo>
                  <a:pt x="807" y="1815"/>
                </a:lnTo>
                <a:lnTo>
                  <a:pt x="881" y="1867"/>
                </a:lnTo>
                <a:lnTo>
                  <a:pt x="961" y="1910"/>
                </a:lnTo>
                <a:lnTo>
                  <a:pt x="1046" y="1945"/>
                </a:lnTo>
                <a:lnTo>
                  <a:pt x="1134" y="1969"/>
                </a:lnTo>
                <a:lnTo>
                  <a:pt x="1226" y="1984"/>
                </a:lnTo>
                <a:lnTo>
                  <a:pt x="1321" y="1991"/>
                </a:lnTo>
                <a:lnTo>
                  <a:pt x="1414" y="1986"/>
                </a:lnTo>
                <a:lnTo>
                  <a:pt x="1506" y="1971"/>
                </a:lnTo>
                <a:lnTo>
                  <a:pt x="1594" y="1945"/>
                </a:lnTo>
                <a:lnTo>
                  <a:pt x="1678" y="1912"/>
                </a:lnTo>
                <a:lnTo>
                  <a:pt x="1756" y="1870"/>
                </a:lnTo>
                <a:lnTo>
                  <a:pt x="1830" y="1820"/>
                </a:lnTo>
                <a:lnTo>
                  <a:pt x="1847" y="1804"/>
                </a:lnTo>
                <a:lnTo>
                  <a:pt x="1868" y="1816"/>
                </a:lnTo>
                <a:lnTo>
                  <a:pt x="1922" y="1842"/>
                </a:lnTo>
                <a:lnTo>
                  <a:pt x="1977" y="1865"/>
                </a:lnTo>
                <a:lnTo>
                  <a:pt x="2038" y="1877"/>
                </a:lnTo>
                <a:lnTo>
                  <a:pt x="2100" y="1881"/>
                </a:lnTo>
                <a:lnTo>
                  <a:pt x="2154" y="1877"/>
                </a:lnTo>
                <a:lnTo>
                  <a:pt x="2206" y="1868"/>
                </a:lnTo>
                <a:lnTo>
                  <a:pt x="2254" y="1855"/>
                </a:lnTo>
                <a:lnTo>
                  <a:pt x="2303" y="1834"/>
                </a:lnTo>
                <a:lnTo>
                  <a:pt x="2346" y="1808"/>
                </a:lnTo>
                <a:lnTo>
                  <a:pt x="2387" y="1778"/>
                </a:lnTo>
                <a:lnTo>
                  <a:pt x="2424" y="1744"/>
                </a:lnTo>
                <a:lnTo>
                  <a:pt x="2458" y="1707"/>
                </a:lnTo>
                <a:lnTo>
                  <a:pt x="2471" y="1690"/>
                </a:lnTo>
                <a:lnTo>
                  <a:pt x="2493" y="1693"/>
                </a:lnTo>
                <a:lnTo>
                  <a:pt x="2542" y="1702"/>
                </a:lnTo>
                <a:lnTo>
                  <a:pt x="2594" y="1706"/>
                </a:lnTo>
                <a:lnTo>
                  <a:pt x="2663" y="1700"/>
                </a:lnTo>
                <a:lnTo>
                  <a:pt x="2729" y="1685"/>
                </a:lnTo>
                <a:lnTo>
                  <a:pt x="2791" y="1661"/>
                </a:lnTo>
                <a:lnTo>
                  <a:pt x="2848" y="1628"/>
                </a:lnTo>
                <a:lnTo>
                  <a:pt x="2898" y="1588"/>
                </a:lnTo>
                <a:lnTo>
                  <a:pt x="2943" y="1539"/>
                </a:lnTo>
                <a:lnTo>
                  <a:pt x="2981" y="1486"/>
                </a:lnTo>
                <a:lnTo>
                  <a:pt x="3013" y="1428"/>
                </a:lnTo>
                <a:lnTo>
                  <a:pt x="3032" y="1371"/>
                </a:lnTo>
                <a:lnTo>
                  <a:pt x="3044" y="1312"/>
                </a:lnTo>
                <a:lnTo>
                  <a:pt x="3047" y="1250"/>
                </a:lnTo>
                <a:lnTo>
                  <a:pt x="3042" y="1183"/>
                </a:lnTo>
                <a:lnTo>
                  <a:pt x="3028" y="1117"/>
                </a:lnTo>
                <a:lnTo>
                  <a:pt x="3004" y="1054"/>
                </a:lnTo>
                <a:lnTo>
                  <a:pt x="2971" y="997"/>
                </a:lnTo>
                <a:lnTo>
                  <a:pt x="2931" y="947"/>
                </a:lnTo>
                <a:lnTo>
                  <a:pt x="2884" y="902"/>
                </a:lnTo>
                <a:lnTo>
                  <a:pt x="2832" y="864"/>
                </a:lnTo>
                <a:lnTo>
                  <a:pt x="2774" y="833"/>
                </a:lnTo>
                <a:lnTo>
                  <a:pt x="2711" y="812"/>
                </a:lnTo>
                <a:lnTo>
                  <a:pt x="2644" y="798"/>
                </a:lnTo>
                <a:lnTo>
                  <a:pt x="2616" y="795"/>
                </a:lnTo>
                <a:lnTo>
                  <a:pt x="2614" y="769"/>
                </a:lnTo>
                <a:lnTo>
                  <a:pt x="2600" y="686"/>
                </a:lnTo>
                <a:lnTo>
                  <a:pt x="2580" y="606"/>
                </a:lnTo>
                <a:lnTo>
                  <a:pt x="2549" y="530"/>
                </a:lnTo>
                <a:lnTo>
                  <a:pt x="2512" y="457"/>
                </a:lnTo>
                <a:lnTo>
                  <a:pt x="2467" y="389"/>
                </a:lnTo>
                <a:lnTo>
                  <a:pt x="2417" y="327"/>
                </a:lnTo>
                <a:lnTo>
                  <a:pt x="2360" y="270"/>
                </a:lnTo>
                <a:lnTo>
                  <a:pt x="2299" y="220"/>
                </a:lnTo>
                <a:lnTo>
                  <a:pt x="2232" y="176"/>
                </a:lnTo>
                <a:lnTo>
                  <a:pt x="2159" y="138"/>
                </a:lnTo>
                <a:lnTo>
                  <a:pt x="2083" y="109"/>
                </a:lnTo>
                <a:lnTo>
                  <a:pt x="2003" y="86"/>
                </a:lnTo>
                <a:lnTo>
                  <a:pt x="1922" y="72"/>
                </a:lnTo>
                <a:lnTo>
                  <a:pt x="1835" y="69"/>
                </a:lnTo>
                <a:close/>
                <a:moveTo>
                  <a:pt x="1835" y="0"/>
                </a:moveTo>
                <a:lnTo>
                  <a:pt x="1929" y="5"/>
                </a:lnTo>
                <a:lnTo>
                  <a:pt x="2019" y="19"/>
                </a:lnTo>
                <a:lnTo>
                  <a:pt x="2105" y="43"/>
                </a:lnTo>
                <a:lnTo>
                  <a:pt x="2188" y="76"/>
                </a:lnTo>
                <a:lnTo>
                  <a:pt x="2266" y="116"/>
                </a:lnTo>
                <a:lnTo>
                  <a:pt x="2339" y="164"/>
                </a:lnTo>
                <a:lnTo>
                  <a:pt x="2407" y="220"/>
                </a:lnTo>
                <a:lnTo>
                  <a:pt x="2469" y="282"/>
                </a:lnTo>
                <a:lnTo>
                  <a:pt x="2524" y="350"/>
                </a:lnTo>
                <a:lnTo>
                  <a:pt x="2571" y="422"/>
                </a:lnTo>
                <a:lnTo>
                  <a:pt x="2613" y="500"/>
                </a:lnTo>
                <a:lnTo>
                  <a:pt x="2644" y="583"/>
                </a:lnTo>
                <a:lnTo>
                  <a:pt x="2668" y="670"/>
                </a:lnTo>
                <a:lnTo>
                  <a:pt x="2678" y="734"/>
                </a:lnTo>
                <a:lnTo>
                  <a:pt x="2716" y="741"/>
                </a:lnTo>
                <a:lnTo>
                  <a:pt x="2777" y="760"/>
                </a:lnTo>
                <a:lnTo>
                  <a:pt x="2836" y="786"/>
                </a:lnTo>
                <a:lnTo>
                  <a:pt x="2890" y="819"/>
                </a:lnTo>
                <a:lnTo>
                  <a:pt x="2938" y="857"/>
                </a:lnTo>
                <a:lnTo>
                  <a:pt x="2983" y="900"/>
                </a:lnTo>
                <a:lnTo>
                  <a:pt x="3021" y="949"/>
                </a:lnTo>
                <a:lnTo>
                  <a:pt x="3054" y="1002"/>
                </a:lnTo>
                <a:lnTo>
                  <a:pt x="3082" y="1060"/>
                </a:lnTo>
                <a:lnTo>
                  <a:pt x="3101" y="1120"/>
                </a:lnTo>
                <a:lnTo>
                  <a:pt x="3113" y="1184"/>
                </a:lnTo>
                <a:lnTo>
                  <a:pt x="3116" y="1250"/>
                </a:lnTo>
                <a:lnTo>
                  <a:pt x="3113" y="1314"/>
                </a:lnTo>
                <a:lnTo>
                  <a:pt x="3103" y="1377"/>
                </a:lnTo>
                <a:lnTo>
                  <a:pt x="3084" y="1435"/>
                </a:lnTo>
                <a:lnTo>
                  <a:pt x="3059" y="1491"/>
                </a:lnTo>
                <a:lnTo>
                  <a:pt x="3028" y="1545"/>
                </a:lnTo>
                <a:lnTo>
                  <a:pt x="2992" y="1591"/>
                </a:lnTo>
                <a:lnTo>
                  <a:pt x="2948" y="1635"/>
                </a:lnTo>
                <a:lnTo>
                  <a:pt x="2902" y="1674"/>
                </a:lnTo>
                <a:lnTo>
                  <a:pt x="2852" y="1707"/>
                </a:lnTo>
                <a:lnTo>
                  <a:pt x="2798" y="1733"/>
                </a:lnTo>
                <a:lnTo>
                  <a:pt x="2732" y="1756"/>
                </a:lnTo>
                <a:lnTo>
                  <a:pt x="2665" y="1770"/>
                </a:lnTo>
                <a:lnTo>
                  <a:pt x="2594" y="1775"/>
                </a:lnTo>
                <a:lnTo>
                  <a:pt x="2535" y="1771"/>
                </a:lnTo>
                <a:lnTo>
                  <a:pt x="2498" y="1764"/>
                </a:lnTo>
                <a:lnTo>
                  <a:pt x="2474" y="1792"/>
                </a:lnTo>
                <a:lnTo>
                  <a:pt x="2431" y="1832"/>
                </a:lnTo>
                <a:lnTo>
                  <a:pt x="2384" y="1867"/>
                </a:lnTo>
                <a:lnTo>
                  <a:pt x="2332" y="1896"/>
                </a:lnTo>
                <a:lnTo>
                  <a:pt x="2278" y="1919"/>
                </a:lnTo>
                <a:lnTo>
                  <a:pt x="2221" y="1936"/>
                </a:lnTo>
                <a:lnTo>
                  <a:pt x="2162" y="1946"/>
                </a:lnTo>
                <a:lnTo>
                  <a:pt x="2100" y="1950"/>
                </a:lnTo>
                <a:lnTo>
                  <a:pt x="2027" y="1945"/>
                </a:lnTo>
                <a:lnTo>
                  <a:pt x="1960" y="1931"/>
                </a:lnTo>
                <a:lnTo>
                  <a:pt x="1894" y="1908"/>
                </a:lnTo>
                <a:lnTo>
                  <a:pt x="1852" y="1887"/>
                </a:lnTo>
                <a:lnTo>
                  <a:pt x="1804" y="1922"/>
                </a:lnTo>
                <a:lnTo>
                  <a:pt x="1731" y="1962"/>
                </a:lnTo>
                <a:lnTo>
                  <a:pt x="1655" y="1997"/>
                </a:lnTo>
                <a:lnTo>
                  <a:pt x="1575" y="2024"/>
                </a:lnTo>
                <a:lnTo>
                  <a:pt x="1494" y="2043"/>
                </a:lnTo>
                <a:lnTo>
                  <a:pt x="1409" y="2055"/>
                </a:lnTo>
                <a:lnTo>
                  <a:pt x="1321" y="2061"/>
                </a:lnTo>
                <a:lnTo>
                  <a:pt x="1238" y="2055"/>
                </a:lnTo>
                <a:lnTo>
                  <a:pt x="1158" y="2045"/>
                </a:lnTo>
                <a:lnTo>
                  <a:pt x="1079" y="2028"/>
                </a:lnTo>
                <a:lnTo>
                  <a:pt x="1004" y="2003"/>
                </a:lnTo>
                <a:lnTo>
                  <a:pt x="931" y="1972"/>
                </a:lnTo>
                <a:lnTo>
                  <a:pt x="862" y="1936"/>
                </a:lnTo>
                <a:lnTo>
                  <a:pt x="796" y="1893"/>
                </a:lnTo>
                <a:lnTo>
                  <a:pt x="734" y="1846"/>
                </a:lnTo>
                <a:lnTo>
                  <a:pt x="677" y="1794"/>
                </a:lnTo>
                <a:lnTo>
                  <a:pt x="640" y="1754"/>
                </a:lnTo>
                <a:lnTo>
                  <a:pt x="608" y="1764"/>
                </a:lnTo>
                <a:lnTo>
                  <a:pt x="549" y="1775"/>
                </a:lnTo>
                <a:lnTo>
                  <a:pt x="488" y="1780"/>
                </a:lnTo>
                <a:lnTo>
                  <a:pt x="429" y="1775"/>
                </a:lnTo>
                <a:lnTo>
                  <a:pt x="370" y="1764"/>
                </a:lnTo>
                <a:lnTo>
                  <a:pt x="317" y="1747"/>
                </a:lnTo>
                <a:lnTo>
                  <a:pt x="265" y="1725"/>
                </a:lnTo>
                <a:lnTo>
                  <a:pt x="216" y="1695"/>
                </a:lnTo>
                <a:lnTo>
                  <a:pt x="171" y="1662"/>
                </a:lnTo>
                <a:lnTo>
                  <a:pt x="130" y="1622"/>
                </a:lnTo>
                <a:lnTo>
                  <a:pt x="95" y="1579"/>
                </a:lnTo>
                <a:lnTo>
                  <a:pt x="64" y="1532"/>
                </a:lnTo>
                <a:lnTo>
                  <a:pt x="40" y="1480"/>
                </a:lnTo>
                <a:lnTo>
                  <a:pt x="17" y="1422"/>
                </a:lnTo>
                <a:lnTo>
                  <a:pt x="5" y="1357"/>
                </a:lnTo>
                <a:lnTo>
                  <a:pt x="0" y="1292"/>
                </a:lnTo>
                <a:lnTo>
                  <a:pt x="5" y="1226"/>
                </a:lnTo>
                <a:lnTo>
                  <a:pt x="17" y="1164"/>
                </a:lnTo>
                <a:lnTo>
                  <a:pt x="38" y="1105"/>
                </a:lnTo>
                <a:lnTo>
                  <a:pt x="64" y="1049"/>
                </a:lnTo>
                <a:lnTo>
                  <a:pt x="99" y="999"/>
                </a:lnTo>
                <a:lnTo>
                  <a:pt x="137" y="952"/>
                </a:lnTo>
                <a:lnTo>
                  <a:pt x="182" y="911"/>
                </a:lnTo>
                <a:lnTo>
                  <a:pt x="232" y="876"/>
                </a:lnTo>
                <a:lnTo>
                  <a:pt x="287" y="847"/>
                </a:lnTo>
                <a:lnTo>
                  <a:pt x="344" y="826"/>
                </a:lnTo>
                <a:lnTo>
                  <a:pt x="407" y="810"/>
                </a:lnTo>
                <a:lnTo>
                  <a:pt x="440" y="807"/>
                </a:lnTo>
                <a:lnTo>
                  <a:pt x="443" y="767"/>
                </a:lnTo>
                <a:lnTo>
                  <a:pt x="460" y="698"/>
                </a:lnTo>
                <a:lnTo>
                  <a:pt x="488" y="635"/>
                </a:lnTo>
                <a:lnTo>
                  <a:pt x="523" y="576"/>
                </a:lnTo>
                <a:lnTo>
                  <a:pt x="564" y="523"/>
                </a:lnTo>
                <a:lnTo>
                  <a:pt x="615" y="476"/>
                </a:lnTo>
                <a:lnTo>
                  <a:pt x="670" y="438"/>
                </a:lnTo>
                <a:lnTo>
                  <a:pt x="732" y="407"/>
                </a:lnTo>
                <a:lnTo>
                  <a:pt x="789" y="386"/>
                </a:lnTo>
                <a:lnTo>
                  <a:pt x="852" y="374"/>
                </a:lnTo>
                <a:lnTo>
                  <a:pt x="916" y="370"/>
                </a:lnTo>
                <a:lnTo>
                  <a:pt x="975" y="374"/>
                </a:lnTo>
                <a:lnTo>
                  <a:pt x="1032" y="384"/>
                </a:lnTo>
                <a:lnTo>
                  <a:pt x="1085" y="401"/>
                </a:lnTo>
                <a:lnTo>
                  <a:pt x="1108" y="410"/>
                </a:lnTo>
                <a:lnTo>
                  <a:pt x="1137" y="362"/>
                </a:lnTo>
                <a:lnTo>
                  <a:pt x="1193" y="292"/>
                </a:lnTo>
                <a:lnTo>
                  <a:pt x="1255" y="228"/>
                </a:lnTo>
                <a:lnTo>
                  <a:pt x="1323" y="171"/>
                </a:lnTo>
                <a:lnTo>
                  <a:pt x="1397" y="121"/>
                </a:lnTo>
                <a:lnTo>
                  <a:pt x="1477" y="78"/>
                </a:lnTo>
                <a:lnTo>
                  <a:pt x="1560" y="45"/>
                </a:lnTo>
                <a:lnTo>
                  <a:pt x="1648" y="20"/>
                </a:lnTo>
                <a:lnTo>
                  <a:pt x="1740" y="5"/>
                </a:lnTo>
                <a:lnTo>
                  <a:pt x="1835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x-none" sz="2400">
              <a:solidFill>
                <a:schemeClr val="bg1"/>
              </a:solidFill>
            </a:endParaRPr>
          </a:p>
        </p:txBody>
      </p:sp>
      <p:sp>
        <p:nvSpPr>
          <p:cNvPr id="139" name="Titel 1"/>
          <p:cNvSpPr txBox="1">
            <a:spLocks/>
          </p:cNvSpPr>
          <p:nvPr/>
        </p:nvSpPr>
        <p:spPr bwMode="gray">
          <a:xfrm>
            <a:off x="5981262" y="1461580"/>
            <a:ext cx="1708867" cy="14879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defTabSz="457322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defRPr lang="x-none" sz="4441" kern="1200">
                <a:solidFill>
                  <a:schemeClr val="tx2"/>
                </a:solidFill>
                <a:latin typeface="TeleGrotesk Headline Ultra" pitchFamily="2" charset="0"/>
                <a:ea typeface="+mj-ea"/>
                <a:cs typeface="TeleGrotesk Headline Ultra" pitchFamily="2" charset="0"/>
              </a:defRPr>
            </a:lvl1pPr>
            <a:lvl2pPr algn="l" defTabSz="576226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tx2"/>
                </a:solidFill>
                <a:latin typeface="Tele-GroteskUlt" pitchFamily="2" charset="0"/>
              </a:defRPr>
            </a:lvl2pPr>
            <a:lvl3pPr algn="l" defTabSz="576226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tx2"/>
                </a:solidFill>
                <a:latin typeface="Tele-GroteskUlt" pitchFamily="2" charset="0"/>
              </a:defRPr>
            </a:lvl3pPr>
            <a:lvl4pPr algn="l" defTabSz="576226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tx2"/>
                </a:solidFill>
                <a:latin typeface="Tele-GroteskUlt" pitchFamily="2" charset="0"/>
              </a:defRPr>
            </a:lvl4pPr>
            <a:lvl5pPr algn="l" defTabSz="576226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tx2"/>
                </a:solidFill>
                <a:latin typeface="Tele-GroteskUlt" pitchFamily="2" charset="0"/>
              </a:defRPr>
            </a:lvl5pPr>
            <a:lvl6pPr marL="457171" algn="l" defTabSz="576226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tx2"/>
                </a:solidFill>
                <a:latin typeface="Tele-GroteskUlt" pitchFamily="2" charset="0"/>
              </a:defRPr>
            </a:lvl6pPr>
            <a:lvl7pPr marL="914342" algn="l" defTabSz="576226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tx2"/>
                </a:solidFill>
                <a:latin typeface="Tele-GroteskUlt" pitchFamily="2" charset="0"/>
              </a:defRPr>
            </a:lvl7pPr>
            <a:lvl8pPr marL="1371513" algn="l" defTabSz="576226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tx2"/>
                </a:solidFill>
                <a:latin typeface="Tele-GroteskUlt" pitchFamily="2" charset="0"/>
              </a:defRPr>
            </a:lvl8pPr>
            <a:lvl9pPr marL="1828683" algn="l" defTabSz="576226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pPr algn="ctr" rtl="0">
              <a:lnSpc>
                <a:spcPct val="83000"/>
              </a:lnSpc>
            </a:pPr>
            <a:r>
              <a:rPr lang="x-none" sz="2800" b="0" i="0" u="none" baseline="0">
                <a:solidFill>
                  <a:schemeClr val="bg1"/>
                </a:solidFill>
                <a:latin typeface="Tele-GroteskFet" pitchFamily="2" charset="0"/>
              </a:rPr>
              <a:t>Open</a:t>
            </a:r>
            <a:r>
              <a:rPr lang="x-none" sz="2800">
                <a:solidFill>
                  <a:schemeClr val="bg1"/>
                </a:solidFill>
                <a:latin typeface="Tele-GroteskFet" pitchFamily="2" charset="0"/>
              </a:rPr>
              <a:t/>
            </a:r>
            <a:br>
              <a:rPr lang="x-none" sz="2800">
                <a:solidFill>
                  <a:schemeClr val="bg1"/>
                </a:solidFill>
                <a:latin typeface="Tele-GroteskFet" pitchFamily="2" charset="0"/>
              </a:rPr>
            </a:br>
            <a:r>
              <a:rPr lang="x-none" sz="2800" b="0" i="0" u="none" baseline="0">
                <a:solidFill>
                  <a:schemeClr val="bg1"/>
                </a:solidFill>
                <a:latin typeface="Tele-GroteskFet" pitchFamily="2" charset="0"/>
              </a:rPr>
              <a:t>Telekom </a:t>
            </a:r>
          </a:p>
          <a:p>
            <a:pPr algn="ctr" rtl="0">
              <a:lnSpc>
                <a:spcPct val="83000"/>
              </a:lnSpc>
            </a:pPr>
            <a:r>
              <a:rPr lang="x-none" sz="2800" b="0" i="0" u="none" baseline="0">
                <a:solidFill>
                  <a:schemeClr val="bg1"/>
                </a:solidFill>
                <a:latin typeface="Tele-GroteskFet" pitchFamily="2" charset="0"/>
              </a:rPr>
              <a:t>Cloud</a:t>
            </a:r>
            <a:endParaRPr lang="x-none" sz="2800" dirty="0">
              <a:solidFill>
                <a:schemeClr val="bg1"/>
              </a:solidFill>
              <a:latin typeface="Tele-GroteskFe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7951977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TCON_GUIDELINES" val="FALSE"/>
  <p:tag name="THINKCELLPRESENTATIONDONOTDELETE" val="&lt;?xml version=&quot;1.0&quot; encoding=&quot;UTF-16&quot; standalone=&quot;yes&quot;?&gt;&#10;&lt;root reqver=&quot;21047&quot;&gt;&lt;version val=&quot;2323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#m/%#d/%Y&lt;/m_strFormatTime&gt;&lt;/m_precDefaultDate&gt;&lt;m_precDefaultYear/&gt;&lt;m_precDefaultQuarter/&gt;&lt;m_precDefaultMonth/&gt;&lt;m_precDefaultWeek/&gt;&lt;m_precDefaultDay/&gt;&lt;m_mruColor&gt;&lt;m_vecMRU length=&quot;1&quot;&gt;&lt;elem m_fUsage=&quot;1.00000000000000000000E+000&quot;&gt;&lt;m_msothmcolidx val=&quot;0&quot;/&gt;&lt;m_rgb r=&quot;42&quot; g=&quot;7b&quot; b=&quot;ab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ISPRING_RESOURCE_PATHS_HASH_PRESENTER" val="9bedf58b98549eb9b48381c8f7e414ac3f17d77c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LB7UDZCkSwldG5.7i1q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iOiX8V1EujpSZz_EeuD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iOiX8V1EujpSZz_EeuD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rchWB7NUmAPBjhxDRfh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zO2scRlUm3uM.dwHaXg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rchWB7NUmAPBjhxDRfh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zO2scRlUm3uM.dwHaXg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_iNxu6JO0WoGn5nU8xBJ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Nmj8KvKEWY_aS9tIgKs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k.JfWbgkqBZAtIq43uE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qWvEB4Tka0J13yOaczV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Mxcyk3UC597fJ_rjkr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jY1jHCzEy0NsubUvGnM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kjFVkPdUCea44fKmEzLg"/>
</p:tagLst>
</file>

<file path=ppt/theme/theme1.xml><?xml version="1.0" encoding="utf-8"?>
<a:theme xmlns:a="http://schemas.openxmlformats.org/drawingml/2006/main" name="TELEKOM_Master_DE_RC6 Kopie">
  <a:themeElements>
    <a:clrScheme name="Benutzerdefiniert 13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7C7C7C"/>
      </a:accent3>
      <a:accent4>
        <a:srgbClr val="6C6C6C"/>
      </a:accent4>
      <a:accent5>
        <a:srgbClr val="4B4B4B"/>
      </a:accent5>
      <a:accent6>
        <a:srgbClr val="A4A4A4"/>
      </a:accent6>
      <a:hlink>
        <a:srgbClr val="E20074"/>
      </a:hlink>
      <a:folHlink>
        <a:srgbClr val="6C6C6C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</a:spPr>
      <a:bodyPr wrap="square" lIns="36000" tIns="108000" rIns="36000" bIns="108000" rtlCol="0" anchor="ctr">
        <a:noAutofit/>
      </a:bodyPr>
      <a:lstStyle>
        <a:defPPr>
          <a:lnSpc>
            <a:spcPct val="90000"/>
          </a:lnSpc>
          <a:spcBef>
            <a:spcPct val="0"/>
          </a:spcBef>
          <a:spcAft>
            <a:spcPts val="0"/>
          </a:spcAft>
          <a:buClr>
            <a:srgbClr val="E20074"/>
          </a:buClr>
          <a:defRPr sz="1200">
            <a:solidFill>
              <a:srgbClr val="000000"/>
            </a:solidFill>
            <a:latin typeface="Tele-GroteskNor"/>
            <a:sym typeface="Tele-GroteskNor"/>
          </a:defRPr>
        </a:defPPr>
      </a:lstStyle>
    </a:spDef>
    <a:lnDef>
      <a:spPr>
        <a:ln w="9525">
          <a:solidFill>
            <a:schemeClr val="bg1">
              <a:lumMod val="50000"/>
            </a:schemeClr>
          </a:solidFill>
          <a:miter lim="800000"/>
          <a:tailEnd type="none" w="lg" len="lg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 bwMode="black">
        <a:noFill/>
        <a:ln w="9525">
          <a:noFill/>
          <a:miter lim="800000"/>
          <a:headEnd/>
          <a:tailEnd/>
        </a:ln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algn="r" defTabSz="575925">
          <a:lnSpc>
            <a:spcPct val="80000"/>
          </a:lnSpc>
          <a:spcBef>
            <a:spcPts val="0"/>
          </a:spcBef>
          <a:spcAft>
            <a:spcPts val="1200"/>
          </a:spcAft>
          <a:buClr>
            <a:srgbClr val="E20074"/>
          </a:buClr>
          <a:buSzTx/>
          <a:buFontTx/>
          <a:defRPr sz="4000" dirty="0">
            <a:solidFill>
              <a:schemeClr val="tx1">
                <a:lumMod val="75000"/>
                <a:lumOff val="25000"/>
              </a:schemeClr>
            </a:solidFill>
            <a:latin typeface="TeleGrotesk Headline" pitchFamily="2" charset="0"/>
          </a:defRPr>
        </a:defPPr>
      </a:lstStyle>
    </a:txDef>
  </a:objectDefaults>
  <a:extraClrSchemeLst>
    <a:extraClrScheme>
      <a:clrScheme name="TELEKOM_Master_DE_RC6 Kopie 1">
        <a:dk1>
          <a:srgbClr val="646464"/>
        </a:dk1>
        <a:lt1>
          <a:srgbClr val="FFFFFF"/>
        </a:lt1>
        <a:dk2>
          <a:srgbClr val="E20074"/>
        </a:dk2>
        <a:lt2>
          <a:srgbClr val="FFFFFF"/>
        </a:lt2>
        <a:accent1>
          <a:srgbClr val="427BAB"/>
        </a:accent1>
        <a:accent2>
          <a:srgbClr val="FDD167"/>
        </a:accent2>
        <a:accent3>
          <a:srgbClr val="FFFFFF"/>
        </a:accent3>
        <a:accent4>
          <a:srgbClr val="545454"/>
        </a:accent4>
        <a:accent5>
          <a:srgbClr val="B0BFD2"/>
        </a:accent5>
        <a:accent6>
          <a:srgbClr val="E5BD5D"/>
        </a:accent6>
        <a:hlink>
          <a:srgbClr val="646464"/>
        </a:hlink>
        <a:folHlink>
          <a:srgbClr val="9D9D9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2">
        <a:dk1>
          <a:srgbClr val="000000"/>
        </a:dk1>
        <a:lt1>
          <a:srgbClr val="FFFFFF"/>
        </a:lt1>
        <a:dk2>
          <a:srgbClr val="E20074"/>
        </a:dk2>
        <a:lt2>
          <a:srgbClr val="FFFFFF"/>
        </a:lt2>
        <a:accent1>
          <a:srgbClr val="427BAB"/>
        </a:accent1>
        <a:accent2>
          <a:srgbClr val="FDD167"/>
        </a:accent2>
        <a:accent3>
          <a:srgbClr val="FFFFFF"/>
        </a:accent3>
        <a:accent4>
          <a:srgbClr val="000000"/>
        </a:accent4>
        <a:accent5>
          <a:srgbClr val="B0BFD2"/>
        </a:accent5>
        <a:accent6>
          <a:srgbClr val="E5BD5D"/>
        </a:accent6>
        <a:hlink>
          <a:srgbClr val="646464"/>
        </a:hlink>
        <a:folHlink>
          <a:srgbClr val="9D9D9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3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7C7C7C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4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00A1DE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5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FFFFFF"/>
      </a:accent3>
      <a:accent4>
        <a:srgbClr val="000000"/>
      </a:accent4>
      <a:accent5>
        <a:srgbClr val="F4F4F4"/>
      </a:accent5>
      <a:accent6>
        <a:srgbClr val="BCBCBC"/>
      </a:accent6>
      <a:hlink>
        <a:srgbClr val="7C7C7C"/>
      </a:hlink>
      <a:folHlink>
        <a:srgbClr val="6C6C6C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DT Farben">
      <a:dk1>
        <a:srgbClr val="646464"/>
      </a:dk1>
      <a:lt1>
        <a:srgbClr val="FFFFFF"/>
      </a:lt1>
      <a:dk2>
        <a:srgbClr val="E20074"/>
      </a:dk2>
      <a:lt2>
        <a:srgbClr val="FFFFFF"/>
      </a:lt2>
      <a:accent1>
        <a:srgbClr val="427BAB"/>
      </a:accent1>
      <a:accent2>
        <a:srgbClr val="FDD167"/>
      </a:accent2>
      <a:accent3>
        <a:srgbClr val="646464"/>
      </a:accent3>
      <a:accent4>
        <a:srgbClr val="64B9E4"/>
      </a:accent4>
      <a:accent5>
        <a:srgbClr val="9D9D9D"/>
      </a:accent5>
      <a:accent6>
        <a:srgbClr val="DADADA"/>
      </a:accent6>
      <a:hlink>
        <a:srgbClr val="646464"/>
      </a:hlink>
      <a:folHlink>
        <a:srgbClr val="9D9D9D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48</Words>
  <Application>Microsoft Office PowerPoint</Application>
  <PresentationFormat>On-screen Show (16:9)</PresentationFormat>
  <Paragraphs>143</Paragraphs>
  <Slides>18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8</vt:i4>
      </vt:variant>
    </vt:vector>
  </HeadingPairs>
  <TitlesOfParts>
    <vt:vector size="34" baseType="lpstr">
      <vt:lpstr>Arial</vt:lpstr>
      <vt:lpstr>Arial Unicode MS</vt:lpstr>
      <vt:lpstr>Swagger</vt:lpstr>
      <vt:lpstr>TeleGrotesk Headline</vt:lpstr>
      <vt:lpstr>Tele-GroteskEENor</vt:lpstr>
      <vt:lpstr>Tele-GroteskNor</vt:lpstr>
      <vt:lpstr>ＭＳ Ｐゴシック</vt:lpstr>
      <vt:lpstr>Tele-GroteskFet</vt:lpstr>
      <vt:lpstr>Wingdings</vt:lpstr>
      <vt:lpstr>Calibri</vt:lpstr>
      <vt:lpstr>Tele-GroteskHal</vt:lpstr>
      <vt:lpstr>TeleGrotesk Headline Ultra</vt:lpstr>
      <vt:lpstr>Tele-GroteskUlt</vt:lpstr>
      <vt:lpstr>TELEKOM_Master_DE_RC6 Kopie</vt:lpstr>
      <vt:lpstr>think-cell Foli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Integration &amp; Transformation The Cloudifier</vt:lpstr>
      <vt:lpstr>PowerPoint Presentation</vt:lpstr>
      <vt:lpstr>PowerPoint Presentation</vt:lpstr>
      <vt:lpstr>PowerPoint Presentation</vt:lpstr>
      <vt:lpstr>PowerPoint Presentation</vt:lpstr>
      <vt:lpstr>Open Future-proof with OpenStack</vt:lpstr>
      <vt:lpstr>Open Telekom Cloud
Service catalog from network to services </vt:lpstr>
      <vt:lpstr>PowerPoint Presentation</vt:lpstr>
      <vt:lpstr>Magyarországról?</vt:lpstr>
      <vt:lpstr>PowerPoint Presentation</vt:lpstr>
    </vt:vector>
  </TitlesOfParts>
  <Manager>Kellermann, Jörn</Manager>
  <Company>T-Systems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penstackDay</dc:title>
  <dc:subject>Keynote JKE</dc:subject>
  <dc:creator>Kover, David</dc:creator>
  <cp:lastModifiedBy>Gerner, Peter</cp:lastModifiedBy>
  <cp:revision>5178</cp:revision>
  <cp:lastPrinted>2012-09-04T09:22:48Z</cp:lastPrinted>
  <dcterms:created xsi:type="dcterms:W3CDTF">2011-07-07T11:12:14Z</dcterms:created>
  <dcterms:modified xsi:type="dcterms:W3CDTF">2016-06-23T07:07:29Z</dcterms:modified>
  <cp:category>Public</cp:category>
</cp:coreProperties>
</file>